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84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5B1FCE-F7E0-A248-45B3-4A589B6572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Title 332">
            <a:extLst>
              <a:ext uri="{FF2B5EF4-FFF2-40B4-BE49-F238E27FC236}">
                <a16:creationId xmlns:a16="http://schemas.microsoft.com/office/drawing/2014/main" id="{BB456DB4-0429-98C9-A2B7-BDF509968E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Map Comparison</a:t>
            </a:r>
          </a:p>
        </p:txBody>
      </p:sp>
      <p:grpSp>
        <p:nvGrpSpPr>
          <p:cNvPr id="1038" name="Group 1037">
            <a:extLst>
              <a:ext uri="{FF2B5EF4-FFF2-40B4-BE49-F238E27FC236}">
                <a16:creationId xmlns:a16="http://schemas.microsoft.com/office/drawing/2014/main" id="{705325F2-9BA0-8FB2-CC39-1D05E9270AF1}"/>
              </a:ext>
            </a:extLst>
          </p:cNvPr>
          <p:cNvGrpSpPr/>
          <p:nvPr/>
        </p:nvGrpSpPr>
        <p:grpSpPr>
          <a:xfrm>
            <a:off x="1488645" y="2171700"/>
            <a:ext cx="6743926" cy="5130294"/>
            <a:chOff x="1143000" y="2019300"/>
            <a:chExt cx="5909864" cy="4495800"/>
          </a:xfrm>
        </p:grpSpPr>
        <p:grpSp>
          <p:nvGrpSpPr>
            <p:cNvPr id="2" name="Group 4">
              <a:extLst>
                <a:ext uri="{FF2B5EF4-FFF2-40B4-BE49-F238E27FC236}">
                  <a16:creationId xmlns:a16="http://schemas.microsoft.com/office/drawing/2014/main" id="{1D8902CD-ECE0-C89A-30C0-15C73CA0988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279501" y="2579277"/>
              <a:ext cx="5773363" cy="3935823"/>
              <a:chOff x="-1319" y="-1357"/>
              <a:chExt cx="10318" cy="7034"/>
            </a:xfrm>
            <a:solidFill>
              <a:schemeClr val="accent3"/>
            </a:solidFill>
          </p:grpSpPr>
          <p:sp>
            <p:nvSpPr>
              <p:cNvPr id="4" name="Freeform 39">
                <a:extLst>
                  <a:ext uri="{FF2B5EF4-FFF2-40B4-BE49-F238E27FC236}">
                    <a16:creationId xmlns:a16="http://schemas.microsoft.com/office/drawing/2014/main" id="{B8DC6581-2F0F-8E46-C450-41ACFA06AD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319" y="3109"/>
                <a:ext cx="3929" cy="2568"/>
              </a:xfrm>
              <a:custGeom>
                <a:avLst/>
                <a:gdLst>
                  <a:gd name="T0" fmla="*/ 3212 w 3929"/>
                  <a:gd name="T1" fmla="*/ 1838 h 2568"/>
                  <a:gd name="T2" fmla="*/ 3581 w 3929"/>
                  <a:gd name="T3" fmla="*/ 1998 h 2568"/>
                  <a:gd name="T4" fmla="*/ 3914 w 3929"/>
                  <a:gd name="T5" fmla="*/ 2417 h 2568"/>
                  <a:gd name="T6" fmla="*/ 3761 w 3929"/>
                  <a:gd name="T7" fmla="*/ 2403 h 2568"/>
                  <a:gd name="T8" fmla="*/ 3619 w 3929"/>
                  <a:gd name="T9" fmla="*/ 2131 h 2568"/>
                  <a:gd name="T10" fmla="*/ 3508 w 3929"/>
                  <a:gd name="T11" fmla="*/ 2079 h 2568"/>
                  <a:gd name="T12" fmla="*/ 3409 w 3929"/>
                  <a:gd name="T13" fmla="*/ 2017 h 2568"/>
                  <a:gd name="T14" fmla="*/ 3175 w 3929"/>
                  <a:gd name="T15" fmla="*/ 1847 h 2568"/>
                  <a:gd name="T16" fmla="*/ 2844 w 3929"/>
                  <a:gd name="T17" fmla="*/ 1819 h 2568"/>
                  <a:gd name="T18" fmla="*/ 2683 w 3929"/>
                  <a:gd name="T19" fmla="*/ 1651 h 2568"/>
                  <a:gd name="T20" fmla="*/ 2558 w 3929"/>
                  <a:gd name="T21" fmla="*/ 1715 h 2568"/>
                  <a:gd name="T22" fmla="*/ 2446 w 3929"/>
                  <a:gd name="T23" fmla="*/ 1821 h 2568"/>
                  <a:gd name="T24" fmla="*/ 2333 w 3929"/>
                  <a:gd name="T25" fmla="*/ 1828 h 2568"/>
                  <a:gd name="T26" fmla="*/ 2470 w 3929"/>
                  <a:gd name="T27" fmla="*/ 1577 h 2568"/>
                  <a:gd name="T28" fmla="*/ 2205 w 3929"/>
                  <a:gd name="T29" fmla="*/ 1788 h 2568"/>
                  <a:gd name="T30" fmla="*/ 2049 w 3929"/>
                  <a:gd name="T31" fmla="*/ 2015 h 2568"/>
                  <a:gd name="T32" fmla="*/ 1768 w 3929"/>
                  <a:gd name="T33" fmla="*/ 2164 h 2568"/>
                  <a:gd name="T34" fmla="*/ 1546 w 3929"/>
                  <a:gd name="T35" fmla="*/ 2258 h 2568"/>
                  <a:gd name="T36" fmla="*/ 1357 w 3929"/>
                  <a:gd name="T37" fmla="*/ 2273 h 2568"/>
                  <a:gd name="T38" fmla="*/ 1520 w 3929"/>
                  <a:gd name="T39" fmla="*/ 2235 h 2568"/>
                  <a:gd name="T40" fmla="*/ 1822 w 3929"/>
                  <a:gd name="T41" fmla="*/ 2050 h 2568"/>
                  <a:gd name="T42" fmla="*/ 1754 w 3929"/>
                  <a:gd name="T43" fmla="*/ 1861 h 2568"/>
                  <a:gd name="T44" fmla="*/ 1596 w 3929"/>
                  <a:gd name="T45" fmla="*/ 1533 h 2568"/>
                  <a:gd name="T46" fmla="*/ 1503 w 3929"/>
                  <a:gd name="T47" fmla="*/ 1497 h 2568"/>
                  <a:gd name="T48" fmla="*/ 1378 w 3929"/>
                  <a:gd name="T49" fmla="*/ 1322 h 2568"/>
                  <a:gd name="T50" fmla="*/ 1596 w 3929"/>
                  <a:gd name="T51" fmla="*/ 1175 h 2568"/>
                  <a:gd name="T52" fmla="*/ 1662 w 3929"/>
                  <a:gd name="T53" fmla="*/ 958 h 2568"/>
                  <a:gd name="T54" fmla="*/ 1484 w 3929"/>
                  <a:gd name="T55" fmla="*/ 698 h 2568"/>
                  <a:gd name="T56" fmla="*/ 1860 w 3929"/>
                  <a:gd name="T57" fmla="*/ 731 h 2568"/>
                  <a:gd name="T58" fmla="*/ 1740 w 3929"/>
                  <a:gd name="T59" fmla="*/ 516 h 2568"/>
                  <a:gd name="T60" fmla="*/ 2075 w 3929"/>
                  <a:gd name="T61" fmla="*/ 90 h 2568"/>
                  <a:gd name="T62" fmla="*/ 2295 w 3929"/>
                  <a:gd name="T63" fmla="*/ 81 h 2568"/>
                  <a:gd name="T64" fmla="*/ 2676 w 3929"/>
                  <a:gd name="T65" fmla="*/ 220 h 2568"/>
                  <a:gd name="T66" fmla="*/ 1132 w 3929"/>
                  <a:gd name="T67" fmla="*/ 944 h 2568"/>
                  <a:gd name="T68" fmla="*/ 1083 w 3929"/>
                  <a:gd name="T69" fmla="*/ 963 h 2568"/>
                  <a:gd name="T70" fmla="*/ 2584 w 3929"/>
                  <a:gd name="T71" fmla="*/ 1778 h 2568"/>
                  <a:gd name="T72" fmla="*/ 1326 w 3929"/>
                  <a:gd name="T73" fmla="*/ 1528 h 2568"/>
                  <a:gd name="T74" fmla="*/ 2617 w 3929"/>
                  <a:gd name="T75" fmla="*/ 1797 h 2568"/>
                  <a:gd name="T76" fmla="*/ 2215 w 3929"/>
                  <a:gd name="T77" fmla="*/ 1979 h 2568"/>
                  <a:gd name="T78" fmla="*/ 2210 w 3929"/>
                  <a:gd name="T79" fmla="*/ 1986 h 2568"/>
                  <a:gd name="T80" fmla="*/ 3534 w 3929"/>
                  <a:gd name="T81" fmla="*/ 2102 h 2568"/>
                  <a:gd name="T82" fmla="*/ 3472 w 3929"/>
                  <a:gd name="T83" fmla="*/ 2173 h 2568"/>
                  <a:gd name="T84" fmla="*/ 2175 w 3929"/>
                  <a:gd name="T85" fmla="*/ 2128 h 2568"/>
                  <a:gd name="T86" fmla="*/ 2030 w 3929"/>
                  <a:gd name="T87" fmla="*/ 2133 h 2568"/>
                  <a:gd name="T88" fmla="*/ 2153 w 3929"/>
                  <a:gd name="T89" fmla="*/ 2046 h 2568"/>
                  <a:gd name="T90" fmla="*/ 3498 w 3929"/>
                  <a:gd name="T91" fmla="*/ 2277 h 2568"/>
                  <a:gd name="T92" fmla="*/ 3650 w 3929"/>
                  <a:gd name="T93" fmla="*/ 2247 h 2568"/>
                  <a:gd name="T94" fmla="*/ 3624 w 3929"/>
                  <a:gd name="T95" fmla="*/ 2299 h 2568"/>
                  <a:gd name="T96" fmla="*/ 901 w 3929"/>
                  <a:gd name="T97" fmla="*/ 1932 h 2568"/>
                  <a:gd name="T98" fmla="*/ 3744 w 3929"/>
                  <a:gd name="T99" fmla="*/ 2327 h 2568"/>
                  <a:gd name="T100" fmla="*/ 3754 w 3929"/>
                  <a:gd name="T101" fmla="*/ 2469 h 2568"/>
                  <a:gd name="T102" fmla="*/ 3664 w 3929"/>
                  <a:gd name="T103" fmla="*/ 2436 h 2568"/>
                  <a:gd name="T104" fmla="*/ 3796 w 3929"/>
                  <a:gd name="T105" fmla="*/ 2403 h 2568"/>
                  <a:gd name="T106" fmla="*/ 1496 w 3929"/>
                  <a:gd name="T107" fmla="*/ 2313 h 2568"/>
                  <a:gd name="T108" fmla="*/ 1560 w 3929"/>
                  <a:gd name="T109" fmla="*/ 2344 h 2568"/>
                  <a:gd name="T110" fmla="*/ 1591 w 3929"/>
                  <a:gd name="T111" fmla="*/ 2336 h 2568"/>
                  <a:gd name="T112" fmla="*/ 1281 w 3929"/>
                  <a:gd name="T113" fmla="*/ 2282 h 2568"/>
                  <a:gd name="T114" fmla="*/ 1078 w 3929"/>
                  <a:gd name="T115" fmla="*/ 2355 h 2568"/>
                  <a:gd name="T116" fmla="*/ 971 w 3929"/>
                  <a:gd name="T117" fmla="*/ 2386 h 2568"/>
                  <a:gd name="T118" fmla="*/ 792 w 3929"/>
                  <a:gd name="T119" fmla="*/ 2417 h 2568"/>
                  <a:gd name="T120" fmla="*/ 239 w 3929"/>
                  <a:gd name="T121" fmla="*/ 2360 h 2568"/>
                  <a:gd name="T122" fmla="*/ 355 w 3929"/>
                  <a:gd name="T123" fmla="*/ 2393 h 2568"/>
                  <a:gd name="T124" fmla="*/ 83 w 3929"/>
                  <a:gd name="T125" fmla="*/ 2306 h 2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29" h="2568">
                    <a:moveTo>
                      <a:pt x="3101" y="372"/>
                    </a:moveTo>
                    <a:lnTo>
                      <a:pt x="3099" y="419"/>
                    </a:lnTo>
                    <a:lnTo>
                      <a:pt x="3099" y="466"/>
                    </a:lnTo>
                    <a:lnTo>
                      <a:pt x="3099" y="513"/>
                    </a:lnTo>
                    <a:lnTo>
                      <a:pt x="3097" y="558"/>
                    </a:lnTo>
                    <a:lnTo>
                      <a:pt x="3097" y="606"/>
                    </a:lnTo>
                    <a:lnTo>
                      <a:pt x="3094" y="651"/>
                    </a:lnTo>
                    <a:lnTo>
                      <a:pt x="3094" y="695"/>
                    </a:lnTo>
                    <a:lnTo>
                      <a:pt x="3094" y="743"/>
                    </a:lnTo>
                    <a:lnTo>
                      <a:pt x="3092" y="788"/>
                    </a:lnTo>
                    <a:lnTo>
                      <a:pt x="3092" y="833"/>
                    </a:lnTo>
                    <a:lnTo>
                      <a:pt x="3089" y="878"/>
                    </a:lnTo>
                    <a:lnTo>
                      <a:pt x="3089" y="922"/>
                    </a:lnTo>
                    <a:lnTo>
                      <a:pt x="3089" y="967"/>
                    </a:lnTo>
                    <a:lnTo>
                      <a:pt x="3087" y="1012"/>
                    </a:lnTo>
                    <a:lnTo>
                      <a:pt x="3087" y="1057"/>
                    </a:lnTo>
                    <a:lnTo>
                      <a:pt x="3085" y="1100"/>
                    </a:lnTo>
                    <a:lnTo>
                      <a:pt x="3085" y="1145"/>
                    </a:lnTo>
                    <a:lnTo>
                      <a:pt x="3085" y="1190"/>
                    </a:lnTo>
                    <a:lnTo>
                      <a:pt x="3082" y="1232"/>
                    </a:lnTo>
                    <a:lnTo>
                      <a:pt x="3082" y="1277"/>
                    </a:lnTo>
                    <a:lnTo>
                      <a:pt x="3082" y="1320"/>
                    </a:lnTo>
                    <a:lnTo>
                      <a:pt x="3080" y="1365"/>
                    </a:lnTo>
                    <a:lnTo>
                      <a:pt x="3080" y="1407"/>
                    </a:lnTo>
                    <a:lnTo>
                      <a:pt x="3080" y="1450"/>
                    </a:lnTo>
                    <a:lnTo>
                      <a:pt x="3078" y="1492"/>
                    </a:lnTo>
                    <a:lnTo>
                      <a:pt x="3078" y="1535"/>
                    </a:lnTo>
                    <a:lnTo>
                      <a:pt x="3078" y="1580"/>
                    </a:lnTo>
                    <a:lnTo>
                      <a:pt x="3075" y="1622"/>
                    </a:lnTo>
                    <a:lnTo>
                      <a:pt x="3075" y="1665"/>
                    </a:lnTo>
                    <a:lnTo>
                      <a:pt x="3073" y="1707"/>
                    </a:lnTo>
                    <a:lnTo>
                      <a:pt x="3073" y="1748"/>
                    </a:lnTo>
                    <a:lnTo>
                      <a:pt x="3073" y="1790"/>
                    </a:lnTo>
                    <a:lnTo>
                      <a:pt x="3089" y="1797"/>
                    </a:lnTo>
                    <a:lnTo>
                      <a:pt x="3106" y="1804"/>
                    </a:lnTo>
                    <a:lnTo>
                      <a:pt x="3111" y="1793"/>
                    </a:lnTo>
                    <a:lnTo>
                      <a:pt x="3130" y="1802"/>
                    </a:lnTo>
                    <a:lnTo>
                      <a:pt x="3146" y="1809"/>
                    </a:lnTo>
                    <a:lnTo>
                      <a:pt x="3156" y="1800"/>
                    </a:lnTo>
                    <a:lnTo>
                      <a:pt x="3167" y="1788"/>
                    </a:lnTo>
                    <a:lnTo>
                      <a:pt x="3182" y="1788"/>
                    </a:lnTo>
                    <a:lnTo>
                      <a:pt x="3198" y="1788"/>
                    </a:lnTo>
                    <a:lnTo>
                      <a:pt x="3210" y="1786"/>
                    </a:lnTo>
                    <a:lnTo>
                      <a:pt x="3210" y="1795"/>
                    </a:lnTo>
                    <a:lnTo>
                      <a:pt x="3205" y="1812"/>
                    </a:lnTo>
                    <a:lnTo>
                      <a:pt x="3203" y="1823"/>
                    </a:lnTo>
                    <a:lnTo>
                      <a:pt x="3212" y="1835"/>
                    </a:lnTo>
                    <a:lnTo>
                      <a:pt x="3212" y="1838"/>
                    </a:lnTo>
                    <a:lnTo>
                      <a:pt x="3224" y="1845"/>
                    </a:lnTo>
                    <a:lnTo>
                      <a:pt x="3236" y="1849"/>
                    </a:lnTo>
                    <a:lnTo>
                      <a:pt x="3243" y="1868"/>
                    </a:lnTo>
                    <a:lnTo>
                      <a:pt x="3255" y="1880"/>
                    </a:lnTo>
                    <a:lnTo>
                      <a:pt x="3264" y="1892"/>
                    </a:lnTo>
                    <a:lnTo>
                      <a:pt x="3276" y="1901"/>
                    </a:lnTo>
                    <a:lnTo>
                      <a:pt x="3288" y="1916"/>
                    </a:lnTo>
                    <a:lnTo>
                      <a:pt x="3297" y="1925"/>
                    </a:lnTo>
                    <a:lnTo>
                      <a:pt x="3312" y="1939"/>
                    </a:lnTo>
                    <a:lnTo>
                      <a:pt x="3319" y="1946"/>
                    </a:lnTo>
                    <a:lnTo>
                      <a:pt x="3323" y="1960"/>
                    </a:lnTo>
                    <a:lnTo>
                      <a:pt x="3328" y="1979"/>
                    </a:lnTo>
                    <a:lnTo>
                      <a:pt x="3326" y="1991"/>
                    </a:lnTo>
                    <a:lnTo>
                      <a:pt x="3331" y="1991"/>
                    </a:lnTo>
                    <a:lnTo>
                      <a:pt x="3342" y="1979"/>
                    </a:lnTo>
                    <a:lnTo>
                      <a:pt x="3354" y="1972"/>
                    </a:lnTo>
                    <a:lnTo>
                      <a:pt x="3368" y="1963"/>
                    </a:lnTo>
                    <a:lnTo>
                      <a:pt x="3375" y="1956"/>
                    </a:lnTo>
                    <a:lnTo>
                      <a:pt x="3394" y="1956"/>
                    </a:lnTo>
                    <a:lnTo>
                      <a:pt x="3401" y="1937"/>
                    </a:lnTo>
                    <a:lnTo>
                      <a:pt x="3401" y="1911"/>
                    </a:lnTo>
                    <a:lnTo>
                      <a:pt x="3409" y="1911"/>
                    </a:lnTo>
                    <a:lnTo>
                      <a:pt x="3413" y="1906"/>
                    </a:lnTo>
                    <a:lnTo>
                      <a:pt x="3416" y="1899"/>
                    </a:lnTo>
                    <a:lnTo>
                      <a:pt x="3411" y="1890"/>
                    </a:lnTo>
                    <a:lnTo>
                      <a:pt x="3427" y="1885"/>
                    </a:lnTo>
                    <a:lnTo>
                      <a:pt x="3439" y="1880"/>
                    </a:lnTo>
                    <a:lnTo>
                      <a:pt x="3456" y="1871"/>
                    </a:lnTo>
                    <a:lnTo>
                      <a:pt x="3470" y="1861"/>
                    </a:lnTo>
                    <a:lnTo>
                      <a:pt x="3479" y="1868"/>
                    </a:lnTo>
                    <a:lnTo>
                      <a:pt x="3487" y="1873"/>
                    </a:lnTo>
                    <a:lnTo>
                      <a:pt x="3503" y="1890"/>
                    </a:lnTo>
                    <a:lnTo>
                      <a:pt x="3505" y="1894"/>
                    </a:lnTo>
                    <a:lnTo>
                      <a:pt x="3503" y="1901"/>
                    </a:lnTo>
                    <a:lnTo>
                      <a:pt x="3503" y="1908"/>
                    </a:lnTo>
                    <a:lnTo>
                      <a:pt x="3513" y="1930"/>
                    </a:lnTo>
                    <a:lnTo>
                      <a:pt x="3515" y="1932"/>
                    </a:lnTo>
                    <a:lnTo>
                      <a:pt x="3524" y="1937"/>
                    </a:lnTo>
                    <a:lnTo>
                      <a:pt x="3534" y="1942"/>
                    </a:lnTo>
                    <a:lnTo>
                      <a:pt x="3539" y="1949"/>
                    </a:lnTo>
                    <a:lnTo>
                      <a:pt x="3550" y="1958"/>
                    </a:lnTo>
                    <a:lnTo>
                      <a:pt x="3553" y="1963"/>
                    </a:lnTo>
                    <a:lnTo>
                      <a:pt x="3555" y="1970"/>
                    </a:lnTo>
                    <a:lnTo>
                      <a:pt x="3557" y="1975"/>
                    </a:lnTo>
                    <a:lnTo>
                      <a:pt x="3560" y="1979"/>
                    </a:lnTo>
                    <a:lnTo>
                      <a:pt x="3562" y="1984"/>
                    </a:lnTo>
                    <a:lnTo>
                      <a:pt x="3569" y="1991"/>
                    </a:lnTo>
                    <a:lnTo>
                      <a:pt x="3581" y="1998"/>
                    </a:lnTo>
                    <a:lnTo>
                      <a:pt x="3588" y="2003"/>
                    </a:lnTo>
                    <a:lnTo>
                      <a:pt x="3600" y="2010"/>
                    </a:lnTo>
                    <a:lnTo>
                      <a:pt x="3612" y="2024"/>
                    </a:lnTo>
                    <a:lnTo>
                      <a:pt x="3621" y="2036"/>
                    </a:lnTo>
                    <a:lnTo>
                      <a:pt x="3633" y="2050"/>
                    </a:lnTo>
                    <a:lnTo>
                      <a:pt x="3633" y="2060"/>
                    </a:lnTo>
                    <a:lnTo>
                      <a:pt x="3645" y="2076"/>
                    </a:lnTo>
                    <a:lnTo>
                      <a:pt x="3657" y="2095"/>
                    </a:lnTo>
                    <a:lnTo>
                      <a:pt x="3669" y="2114"/>
                    </a:lnTo>
                    <a:lnTo>
                      <a:pt x="3676" y="2124"/>
                    </a:lnTo>
                    <a:lnTo>
                      <a:pt x="3683" y="2138"/>
                    </a:lnTo>
                    <a:lnTo>
                      <a:pt x="3695" y="2154"/>
                    </a:lnTo>
                    <a:lnTo>
                      <a:pt x="3706" y="2173"/>
                    </a:lnTo>
                    <a:lnTo>
                      <a:pt x="3716" y="2187"/>
                    </a:lnTo>
                    <a:lnTo>
                      <a:pt x="3728" y="2204"/>
                    </a:lnTo>
                    <a:lnTo>
                      <a:pt x="3735" y="2213"/>
                    </a:lnTo>
                    <a:lnTo>
                      <a:pt x="3730" y="2223"/>
                    </a:lnTo>
                    <a:lnTo>
                      <a:pt x="3728" y="2232"/>
                    </a:lnTo>
                    <a:lnTo>
                      <a:pt x="3742" y="2235"/>
                    </a:lnTo>
                    <a:lnTo>
                      <a:pt x="3751" y="2237"/>
                    </a:lnTo>
                    <a:lnTo>
                      <a:pt x="3749" y="2249"/>
                    </a:lnTo>
                    <a:lnTo>
                      <a:pt x="3747" y="2261"/>
                    </a:lnTo>
                    <a:lnTo>
                      <a:pt x="3758" y="2266"/>
                    </a:lnTo>
                    <a:lnTo>
                      <a:pt x="3765" y="2270"/>
                    </a:lnTo>
                    <a:lnTo>
                      <a:pt x="3765" y="2277"/>
                    </a:lnTo>
                    <a:lnTo>
                      <a:pt x="3770" y="2284"/>
                    </a:lnTo>
                    <a:lnTo>
                      <a:pt x="3773" y="2299"/>
                    </a:lnTo>
                    <a:lnTo>
                      <a:pt x="3784" y="2296"/>
                    </a:lnTo>
                    <a:lnTo>
                      <a:pt x="3791" y="2294"/>
                    </a:lnTo>
                    <a:lnTo>
                      <a:pt x="3799" y="2301"/>
                    </a:lnTo>
                    <a:lnTo>
                      <a:pt x="3810" y="2306"/>
                    </a:lnTo>
                    <a:lnTo>
                      <a:pt x="3822" y="2313"/>
                    </a:lnTo>
                    <a:lnTo>
                      <a:pt x="3832" y="2318"/>
                    </a:lnTo>
                    <a:lnTo>
                      <a:pt x="3843" y="2320"/>
                    </a:lnTo>
                    <a:lnTo>
                      <a:pt x="3858" y="2325"/>
                    </a:lnTo>
                    <a:lnTo>
                      <a:pt x="3867" y="2334"/>
                    </a:lnTo>
                    <a:lnTo>
                      <a:pt x="3881" y="2339"/>
                    </a:lnTo>
                    <a:lnTo>
                      <a:pt x="3888" y="2353"/>
                    </a:lnTo>
                    <a:lnTo>
                      <a:pt x="3903" y="2358"/>
                    </a:lnTo>
                    <a:lnTo>
                      <a:pt x="3912" y="2353"/>
                    </a:lnTo>
                    <a:lnTo>
                      <a:pt x="3917" y="2358"/>
                    </a:lnTo>
                    <a:lnTo>
                      <a:pt x="3919" y="2365"/>
                    </a:lnTo>
                    <a:lnTo>
                      <a:pt x="3921" y="2374"/>
                    </a:lnTo>
                    <a:lnTo>
                      <a:pt x="3921" y="2381"/>
                    </a:lnTo>
                    <a:lnTo>
                      <a:pt x="3917" y="2391"/>
                    </a:lnTo>
                    <a:lnTo>
                      <a:pt x="3914" y="2398"/>
                    </a:lnTo>
                    <a:lnTo>
                      <a:pt x="3914" y="2407"/>
                    </a:lnTo>
                    <a:lnTo>
                      <a:pt x="3914" y="2417"/>
                    </a:lnTo>
                    <a:lnTo>
                      <a:pt x="3917" y="2426"/>
                    </a:lnTo>
                    <a:lnTo>
                      <a:pt x="3919" y="2433"/>
                    </a:lnTo>
                    <a:lnTo>
                      <a:pt x="3924" y="2448"/>
                    </a:lnTo>
                    <a:lnTo>
                      <a:pt x="3926" y="2457"/>
                    </a:lnTo>
                    <a:lnTo>
                      <a:pt x="3929" y="2464"/>
                    </a:lnTo>
                    <a:lnTo>
                      <a:pt x="3919" y="2488"/>
                    </a:lnTo>
                    <a:lnTo>
                      <a:pt x="3917" y="2500"/>
                    </a:lnTo>
                    <a:lnTo>
                      <a:pt x="3917" y="2504"/>
                    </a:lnTo>
                    <a:lnTo>
                      <a:pt x="3912" y="2516"/>
                    </a:lnTo>
                    <a:lnTo>
                      <a:pt x="3898" y="2533"/>
                    </a:lnTo>
                    <a:lnTo>
                      <a:pt x="3893" y="2542"/>
                    </a:lnTo>
                    <a:lnTo>
                      <a:pt x="3888" y="2540"/>
                    </a:lnTo>
                    <a:lnTo>
                      <a:pt x="3869" y="2537"/>
                    </a:lnTo>
                    <a:lnTo>
                      <a:pt x="3862" y="2519"/>
                    </a:lnTo>
                    <a:lnTo>
                      <a:pt x="3855" y="2504"/>
                    </a:lnTo>
                    <a:lnTo>
                      <a:pt x="3851" y="2493"/>
                    </a:lnTo>
                    <a:lnTo>
                      <a:pt x="3851" y="2488"/>
                    </a:lnTo>
                    <a:lnTo>
                      <a:pt x="3853" y="2478"/>
                    </a:lnTo>
                    <a:lnTo>
                      <a:pt x="3872" y="2469"/>
                    </a:lnTo>
                    <a:lnTo>
                      <a:pt x="3872" y="2466"/>
                    </a:lnTo>
                    <a:lnTo>
                      <a:pt x="3865" y="2466"/>
                    </a:lnTo>
                    <a:lnTo>
                      <a:pt x="3862" y="2462"/>
                    </a:lnTo>
                    <a:lnTo>
                      <a:pt x="3860" y="2448"/>
                    </a:lnTo>
                    <a:lnTo>
                      <a:pt x="3858" y="2436"/>
                    </a:lnTo>
                    <a:lnTo>
                      <a:pt x="3858" y="2426"/>
                    </a:lnTo>
                    <a:lnTo>
                      <a:pt x="3853" y="2410"/>
                    </a:lnTo>
                    <a:lnTo>
                      <a:pt x="3846" y="2400"/>
                    </a:lnTo>
                    <a:lnTo>
                      <a:pt x="3834" y="2381"/>
                    </a:lnTo>
                    <a:lnTo>
                      <a:pt x="3832" y="2377"/>
                    </a:lnTo>
                    <a:lnTo>
                      <a:pt x="3836" y="2370"/>
                    </a:lnTo>
                    <a:lnTo>
                      <a:pt x="3839" y="2362"/>
                    </a:lnTo>
                    <a:lnTo>
                      <a:pt x="3820" y="2374"/>
                    </a:lnTo>
                    <a:lnTo>
                      <a:pt x="3794" y="2388"/>
                    </a:lnTo>
                    <a:lnTo>
                      <a:pt x="3782" y="2396"/>
                    </a:lnTo>
                    <a:lnTo>
                      <a:pt x="3782" y="2400"/>
                    </a:lnTo>
                    <a:lnTo>
                      <a:pt x="3780" y="2403"/>
                    </a:lnTo>
                    <a:lnTo>
                      <a:pt x="3782" y="2410"/>
                    </a:lnTo>
                    <a:lnTo>
                      <a:pt x="3782" y="2412"/>
                    </a:lnTo>
                    <a:lnTo>
                      <a:pt x="3782" y="2417"/>
                    </a:lnTo>
                    <a:lnTo>
                      <a:pt x="3780" y="2429"/>
                    </a:lnTo>
                    <a:lnTo>
                      <a:pt x="3775" y="2443"/>
                    </a:lnTo>
                    <a:lnTo>
                      <a:pt x="3770" y="2445"/>
                    </a:lnTo>
                    <a:lnTo>
                      <a:pt x="3761" y="2440"/>
                    </a:lnTo>
                    <a:lnTo>
                      <a:pt x="3756" y="2438"/>
                    </a:lnTo>
                    <a:lnTo>
                      <a:pt x="3751" y="2422"/>
                    </a:lnTo>
                    <a:lnTo>
                      <a:pt x="3751" y="2417"/>
                    </a:lnTo>
                    <a:lnTo>
                      <a:pt x="3756" y="2412"/>
                    </a:lnTo>
                    <a:lnTo>
                      <a:pt x="3761" y="2403"/>
                    </a:lnTo>
                    <a:lnTo>
                      <a:pt x="3765" y="2391"/>
                    </a:lnTo>
                    <a:lnTo>
                      <a:pt x="3775" y="2358"/>
                    </a:lnTo>
                    <a:lnTo>
                      <a:pt x="3784" y="2358"/>
                    </a:lnTo>
                    <a:lnTo>
                      <a:pt x="3799" y="2348"/>
                    </a:lnTo>
                    <a:lnTo>
                      <a:pt x="3775" y="2348"/>
                    </a:lnTo>
                    <a:lnTo>
                      <a:pt x="3770" y="2346"/>
                    </a:lnTo>
                    <a:lnTo>
                      <a:pt x="3768" y="2341"/>
                    </a:lnTo>
                    <a:lnTo>
                      <a:pt x="3763" y="2334"/>
                    </a:lnTo>
                    <a:lnTo>
                      <a:pt x="3758" y="2327"/>
                    </a:lnTo>
                    <a:lnTo>
                      <a:pt x="3751" y="2325"/>
                    </a:lnTo>
                    <a:lnTo>
                      <a:pt x="3747" y="2322"/>
                    </a:lnTo>
                    <a:lnTo>
                      <a:pt x="3739" y="2313"/>
                    </a:lnTo>
                    <a:lnTo>
                      <a:pt x="3735" y="2310"/>
                    </a:lnTo>
                    <a:lnTo>
                      <a:pt x="3732" y="2306"/>
                    </a:lnTo>
                    <a:lnTo>
                      <a:pt x="3732" y="2299"/>
                    </a:lnTo>
                    <a:lnTo>
                      <a:pt x="3730" y="2296"/>
                    </a:lnTo>
                    <a:lnTo>
                      <a:pt x="3725" y="2294"/>
                    </a:lnTo>
                    <a:lnTo>
                      <a:pt x="3721" y="2292"/>
                    </a:lnTo>
                    <a:lnTo>
                      <a:pt x="3718" y="2277"/>
                    </a:lnTo>
                    <a:lnTo>
                      <a:pt x="3706" y="2273"/>
                    </a:lnTo>
                    <a:lnTo>
                      <a:pt x="3702" y="2270"/>
                    </a:lnTo>
                    <a:lnTo>
                      <a:pt x="3692" y="2261"/>
                    </a:lnTo>
                    <a:lnTo>
                      <a:pt x="3690" y="2256"/>
                    </a:lnTo>
                    <a:lnTo>
                      <a:pt x="3690" y="2251"/>
                    </a:lnTo>
                    <a:lnTo>
                      <a:pt x="3690" y="2240"/>
                    </a:lnTo>
                    <a:lnTo>
                      <a:pt x="3690" y="2237"/>
                    </a:lnTo>
                    <a:lnTo>
                      <a:pt x="3683" y="2240"/>
                    </a:lnTo>
                    <a:lnTo>
                      <a:pt x="3640" y="2225"/>
                    </a:lnTo>
                    <a:lnTo>
                      <a:pt x="3640" y="2202"/>
                    </a:lnTo>
                    <a:lnTo>
                      <a:pt x="3631" y="2171"/>
                    </a:lnTo>
                    <a:lnTo>
                      <a:pt x="3621" y="2159"/>
                    </a:lnTo>
                    <a:lnTo>
                      <a:pt x="3624" y="2154"/>
                    </a:lnTo>
                    <a:lnTo>
                      <a:pt x="3626" y="2152"/>
                    </a:lnTo>
                    <a:lnTo>
                      <a:pt x="3628" y="2152"/>
                    </a:lnTo>
                    <a:lnTo>
                      <a:pt x="3645" y="2159"/>
                    </a:lnTo>
                    <a:lnTo>
                      <a:pt x="3661" y="2169"/>
                    </a:lnTo>
                    <a:lnTo>
                      <a:pt x="3664" y="2166"/>
                    </a:lnTo>
                    <a:lnTo>
                      <a:pt x="3638" y="2147"/>
                    </a:lnTo>
                    <a:lnTo>
                      <a:pt x="3631" y="2140"/>
                    </a:lnTo>
                    <a:lnTo>
                      <a:pt x="3628" y="2131"/>
                    </a:lnTo>
                    <a:lnTo>
                      <a:pt x="3628" y="2128"/>
                    </a:lnTo>
                    <a:lnTo>
                      <a:pt x="3631" y="2126"/>
                    </a:lnTo>
                    <a:lnTo>
                      <a:pt x="3652" y="2126"/>
                    </a:lnTo>
                    <a:lnTo>
                      <a:pt x="3654" y="2124"/>
                    </a:lnTo>
                    <a:lnTo>
                      <a:pt x="3631" y="2119"/>
                    </a:lnTo>
                    <a:lnTo>
                      <a:pt x="3626" y="2119"/>
                    </a:lnTo>
                    <a:lnTo>
                      <a:pt x="3621" y="2128"/>
                    </a:lnTo>
                    <a:lnTo>
                      <a:pt x="3619" y="2131"/>
                    </a:lnTo>
                    <a:lnTo>
                      <a:pt x="3614" y="2131"/>
                    </a:lnTo>
                    <a:lnTo>
                      <a:pt x="3612" y="2128"/>
                    </a:lnTo>
                    <a:lnTo>
                      <a:pt x="3607" y="2119"/>
                    </a:lnTo>
                    <a:lnTo>
                      <a:pt x="3600" y="2109"/>
                    </a:lnTo>
                    <a:lnTo>
                      <a:pt x="3591" y="2100"/>
                    </a:lnTo>
                    <a:lnTo>
                      <a:pt x="3588" y="2093"/>
                    </a:lnTo>
                    <a:lnTo>
                      <a:pt x="3586" y="2081"/>
                    </a:lnTo>
                    <a:lnTo>
                      <a:pt x="3586" y="2069"/>
                    </a:lnTo>
                    <a:lnTo>
                      <a:pt x="3593" y="2043"/>
                    </a:lnTo>
                    <a:lnTo>
                      <a:pt x="3598" y="2039"/>
                    </a:lnTo>
                    <a:lnTo>
                      <a:pt x="3598" y="2036"/>
                    </a:lnTo>
                    <a:lnTo>
                      <a:pt x="3595" y="2036"/>
                    </a:lnTo>
                    <a:lnTo>
                      <a:pt x="3593" y="2039"/>
                    </a:lnTo>
                    <a:lnTo>
                      <a:pt x="3586" y="2050"/>
                    </a:lnTo>
                    <a:lnTo>
                      <a:pt x="3581" y="2072"/>
                    </a:lnTo>
                    <a:lnTo>
                      <a:pt x="3574" y="2079"/>
                    </a:lnTo>
                    <a:lnTo>
                      <a:pt x="3572" y="2076"/>
                    </a:lnTo>
                    <a:lnTo>
                      <a:pt x="3565" y="2069"/>
                    </a:lnTo>
                    <a:lnTo>
                      <a:pt x="3553" y="2060"/>
                    </a:lnTo>
                    <a:lnTo>
                      <a:pt x="3541" y="2057"/>
                    </a:lnTo>
                    <a:lnTo>
                      <a:pt x="3531" y="2048"/>
                    </a:lnTo>
                    <a:lnTo>
                      <a:pt x="3517" y="2022"/>
                    </a:lnTo>
                    <a:lnTo>
                      <a:pt x="3515" y="2008"/>
                    </a:lnTo>
                    <a:lnTo>
                      <a:pt x="3513" y="2005"/>
                    </a:lnTo>
                    <a:lnTo>
                      <a:pt x="3505" y="2001"/>
                    </a:lnTo>
                    <a:lnTo>
                      <a:pt x="3503" y="1994"/>
                    </a:lnTo>
                    <a:lnTo>
                      <a:pt x="3494" y="1960"/>
                    </a:lnTo>
                    <a:lnTo>
                      <a:pt x="3484" y="1939"/>
                    </a:lnTo>
                    <a:lnTo>
                      <a:pt x="3482" y="1925"/>
                    </a:lnTo>
                    <a:lnTo>
                      <a:pt x="3482" y="1913"/>
                    </a:lnTo>
                    <a:lnTo>
                      <a:pt x="3482" y="1913"/>
                    </a:lnTo>
                    <a:lnTo>
                      <a:pt x="3479" y="1923"/>
                    </a:lnTo>
                    <a:lnTo>
                      <a:pt x="3479" y="1927"/>
                    </a:lnTo>
                    <a:lnTo>
                      <a:pt x="3472" y="1930"/>
                    </a:lnTo>
                    <a:lnTo>
                      <a:pt x="3479" y="1939"/>
                    </a:lnTo>
                    <a:lnTo>
                      <a:pt x="3479" y="1944"/>
                    </a:lnTo>
                    <a:lnTo>
                      <a:pt x="3477" y="1942"/>
                    </a:lnTo>
                    <a:lnTo>
                      <a:pt x="3472" y="1944"/>
                    </a:lnTo>
                    <a:lnTo>
                      <a:pt x="3482" y="1960"/>
                    </a:lnTo>
                    <a:lnTo>
                      <a:pt x="3487" y="1986"/>
                    </a:lnTo>
                    <a:lnTo>
                      <a:pt x="3494" y="2003"/>
                    </a:lnTo>
                    <a:lnTo>
                      <a:pt x="3498" y="2020"/>
                    </a:lnTo>
                    <a:lnTo>
                      <a:pt x="3501" y="2031"/>
                    </a:lnTo>
                    <a:lnTo>
                      <a:pt x="3503" y="2041"/>
                    </a:lnTo>
                    <a:lnTo>
                      <a:pt x="3510" y="2065"/>
                    </a:lnTo>
                    <a:lnTo>
                      <a:pt x="3513" y="2069"/>
                    </a:lnTo>
                    <a:lnTo>
                      <a:pt x="3510" y="2074"/>
                    </a:lnTo>
                    <a:lnTo>
                      <a:pt x="3508" y="2079"/>
                    </a:lnTo>
                    <a:lnTo>
                      <a:pt x="3505" y="2081"/>
                    </a:lnTo>
                    <a:lnTo>
                      <a:pt x="3494" y="2079"/>
                    </a:lnTo>
                    <a:lnTo>
                      <a:pt x="3489" y="2072"/>
                    </a:lnTo>
                    <a:lnTo>
                      <a:pt x="3482" y="2062"/>
                    </a:lnTo>
                    <a:lnTo>
                      <a:pt x="3472" y="2057"/>
                    </a:lnTo>
                    <a:lnTo>
                      <a:pt x="3449" y="2060"/>
                    </a:lnTo>
                    <a:lnTo>
                      <a:pt x="3449" y="2060"/>
                    </a:lnTo>
                    <a:lnTo>
                      <a:pt x="3449" y="2050"/>
                    </a:lnTo>
                    <a:lnTo>
                      <a:pt x="3449" y="2034"/>
                    </a:lnTo>
                    <a:lnTo>
                      <a:pt x="3446" y="2029"/>
                    </a:lnTo>
                    <a:lnTo>
                      <a:pt x="3435" y="2005"/>
                    </a:lnTo>
                    <a:lnTo>
                      <a:pt x="3435" y="2001"/>
                    </a:lnTo>
                    <a:lnTo>
                      <a:pt x="3451" y="1989"/>
                    </a:lnTo>
                    <a:lnTo>
                      <a:pt x="3442" y="1989"/>
                    </a:lnTo>
                    <a:lnTo>
                      <a:pt x="3437" y="1994"/>
                    </a:lnTo>
                    <a:lnTo>
                      <a:pt x="3435" y="1989"/>
                    </a:lnTo>
                    <a:lnTo>
                      <a:pt x="3430" y="1975"/>
                    </a:lnTo>
                    <a:lnTo>
                      <a:pt x="3427" y="1970"/>
                    </a:lnTo>
                    <a:lnTo>
                      <a:pt x="3425" y="1968"/>
                    </a:lnTo>
                    <a:lnTo>
                      <a:pt x="3425" y="1982"/>
                    </a:lnTo>
                    <a:lnTo>
                      <a:pt x="3427" y="1989"/>
                    </a:lnTo>
                    <a:lnTo>
                      <a:pt x="3430" y="1994"/>
                    </a:lnTo>
                    <a:lnTo>
                      <a:pt x="3430" y="2001"/>
                    </a:lnTo>
                    <a:lnTo>
                      <a:pt x="3427" y="2005"/>
                    </a:lnTo>
                    <a:lnTo>
                      <a:pt x="3425" y="2008"/>
                    </a:lnTo>
                    <a:lnTo>
                      <a:pt x="3423" y="2008"/>
                    </a:lnTo>
                    <a:lnTo>
                      <a:pt x="3416" y="2005"/>
                    </a:lnTo>
                    <a:lnTo>
                      <a:pt x="3411" y="2001"/>
                    </a:lnTo>
                    <a:lnTo>
                      <a:pt x="3404" y="1998"/>
                    </a:lnTo>
                    <a:lnTo>
                      <a:pt x="3404" y="1996"/>
                    </a:lnTo>
                    <a:lnTo>
                      <a:pt x="3399" y="1989"/>
                    </a:lnTo>
                    <a:lnTo>
                      <a:pt x="3397" y="1984"/>
                    </a:lnTo>
                    <a:lnTo>
                      <a:pt x="3375" y="1979"/>
                    </a:lnTo>
                    <a:lnTo>
                      <a:pt x="3364" y="1972"/>
                    </a:lnTo>
                    <a:lnTo>
                      <a:pt x="3364" y="1972"/>
                    </a:lnTo>
                    <a:lnTo>
                      <a:pt x="3368" y="1982"/>
                    </a:lnTo>
                    <a:lnTo>
                      <a:pt x="3368" y="1986"/>
                    </a:lnTo>
                    <a:lnTo>
                      <a:pt x="3366" y="1986"/>
                    </a:lnTo>
                    <a:lnTo>
                      <a:pt x="3359" y="1994"/>
                    </a:lnTo>
                    <a:lnTo>
                      <a:pt x="3361" y="1996"/>
                    </a:lnTo>
                    <a:lnTo>
                      <a:pt x="3366" y="1994"/>
                    </a:lnTo>
                    <a:lnTo>
                      <a:pt x="3373" y="1994"/>
                    </a:lnTo>
                    <a:lnTo>
                      <a:pt x="3383" y="1998"/>
                    </a:lnTo>
                    <a:lnTo>
                      <a:pt x="3392" y="2003"/>
                    </a:lnTo>
                    <a:lnTo>
                      <a:pt x="3397" y="2005"/>
                    </a:lnTo>
                    <a:lnTo>
                      <a:pt x="3397" y="2010"/>
                    </a:lnTo>
                    <a:lnTo>
                      <a:pt x="3399" y="2013"/>
                    </a:lnTo>
                    <a:lnTo>
                      <a:pt x="3409" y="2017"/>
                    </a:lnTo>
                    <a:lnTo>
                      <a:pt x="3409" y="2020"/>
                    </a:lnTo>
                    <a:lnTo>
                      <a:pt x="3404" y="2029"/>
                    </a:lnTo>
                    <a:lnTo>
                      <a:pt x="3416" y="2029"/>
                    </a:lnTo>
                    <a:lnTo>
                      <a:pt x="3423" y="2031"/>
                    </a:lnTo>
                    <a:lnTo>
                      <a:pt x="3432" y="2046"/>
                    </a:lnTo>
                    <a:lnTo>
                      <a:pt x="3435" y="2053"/>
                    </a:lnTo>
                    <a:lnTo>
                      <a:pt x="3437" y="2062"/>
                    </a:lnTo>
                    <a:lnTo>
                      <a:pt x="3435" y="2065"/>
                    </a:lnTo>
                    <a:lnTo>
                      <a:pt x="3430" y="2067"/>
                    </a:lnTo>
                    <a:lnTo>
                      <a:pt x="3406" y="2072"/>
                    </a:lnTo>
                    <a:lnTo>
                      <a:pt x="3397" y="2083"/>
                    </a:lnTo>
                    <a:lnTo>
                      <a:pt x="3397" y="2083"/>
                    </a:lnTo>
                    <a:lnTo>
                      <a:pt x="3390" y="2081"/>
                    </a:lnTo>
                    <a:lnTo>
                      <a:pt x="3375" y="2072"/>
                    </a:lnTo>
                    <a:lnTo>
                      <a:pt x="3361" y="2062"/>
                    </a:lnTo>
                    <a:lnTo>
                      <a:pt x="3323" y="2036"/>
                    </a:lnTo>
                    <a:lnTo>
                      <a:pt x="3323" y="2036"/>
                    </a:lnTo>
                    <a:lnTo>
                      <a:pt x="3323" y="2031"/>
                    </a:lnTo>
                    <a:lnTo>
                      <a:pt x="3321" y="2027"/>
                    </a:lnTo>
                    <a:lnTo>
                      <a:pt x="3316" y="2027"/>
                    </a:lnTo>
                    <a:lnTo>
                      <a:pt x="3309" y="2020"/>
                    </a:lnTo>
                    <a:lnTo>
                      <a:pt x="3300" y="2008"/>
                    </a:lnTo>
                    <a:lnTo>
                      <a:pt x="3295" y="1998"/>
                    </a:lnTo>
                    <a:lnTo>
                      <a:pt x="3293" y="1994"/>
                    </a:lnTo>
                    <a:lnTo>
                      <a:pt x="3288" y="1986"/>
                    </a:lnTo>
                    <a:lnTo>
                      <a:pt x="3271" y="1970"/>
                    </a:lnTo>
                    <a:lnTo>
                      <a:pt x="3264" y="1965"/>
                    </a:lnTo>
                    <a:lnTo>
                      <a:pt x="3257" y="1963"/>
                    </a:lnTo>
                    <a:lnTo>
                      <a:pt x="3250" y="1960"/>
                    </a:lnTo>
                    <a:lnTo>
                      <a:pt x="3248" y="1960"/>
                    </a:lnTo>
                    <a:lnTo>
                      <a:pt x="3253" y="1956"/>
                    </a:lnTo>
                    <a:lnTo>
                      <a:pt x="3253" y="1953"/>
                    </a:lnTo>
                    <a:lnTo>
                      <a:pt x="3238" y="1951"/>
                    </a:lnTo>
                    <a:lnTo>
                      <a:pt x="3224" y="1944"/>
                    </a:lnTo>
                    <a:lnTo>
                      <a:pt x="3191" y="1925"/>
                    </a:lnTo>
                    <a:lnTo>
                      <a:pt x="3175" y="1911"/>
                    </a:lnTo>
                    <a:lnTo>
                      <a:pt x="3165" y="1906"/>
                    </a:lnTo>
                    <a:lnTo>
                      <a:pt x="3160" y="1901"/>
                    </a:lnTo>
                    <a:lnTo>
                      <a:pt x="3158" y="1899"/>
                    </a:lnTo>
                    <a:lnTo>
                      <a:pt x="3160" y="1897"/>
                    </a:lnTo>
                    <a:lnTo>
                      <a:pt x="3167" y="1894"/>
                    </a:lnTo>
                    <a:lnTo>
                      <a:pt x="3172" y="1890"/>
                    </a:lnTo>
                    <a:lnTo>
                      <a:pt x="3179" y="1878"/>
                    </a:lnTo>
                    <a:lnTo>
                      <a:pt x="3179" y="1873"/>
                    </a:lnTo>
                    <a:lnTo>
                      <a:pt x="3175" y="1866"/>
                    </a:lnTo>
                    <a:lnTo>
                      <a:pt x="3175" y="1856"/>
                    </a:lnTo>
                    <a:lnTo>
                      <a:pt x="3175" y="1852"/>
                    </a:lnTo>
                    <a:lnTo>
                      <a:pt x="3175" y="1847"/>
                    </a:lnTo>
                    <a:lnTo>
                      <a:pt x="3177" y="1845"/>
                    </a:lnTo>
                    <a:lnTo>
                      <a:pt x="3179" y="1842"/>
                    </a:lnTo>
                    <a:lnTo>
                      <a:pt x="3182" y="1840"/>
                    </a:lnTo>
                    <a:lnTo>
                      <a:pt x="3184" y="1840"/>
                    </a:lnTo>
                    <a:lnTo>
                      <a:pt x="3191" y="1852"/>
                    </a:lnTo>
                    <a:lnTo>
                      <a:pt x="3193" y="1856"/>
                    </a:lnTo>
                    <a:lnTo>
                      <a:pt x="3193" y="1873"/>
                    </a:lnTo>
                    <a:lnTo>
                      <a:pt x="3196" y="1890"/>
                    </a:lnTo>
                    <a:lnTo>
                      <a:pt x="3196" y="1890"/>
                    </a:lnTo>
                    <a:lnTo>
                      <a:pt x="3196" y="1882"/>
                    </a:lnTo>
                    <a:lnTo>
                      <a:pt x="3198" y="1871"/>
                    </a:lnTo>
                    <a:lnTo>
                      <a:pt x="3198" y="1866"/>
                    </a:lnTo>
                    <a:lnTo>
                      <a:pt x="3201" y="1861"/>
                    </a:lnTo>
                    <a:lnTo>
                      <a:pt x="3203" y="1859"/>
                    </a:lnTo>
                    <a:lnTo>
                      <a:pt x="3212" y="1859"/>
                    </a:lnTo>
                    <a:lnTo>
                      <a:pt x="3217" y="1859"/>
                    </a:lnTo>
                    <a:lnTo>
                      <a:pt x="3198" y="1849"/>
                    </a:lnTo>
                    <a:lnTo>
                      <a:pt x="3186" y="1835"/>
                    </a:lnTo>
                    <a:lnTo>
                      <a:pt x="3184" y="1833"/>
                    </a:lnTo>
                    <a:lnTo>
                      <a:pt x="3179" y="1833"/>
                    </a:lnTo>
                    <a:lnTo>
                      <a:pt x="3172" y="1838"/>
                    </a:lnTo>
                    <a:lnTo>
                      <a:pt x="3153" y="1859"/>
                    </a:lnTo>
                    <a:lnTo>
                      <a:pt x="3149" y="1864"/>
                    </a:lnTo>
                    <a:lnTo>
                      <a:pt x="3127" y="1873"/>
                    </a:lnTo>
                    <a:lnTo>
                      <a:pt x="3113" y="1875"/>
                    </a:lnTo>
                    <a:lnTo>
                      <a:pt x="3097" y="1873"/>
                    </a:lnTo>
                    <a:lnTo>
                      <a:pt x="3082" y="1871"/>
                    </a:lnTo>
                    <a:lnTo>
                      <a:pt x="3047" y="1852"/>
                    </a:lnTo>
                    <a:lnTo>
                      <a:pt x="3042" y="1847"/>
                    </a:lnTo>
                    <a:lnTo>
                      <a:pt x="3049" y="1835"/>
                    </a:lnTo>
                    <a:lnTo>
                      <a:pt x="3052" y="1833"/>
                    </a:lnTo>
                    <a:lnTo>
                      <a:pt x="3047" y="1821"/>
                    </a:lnTo>
                    <a:lnTo>
                      <a:pt x="3047" y="1819"/>
                    </a:lnTo>
                    <a:lnTo>
                      <a:pt x="3042" y="1816"/>
                    </a:lnTo>
                    <a:lnTo>
                      <a:pt x="3042" y="1816"/>
                    </a:lnTo>
                    <a:lnTo>
                      <a:pt x="3042" y="1821"/>
                    </a:lnTo>
                    <a:lnTo>
                      <a:pt x="3042" y="1826"/>
                    </a:lnTo>
                    <a:lnTo>
                      <a:pt x="3040" y="1830"/>
                    </a:lnTo>
                    <a:lnTo>
                      <a:pt x="3033" y="1833"/>
                    </a:lnTo>
                    <a:lnTo>
                      <a:pt x="3023" y="1838"/>
                    </a:lnTo>
                    <a:lnTo>
                      <a:pt x="2993" y="1826"/>
                    </a:lnTo>
                    <a:lnTo>
                      <a:pt x="2959" y="1819"/>
                    </a:lnTo>
                    <a:lnTo>
                      <a:pt x="2931" y="1814"/>
                    </a:lnTo>
                    <a:lnTo>
                      <a:pt x="2891" y="1819"/>
                    </a:lnTo>
                    <a:lnTo>
                      <a:pt x="2870" y="1823"/>
                    </a:lnTo>
                    <a:lnTo>
                      <a:pt x="2858" y="1823"/>
                    </a:lnTo>
                    <a:lnTo>
                      <a:pt x="2846" y="1823"/>
                    </a:lnTo>
                    <a:lnTo>
                      <a:pt x="2844" y="1819"/>
                    </a:lnTo>
                    <a:lnTo>
                      <a:pt x="2851" y="1816"/>
                    </a:lnTo>
                    <a:lnTo>
                      <a:pt x="2851" y="1814"/>
                    </a:lnTo>
                    <a:lnTo>
                      <a:pt x="2844" y="1802"/>
                    </a:lnTo>
                    <a:lnTo>
                      <a:pt x="2834" y="1797"/>
                    </a:lnTo>
                    <a:lnTo>
                      <a:pt x="2820" y="1793"/>
                    </a:lnTo>
                    <a:lnTo>
                      <a:pt x="2811" y="1790"/>
                    </a:lnTo>
                    <a:lnTo>
                      <a:pt x="2808" y="1788"/>
                    </a:lnTo>
                    <a:lnTo>
                      <a:pt x="2803" y="1783"/>
                    </a:lnTo>
                    <a:lnTo>
                      <a:pt x="2796" y="1778"/>
                    </a:lnTo>
                    <a:lnTo>
                      <a:pt x="2794" y="1774"/>
                    </a:lnTo>
                    <a:lnTo>
                      <a:pt x="2796" y="1755"/>
                    </a:lnTo>
                    <a:lnTo>
                      <a:pt x="2801" y="1745"/>
                    </a:lnTo>
                    <a:lnTo>
                      <a:pt x="2803" y="1738"/>
                    </a:lnTo>
                    <a:lnTo>
                      <a:pt x="2811" y="1726"/>
                    </a:lnTo>
                    <a:lnTo>
                      <a:pt x="2808" y="1726"/>
                    </a:lnTo>
                    <a:lnTo>
                      <a:pt x="2799" y="1736"/>
                    </a:lnTo>
                    <a:lnTo>
                      <a:pt x="2789" y="1743"/>
                    </a:lnTo>
                    <a:lnTo>
                      <a:pt x="2780" y="1755"/>
                    </a:lnTo>
                    <a:lnTo>
                      <a:pt x="2775" y="1760"/>
                    </a:lnTo>
                    <a:lnTo>
                      <a:pt x="2770" y="1764"/>
                    </a:lnTo>
                    <a:lnTo>
                      <a:pt x="2761" y="1764"/>
                    </a:lnTo>
                    <a:lnTo>
                      <a:pt x="2747" y="1755"/>
                    </a:lnTo>
                    <a:lnTo>
                      <a:pt x="2737" y="1750"/>
                    </a:lnTo>
                    <a:lnTo>
                      <a:pt x="2728" y="1750"/>
                    </a:lnTo>
                    <a:lnTo>
                      <a:pt x="2723" y="1748"/>
                    </a:lnTo>
                    <a:lnTo>
                      <a:pt x="2730" y="1741"/>
                    </a:lnTo>
                    <a:lnTo>
                      <a:pt x="2735" y="1736"/>
                    </a:lnTo>
                    <a:lnTo>
                      <a:pt x="2740" y="1729"/>
                    </a:lnTo>
                    <a:lnTo>
                      <a:pt x="2742" y="1724"/>
                    </a:lnTo>
                    <a:lnTo>
                      <a:pt x="2709" y="1719"/>
                    </a:lnTo>
                    <a:lnTo>
                      <a:pt x="2707" y="1715"/>
                    </a:lnTo>
                    <a:lnTo>
                      <a:pt x="2707" y="1712"/>
                    </a:lnTo>
                    <a:lnTo>
                      <a:pt x="2707" y="1710"/>
                    </a:lnTo>
                    <a:lnTo>
                      <a:pt x="2702" y="1707"/>
                    </a:lnTo>
                    <a:lnTo>
                      <a:pt x="2695" y="1707"/>
                    </a:lnTo>
                    <a:lnTo>
                      <a:pt x="2683" y="1712"/>
                    </a:lnTo>
                    <a:lnTo>
                      <a:pt x="2678" y="1707"/>
                    </a:lnTo>
                    <a:lnTo>
                      <a:pt x="2681" y="1705"/>
                    </a:lnTo>
                    <a:lnTo>
                      <a:pt x="2685" y="1705"/>
                    </a:lnTo>
                    <a:lnTo>
                      <a:pt x="2692" y="1698"/>
                    </a:lnTo>
                    <a:lnTo>
                      <a:pt x="2683" y="1693"/>
                    </a:lnTo>
                    <a:lnTo>
                      <a:pt x="2678" y="1686"/>
                    </a:lnTo>
                    <a:lnTo>
                      <a:pt x="2676" y="1684"/>
                    </a:lnTo>
                    <a:lnTo>
                      <a:pt x="2678" y="1670"/>
                    </a:lnTo>
                    <a:lnTo>
                      <a:pt x="2681" y="1660"/>
                    </a:lnTo>
                    <a:lnTo>
                      <a:pt x="2704" y="1653"/>
                    </a:lnTo>
                    <a:lnTo>
                      <a:pt x="2697" y="1651"/>
                    </a:lnTo>
                    <a:lnTo>
                      <a:pt x="2683" y="1651"/>
                    </a:lnTo>
                    <a:lnTo>
                      <a:pt x="2673" y="1658"/>
                    </a:lnTo>
                    <a:lnTo>
                      <a:pt x="2662" y="1667"/>
                    </a:lnTo>
                    <a:lnTo>
                      <a:pt x="2652" y="1670"/>
                    </a:lnTo>
                    <a:lnTo>
                      <a:pt x="2650" y="1667"/>
                    </a:lnTo>
                    <a:lnTo>
                      <a:pt x="2645" y="1665"/>
                    </a:lnTo>
                    <a:lnTo>
                      <a:pt x="2638" y="1665"/>
                    </a:lnTo>
                    <a:lnTo>
                      <a:pt x="2633" y="1667"/>
                    </a:lnTo>
                    <a:lnTo>
                      <a:pt x="2631" y="1672"/>
                    </a:lnTo>
                    <a:lnTo>
                      <a:pt x="2629" y="1674"/>
                    </a:lnTo>
                    <a:lnTo>
                      <a:pt x="2626" y="1677"/>
                    </a:lnTo>
                    <a:lnTo>
                      <a:pt x="2624" y="1677"/>
                    </a:lnTo>
                    <a:lnTo>
                      <a:pt x="2621" y="1670"/>
                    </a:lnTo>
                    <a:lnTo>
                      <a:pt x="2614" y="1667"/>
                    </a:lnTo>
                    <a:lnTo>
                      <a:pt x="2612" y="1663"/>
                    </a:lnTo>
                    <a:lnTo>
                      <a:pt x="2610" y="1665"/>
                    </a:lnTo>
                    <a:lnTo>
                      <a:pt x="2607" y="1672"/>
                    </a:lnTo>
                    <a:lnTo>
                      <a:pt x="2605" y="1674"/>
                    </a:lnTo>
                    <a:lnTo>
                      <a:pt x="2593" y="1677"/>
                    </a:lnTo>
                    <a:lnTo>
                      <a:pt x="2588" y="1677"/>
                    </a:lnTo>
                    <a:lnTo>
                      <a:pt x="2581" y="1667"/>
                    </a:lnTo>
                    <a:lnTo>
                      <a:pt x="2581" y="1665"/>
                    </a:lnTo>
                    <a:lnTo>
                      <a:pt x="2584" y="1658"/>
                    </a:lnTo>
                    <a:lnTo>
                      <a:pt x="2603" y="1629"/>
                    </a:lnTo>
                    <a:lnTo>
                      <a:pt x="2600" y="1629"/>
                    </a:lnTo>
                    <a:lnTo>
                      <a:pt x="2595" y="1634"/>
                    </a:lnTo>
                    <a:lnTo>
                      <a:pt x="2584" y="1644"/>
                    </a:lnTo>
                    <a:lnTo>
                      <a:pt x="2579" y="1648"/>
                    </a:lnTo>
                    <a:lnTo>
                      <a:pt x="2572" y="1646"/>
                    </a:lnTo>
                    <a:lnTo>
                      <a:pt x="2569" y="1646"/>
                    </a:lnTo>
                    <a:lnTo>
                      <a:pt x="2565" y="1646"/>
                    </a:lnTo>
                    <a:lnTo>
                      <a:pt x="2560" y="1648"/>
                    </a:lnTo>
                    <a:lnTo>
                      <a:pt x="2555" y="1651"/>
                    </a:lnTo>
                    <a:lnTo>
                      <a:pt x="2553" y="1655"/>
                    </a:lnTo>
                    <a:lnTo>
                      <a:pt x="2555" y="1655"/>
                    </a:lnTo>
                    <a:lnTo>
                      <a:pt x="2562" y="1653"/>
                    </a:lnTo>
                    <a:lnTo>
                      <a:pt x="2567" y="1651"/>
                    </a:lnTo>
                    <a:lnTo>
                      <a:pt x="2567" y="1653"/>
                    </a:lnTo>
                    <a:lnTo>
                      <a:pt x="2560" y="1667"/>
                    </a:lnTo>
                    <a:lnTo>
                      <a:pt x="2555" y="1679"/>
                    </a:lnTo>
                    <a:lnTo>
                      <a:pt x="2553" y="1681"/>
                    </a:lnTo>
                    <a:lnTo>
                      <a:pt x="2546" y="1679"/>
                    </a:lnTo>
                    <a:lnTo>
                      <a:pt x="2541" y="1681"/>
                    </a:lnTo>
                    <a:lnTo>
                      <a:pt x="2541" y="1684"/>
                    </a:lnTo>
                    <a:lnTo>
                      <a:pt x="2550" y="1696"/>
                    </a:lnTo>
                    <a:lnTo>
                      <a:pt x="2555" y="1698"/>
                    </a:lnTo>
                    <a:lnTo>
                      <a:pt x="2560" y="1700"/>
                    </a:lnTo>
                    <a:lnTo>
                      <a:pt x="2560" y="1705"/>
                    </a:lnTo>
                    <a:lnTo>
                      <a:pt x="2558" y="1715"/>
                    </a:lnTo>
                    <a:lnTo>
                      <a:pt x="2555" y="1717"/>
                    </a:lnTo>
                    <a:lnTo>
                      <a:pt x="2553" y="1719"/>
                    </a:lnTo>
                    <a:lnTo>
                      <a:pt x="2543" y="1719"/>
                    </a:lnTo>
                    <a:lnTo>
                      <a:pt x="2541" y="1719"/>
                    </a:lnTo>
                    <a:lnTo>
                      <a:pt x="2534" y="1724"/>
                    </a:lnTo>
                    <a:lnTo>
                      <a:pt x="2529" y="1729"/>
                    </a:lnTo>
                    <a:lnTo>
                      <a:pt x="2532" y="1729"/>
                    </a:lnTo>
                    <a:lnTo>
                      <a:pt x="2536" y="1726"/>
                    </a:lnTo>
                    <a:lnTo>
                      <a:pt x="2543" y="1724"/>
                    </a:lnTo>
                    <a:lnTo>
                      <a:pt x="2555" y="1726"/>
                    </a:lnTo>
                    <a:lnTo>
                      <a:pt x="2562" y="1724"/>
                    </a:lnTo>
                    <a:lnTo>
                      <a:pt x="2567" y="1719"/>
                    </a:lnTo>
                    <a:lnTo>
                      <a:pt x="2572" y="1722"/>
                    </a:lnTo>
                    <a:lnTo>
                      <a:pt x="2576" y="1729"/>
                    </a:lnTo>
                    <a:lnTo>
                      <a:pt x="2576" y="1733"/>
                    </a:lnTo>
                    <a:lnTo>
                      <a:pt x="2574" y="1738"/>
                    </a:lnTo>
                    <a:lnTo>
                      <a:pt x="2572" y="1743"/>
                    </a:lnTo>
                    <a:lnTo>
                      <a:pt x="2565" y="1743"/>
                    </a:lnTo>
                    <a:lnTo>
                      <a:pt x="2560" y="1745"/>
                    </a:lnTo>
                    <a:lnTo>
                      <a:pt x="2558" y="1750"/>
                    </a:lnTo>
                    <a:lnTo>
                      <a:pt x="2558" y="1755"/>
                    </a:lnTo>
                    <a:lnTo>
                      <a:pt x="2555" y="1764"/>
                    </a:lnTo>
                    <a:lnTo>
                      <a:pt x="2555" y="1778"/>
                    </a:lnTo>
                    <a:lnTo>
                      <a:pt x="2555" y="1781"/>
                    </a:lnTo>
                    <a:lnTo>
                      <a:pt x="2553" y="1781"/>
                    </a:lnTo>
                    <a:lnTo>
                      <a:pt x="2548" y="1781"/>
                    </a:lnTo>
                    <a:lnTo>
                      <a:pt x="2546" y="1783"/>
                    </a:lnTo>
                    <a:lnTo>
                      <a:pt x="2536" y="1802"/>
                    </a:lnTo>
                    <a:lnTo>
                      <a:pt x="2534" y="1804"/>
                    </a:lnTo>
                    <a:lnTo>
                      <a:pt x="2532" y="1802"/>
                    </a:lnTo>
                    <a:lnTo>
                      <a:pt x="2529" y="1802"/>
                    </a:lnTo>
                    <a:lnTo>
                      <a:pt x="2527" y="1804"/>
                    </a:lnTo>
                    <a:lnTo>
                      <a:pt x="2522" y="1804"/>
                    </a:lnTo>
                    <a:lnTo>
                      <a:pt x="2513" y="1807"/>
                    </a:lnTo>
                    <a:lnTo>
                      <a:pt x="2508" y="1804"/>
                    </a:lnTo>
                    <a:lnTo>
                      <a:pt x="2496" y="1800"/>
                    </a:lnTo>
                    <a:lnTo>
                      <a:pt x="2491" y="1795"/>
                    </a:lnTo>
                    <a:lnTo>
                      <a:pt x="2489" y="1790"/>
                    </a:lnTo>
                    <a:lnTo>
                      <a:pt x="2477" y="1795"/>
                    </a:lnTo>
                    <a:lnTo>
                      <a:pt x="2475" y="1793"/>
                    </a:lnTo>
                    <a:lnTo>
                      <a:pt x="2470" y="1778"/>
                    </a:lnTo>
                    <a:lnTo>
                      <a:pt x="2468" y="1778"/>
                    </a:lnTo>
                    <a:lnTo>
                      <a:pt x="2465" y="1793"/>
                    </a:lnTo>
                    <a:lnTo>
                      <a:pt x="2463" y="1797"/>
                    </a:lnTo>
                    <a:lnTo>
                      <a:pt x="2456" y="1807"/>
                    </a:lnTo>
                    <a:lnTo>
                      <a:pt x="2449" y="1823"/>
                    </a:lnTo>
                    <a:lnTo>
                      <a:pt x="2449" y="1826"/>
                    </a:lnTo>
                    <a:lnTo>
                      <a:pt x="2446" y="1821"/>
                    </a:lnTo>
                    <a:lnTo>
                      <a:pt x="2446" y="1807"/>
                    </a:lnTo>
                    <a:lnTo>
                      <a:pt x="2444" y="1802"/>
                    </a:lnTo>
                    <a:lnTo>
                      <a:pt x="2437" y="1812"/>
                    </a:lnTo>
                    <a:lnTo>
                      <a:pt x="2437" y="1814"/>
                    </a:lnTo>
                    <a:lnTo>
                      <a:pt x="2437" y="1826"/>
                    </a:lnTo>
                    <a:lnTo>
                      <a:pt x="2435" y="1828"/>
                    </a:lnTo>
                    <a:lnTo>
                      <a:pt x="2423" y="1819"/>
                    </a:lnTo>
                    <a:lnTo>
                      <a:pt x="2420" y="1819"/>
                    </a:lnTo>
                    <a:lnTo>
                      <a:pt x="2420" y="1819"/>
                    </a:lnTo>
                    <a:lnTo>
                      <a:pt x="2423" y="1830"/>
                    </a:lnTo>
                    <a:lnTo>
                      <a:pt x="2423" y="1833"/>
                    </a:lnTo>
                    <a:lnTo>
                      <a:pt x="2404" y="1849"/>
                    </a:lnTo>
                    <a:lnTo>
                      <a:pt x="2399" y="1847"/>
                    </a:lnTo>
                    <a:lnTo>
                      <a:pt x="2397" y="1845"/>
                    </a:lnTo>
                    <a:lnTo>
                      <a:pt x="2392" y="1845"/>
                    </a:lnTo>
                    <a:lnTo>
                      <a:pt x="2383" y="1849"/>
                    </a:lnTo>
                    <a:lnTo>
                      <a:pt x="2378" y="1849"/>
                    </a:lnTo>
                    <a:lnTo>
                      <a:pt x="2376" y="1845"/>
                    </a:lnTo>
                    <a:lnTo>
                      <a:pt x="2373" y="1845"/>
                    </a:lnTo>
                    <a:lnTo>
                      <a:pt x="2371" y="1849"/>
                    </a:lnTo>
                    <a:lnTo>
                      <a:pt x="2371" y="1856"/>
                    </a:lnTo>
                    <a:lnTo>
                      <a:pt x="2366" y="1864"/>
                    </a:lnTo>
                    <a:lnTo>
                      <a:pt x="2352" y="1875"/>
                    </a:lnTo>
                    <a:lnTo>
                      <a:pt x="2347" y="1880"/>
                    </a:lnTo>
                    <a:lnTo>
                      <a:pt x="2345" y="1887"/>
                    </a:lnTo>
                    <a:lnTo>
                      <a:pt x="2342" y="1887"/>
                    </a:lnTo>
                    <a:lnTo>
                      <a:pt x="2335" y="1880"/>
                    </a:lnTo>
                    <a:lnTo>
                      <a:pt x="2326" y="1878"/>
                    </a:lnTo>
                    <a:lnTo>
                      <a:pt x="2326" y="1878"/>
                    </a:lnTo>
                    <a:lnTo>
                      <a:pt x="2328" y="1882"/>
                    </a:lnTo>
                    <a:lnTo>
                      <a:pt x="2326" y="1887"/>
                    </a:lnTo>
                    <a:lnTo>
                      <a:pt x="2324" y="1887"/>
                    </a:lnTo>
                    <a:lnTo>
                      <a:pt x="2319" y="1885"/>
                    </a:lnTo>
                    <a:lnTo>
                      <a:pt x="2312" y="1882"/>
                    </a:lnTo>
                    <a:lnTo>
                      <a:pt x="2305" y="1885"/>
                    </a:lnTo>
                    <a:lnTo>
                      <a:pt x="2293" y="1890"/>
                    </a:lnTo>
                    <a:lnTo>
                      <a:pt x="2283" y="1887"/>
                    </a:lnTo>
                    <a:lnTo>
                      <a:pt x="2274" y="1875"/>
                    </a:lnTo>
                    <a:lnTo>
                      <a:pt x="2272" y="1875"/>
                    </a:lnTo>
                    <a:lnTo>
                      <a:pt x="2269" y="1871"/>
                    </a:lnTo>
                    <a:lnTo>
                      <a:pt x="2274" y="1864"/>
                    </a:lnTo>
                    <a:lnTo>
                      <a:pt x="2279" y="1859"/>
                    </a:lnTo>
                    <a:lnTo>
                      <a:pt x="2281" y="1854"/>
                    </a:lnTo>
                    <a:lnTo>
                      <a:pt x="2293" y="1849"/>
                    </a:lnTo>
                    <a:lnTo>
                      <a:pt x="2307" y="1847"/>
                    </a:lnTo>
                    <a:lnTo>
                      <a:pt x="2314" y="1845"/>
                    </a:lnTo>
                    <a:lnTo>
                      <a:pt x="2326" y="1835"/>
                    </a:lnTo>
                    <a:lnTo>
                      <a:pt x="2333" y="1828"/>
                    </a:lnTo>
                    <a:lnTo>
                      <a:pt x="2345" y="1812"/>
                    </a:lnTo>
                    <a:lnTo>
                      <a:pt x="2345" y="1809"/>
                    </a:lnTo>
                    <a:lnTo>
                      <a:pt x="2342" y="1809"/>
                    </a:lnTo>
                    <a:lnTo>
                      <a:pt x="2319" y="1823"/>
                    </a:lnTo>
                    <a:lnTo>
                      <a:pt x="2314" y="1823"/>
                    </a:lnTo>
                    <a:lnTo>
                      <a:pt x="2309" y="1823"/>
                    </a:lnTo>
                    <a:lnTo>
                      <a:pt x="2293" y="1814"/>
                    </a:lnTo>
                    <a:lnTo>
                      <a:pt x="2288" y="1812"/>
                    </a:lnTo>
                    <a:lnTo>
                      <a:pt x="2288" y="1802"/>
                    </a:lnTo>
                    <a:lnTo>
                      <a:pt x="2295" y="1783"/>
                    </a:lnTo>
                    <a:lnTo>
                      <a:pt x="2300" y="1774"/>
                    </a:lnTo>
                    <a:lnTo>
                      <a:pt x="2312" y="1760"/>
                    </a:lnTo>
                    <a:lnTo>
                      <a:pt x="2326" y="1745"/>
                    </a:lnTo>
                    <a:lnTo>
                      <a:pt x="2331" y="1736"/>
                    </a:lnTo>
                    <a:lnTo>
                      <a:pt x="2340" y="1710"/>
                    </a:lnTo>
                    <a:lnTo>
                      <a:pt x="2340" y="1696"/>
                    </a:lnTo>
                    <a:lnTo>
                      <a:pt x="2340" y="1681"/>
                    </a:lnTo>
                    <a:lnTo>
                      <a:pt x="2342" y="1672"/>
                    </a:lnTo>
                    <a:lnTo>
                      <a:pt x="2345" y="1670"/>
                    </a:lnTo>
                    <a:lnTo>
                      <a:pt x="2373" y="1658"/>
                    </a:lnTo>
                    <a:lnTo>
                      <a:pt x="2385" y="1651"/>
                    </a:lnTo>
                    <a:lnTo>
                      <a:pt x="2411" y="1637"/>
                    </a:lnTo>
                    <a:lnTo>
                      <a:pt x="2418" y="1639"/>
                    </a:lnTo>
                    <a:lnTo>
                      <a:pt x="2423" y="1644"/>
                    </a:lnTo>
                    <a:lnTo>
                      <a:pt x="2428" y="1648"/>
                    </a:lnTo>
                    <a:lnTo>
                      <a:pt x="2432" y="1653"/>
                    </a:lnTo>
                    <a:lnTo>
                      <a:pt x="2442" y="1653"/>
                    </a:lnTo>
                    <a:lnTo>
                      <a:pt x="2451" y="1651"/>
                    </a:lnTo>
                    <a:lnTo>
                      <a:pt x="2468" y="1653"/>
                    </a:lnTo>
                    <a:lnTo>
                      <a:pt x="2498" y="1667"/>
                    </a:lnTo>
                    <a:lnTo>
                      <a:pt x="2506" y="1670"/>
                    </a:lnTo>
                    <a:lnTo>
                      <a:pt x="2506" y="1667"/>
                    </a:lnTo>
                    <a:lnTo>
                      <a:pt x="2501" y="1660"/>
                    </a:lnTo>
                    <a:lnTo>
                      <a:pt x="2480" y="1653"/>
                    </a:lnTo>
                    <a:lnTo>
                      <a:pt x="2470" y="1648"/>
                    </a:lnTo>
                    <a:lnTo>
                      <a:pt x="2446" y="1627"/>
                    </a:lnTo>
                    <a:lnTo>
                      <a:pt x="2442" y="1620"/>
                    </a:lnTo>
                    <a:lnTo>
                      <a:pt x="2444" y="1615"/>
                    </a:lnTo>
                    <a:lnTo>
                      <a:pt x="2451" y="1613"/>
                    </a:lnTo>
                    <a:lnTo>
                      <a:pt x="2454" y="1611"/>
                    </a:lnTo>
                    <a:lnTo>
                      <a:pt x="2454" y="1606"/>
                    </a:lnTo>
                    <a:lnTo>
                      <a:pt x="2458" y="1601"/>
                    </a:lnTo>
                    <a:lnTo>
                      <a:pt x="2465" y="1594"/>
                    </a:lnTo>
                    <a:lnTo>
                      <a:pt x="2477" y="1587"/>
                    </a:lnTo>
                    <a:lnTo>
                      <a:pt x="2496" y="1577"/>
                    </a:lnTo>
                    <a:lnTo>
                      <a:pt x="2489" y="1575"/>
                    </a:lnTo>
                    <a:lnTo>
                      <a:pt x="2477" y="1577"/>
                    </a:lnTo>
                    <a:lnTo>
                      <a:pt x="2470" y="1577"/>
                    </a:lnTo>
                    <a:lnTo>
                      <a:pt x="2461" y="1585"/>
                    </a:lnTo>
                    <a:lnTo>
                      <a:pt x="2458" y="1592"/>
                    </a:lnTo>
                    <a:lnTo>
                      <a:pt x="2451" y="1601"/>
                    </a:lnTo>
                    <a:lnTo>
                      <a:pt x="2449" y="1603"/>
                    </a:lnTo>
                    <a:lnTo>
                      <a:pt x="2439" y="1603"/>
                    </a:lnTo>
                    <a:lnTo>
                      <a:pt x="2413" y="1603"/>
                    </a:lnTo>
                    <a:lnTo>
                      <a:pt x="2411" y="1596"/>
                    </a:lnTo>
                    <a:lnTo>
                      <a:pt x="2409" y="1594"/>
                    </a:lnTo>
                    <a:lnTo>
                      <a:pt x="2404" y="1594"/>
                    </a:lnTo>
                    <a:lnTo>
                      <a:pt x="2380" y="1608"/>
                    </a:lnTo>
                    <a:lnTo>
                      <a:pt x="2371" y="1613"/>
                    </a:lnTo>
                    <a:lnTo>
                      <a:pt x="2364" y="1622"/>
                    </a:lnTo>
                    <a:lnTo>
                      <a:pt x="2354" y="1627"/>
                    </a:lnTo>
                    <a:lnTo>
                      <a:pt x="2340" y="1629"/>
                    </a:lnTo>
                    <a:lnTo>
                      <a:pt x="2331" y="1632"/>
                    </a:lnTo>
                    <a:lnTo>
                      <a:pt x="2319" y="1641"/>
                    </a:lnTo>
                    <a:lnTo>
                      <a:pt x="2314" y="1648"/>
                    </a:lnTo>
                    <a:lnTo>
                      <a:pt x="2314" y="1651"/>
                    </a:lnTo>
                    <a:lnTo>
                      <a:pt x="2314" y="1663"/>
                    </a:lnTo>
                    <a:lnTo>
                      <a:pt x="2312" y="1665"/>
                    </a:lnTo>
                    <a:lnTo>
                      <a:pt x="2307" y="1665"/>
                    </a:lnTo>
                    <a:lnTo>
                      <a:pt x="2295" y="1672"/>
                    </a:lnTo>
                    <a:lnTo>
                      <a:pt x="2274" y="1691"/>
                    </a:lnTo>
                    <a:lnTo>
                      <a:pt x="2269" y="1698"/>
                    </a:lnTo>
                    <a:lnTo>
                      <a:pt x="2269" y="1700"/>
                    </a:lnTo>
                    <a:lnTo>
                      <a:pt x="2272" y="1707"/>
                    </a:lnTo>
                    <a:lnTo>
                      <a:pt x="2269" y="1712"/>
                    </a:lnTo>
                    <a:lnTo>
                      <a:pt x="2262" y="1717"/>
                    </a:lnTo>
                    <a:lnTo>
                      <a:pt x="2248" y="1726"/>
                    </a:lnTo>
                    <a:lnTo>
                      <a:pt x="2241" y="1729"/>
                    </a:lnTo>
                    <a:lnTo>
                      <a:pt x="2236" y="1726"/>
                    </a:lnTo>
                    <a:lnTo>
                      <a:pt x="2231" y="1724"/>
                    </a:lnTo>
                    <a:lnTo>
                      <a:pt x="2222" y="1717"/>
                    </a:lnTo>
                    <a:lnTo>
                      <a:pt x="2215" y="1717"/>
                    </a:lnTo>
                    <a:lnTo>
                      <a:pt x="2215" y="1717"/>
                    </a:lnTo>
                    <a:lnTo>
                      <a:pt x="2224" y="1724"/>
                    </a:lnTo>
                    <a:lnTo>
                      <a:pt x="2231" y="1736"/>
                    </a:lnTo>
                    <a:lnTo>
                      <a:pt x="2236" y="1743"/>
                    </a:lnTo>
                    <a:lnTo>
                      <a:pt x="2238" y="1750"/>
                    </a:lnTo>
                    <a:lnTo>
                      <a:pt x="2238" y="1757"/>
                    </a:lnTo>
                    <a:lnTo>
                      <a:pt x="2234" y="1762"/>
                    </a:lnTo>
                    <a:lnTo>
                      <a:pt x="2227" y="1771"/>
                    </a:lnTo>
                    <a:lnTo>
                      <a:pt x="2220" y="1774"/>
                    </a:lnTo>
                    <a:lnTo>
                      <a:pt x="2201" y="1776"/>
                    </a:lnTo>
                    <a:lnTo>
                      <a:pt x="2194" y="1776"/>
                    </a:lnTo>
                    <a:lnTo>
                      <a:pt x="2191" y="1778"/>
                    </a:lnTo>
                    <a:lnTo>
                      <a:pt x="2203" y="1786"/>
                    </a:lnTo>
                    <a:lnTo>
                      <a:pt x="2205" y="1788"/>
                    </a:lnTo>
                    <a:lnTo>
                      <a:pt x="2201" y="1797"/>
                    </a:lnTo>
                    <a:lnTo>
                      <a:pt x="2198" y="1800"/>
                    </a:lnTo>
                    <a:lnTo>
                      <a:pt x="2186" y="1802"/>
                    </a:lnTo>
                    <a:lnTo>
                      <a:pt x="2177" y="1802"/>
                    </a:lnTo>
                    <a:lnTo>
                      <a:pt x="2175" y="1802"/>
                    </a:lnTo>
                    <a:lnTo>
                      <a:pt x="2179" y="1795"/>
                    </a:lnTo>
                    <a:lnTo>
                      <a:pt x="2179" y="1793"/>
                    </a:lnTo>
                    <a:lnTo>
                      <a:pt x="2175" y="1790"/>
                    </a:lnTo>
                    <a:lnTo>
                      <a:pt x="2170" y="1793"/>
                    </a:lnTo>
                    <a:lnTo>
                      <a:pt x="2156" y="1802"/>
                    </a:lnTo>
                    <a:lnTo>
                      <a:pt x="2153" y="1802"/>
                    </a:lnTo>
                    <a:lnTo>
                      <a:pt x="2158" y="1807"/>
                    </a:lnTo>
                    <a:lnTo>
                      <a:pt x="2158" y="1809"/>
                    </a:lnTo>
                    <a:lnTo>
                      <a:pt x="2149" y="1814"/>
                    </a:lnTo>
                    <a:lnTo>
                      <a:pt x="2146" y="1819"/>
                    </a:lnTo>
                    <a:lnTo>
                      <a:pt x="2139" y="1823"/>
                    </a:lnTo>
                    <a:lnTo>
                      <a:pt x="2118" y="1835"/>
                    </a:lnTo>
                    <a:lnTo>
                      <a:pt x="2118" y="1840"/>
                    </a:lnTo>
                    <a:lnTo>
                      <a:pt x="2111" y="1854"/>
                    </a:lnTo>
                    <a:lnTo>
                      <a:pt x="2106" y="1864"/>
                    </a:lnTo>
                    <a:lnTo>
                      <a:pt x="2108" y="1871"/>
                    </a:lnTo>
                    <a:lnTo>
                      <a:pt x="2125" y="1878"/>
                    </a:lnTo>
                    <a:lnTo>
                      <a:pt x="2132" y="1882"/>
                    </a:lnTo>
                    <a:lnTo>
                      <a:pt x="2142" y="1887"/>
                    </a:lnTo>
                    <a:lnTo>
                      <a:pt x="2158" y="1901"/>
                    </a:lnTo>
                    <a:lnTo>
                      <a:pt x="2163" y="1908"/>
                    </a:lnTo>
                    <a:lnTo>
                      <a:pt x="2163" y="1913"/>
                    </a:lnTo>
                    <a:lnTo>
                      <a:pt x="2160" y="1916"/>
                    </a:lnTo>
                    <a:lnTo>
                      <a:pt x="2158" y="1920"/>
                    </a:lnTo>
                    <a:lnTo>
                      <a:pt x="2151" y="1930"/>
                    </a:lnTo>
                    <a:lnTo>
                      <a:pt x="2137" y="1942"/>
                    </a:lnTo>
                    <a:lnTo>
                      <a:pt x="2130" y="1944"/>
                    </a:lnTo>
                    <a:lnTo>
                      <a:pt x="2120" y="1946"/>
                    </a:lnTo>
                    <a:lnTo>
                      <a:pt x="2116" y="1949"/>
                    </a:lnTo>
                    <a:lnTo>
                      <a:pt x="2104" y="1960"/>
                    </a:lnTo>
                    <a:lnTo>
                      <a:pt x="2099" y="1965"/>
                    </a:lnTo>
                    <a:lnTo>
                      <a:pt x="2097" y="1972"/>
                    </a:lnTo>
                    <a:lnTo>
                      <a:pt x="2094" y="1977"/>
                    </a:lnTo>
                    <a:lnTo>
                      <a:pt x="2078" y="1982"/>
                    </a:lnTo>
                    <a:lnTo>
                      <a:pt x="2078" y="1984"/>
                    </a:lnTo>
                    <a:lnTo>
                      <a:pt x="2085" y="1986"/>
                    </a:lnTo>
                    <a:lnTo>
                      <a:pt x="2080" y="1994"/>
                    </a:lnTo>
                    <a:lnTo>
                      <a:pt x="2078" y="2003"/>
                    </a:lnTo>
                    <a:lnTo>
                      <a:pt x="2075" y="2005"/>
                    </a:lnTo>
                    <a:lnTo>
                      <a:pt x="2066" y="2003"/>
                    </a:lnTo>
                    <a:lnTo>
                      <a:pt x="2054" y="2005"/>
                    </a:lnTo>
                    <a:lnTo>
                      <a:pt x="2052" y="2008"/>
                    </a:lnTo>
                    <a:lnTo>
                      <a:pt x="2049" y="2015"/>
                    </a:lnTo>
                    <a:lnTo>
                      <a:pt x="2019" y="2015"/>
                    </a:lnTo>
                    <a:lnTo>
                      <a:pt x="2009" y="2027"/>
                    </a:lnTo>
                    <a:lnTo>
                      <a:pt x="2004" y="2031"/>
                    </a:lnTo>
                    <a:lnTo>
                      <a:pt x="1990" y="2039"/>
                    </a:lnTo>
                    <a:lnTo>
                      <a:pt x="1983" y="2043"/>
                    </a:lnTo>
                    <a:lnTo>
                      <a:pt x="1974" y="2043"/>
                    </a:lnTo>
                    <a:lnTo>
                      <a:pt x="1969" y="2046"/>
                    </a:lnTo>
                    <a:lnTo>
                      <a:pt x="1967" y="2050"/>
                    </a:lnTo>
                    <a:lnTo>
                      <a:pt x="1964" y="2055"/>
                    </a:lnTo>
                    <a:lnTo>
                      <a:pt x="1955" y="2060"/>
                    </a:lnTo>
                    <a:lnTo>
                      <a:pt x="1950" y="2067"/>
                    </a:lnTo>
                    <a:lnTo>
                      <a:pt x="1948" y="2067"/>
                    </a:lnTo>
                    <a:lnTo>
                      <a:pt x="1934" y="2067"/>
                    </a:lnTo>
                    <a:lnTo>
                      <a:pt x="1929" y="2069"/>
                    </a:lnTo>
                    <a:lnTo>
                      <a:pt x="1926" y="2079"/>
                    </a:lnTo>
                    <a:lnTo>
                      <a:pt x="1924" y="2079"/>
                    </a:lnTo>
                    <a:lnTo>
                      <a:pt x="1919" y="2076"/>
                    </a:lnTo>
                    <a:lnTo>
                      <a:pt x="1912" y="2076"/>
                    </a:lnTo>
                    <a:lnTo>
                      <a:pt x="1896" y="2086"/>
                    </a:lnTo>
                    <a:lnTo>
                      <a:pt x="1891" y="2091"/>
                    </a:lnTo>
                    <a:lnTo>
                      <a:pt x="1891" y="2093"/>
                    </a:lnTo>
                    <a:lnTo>
                      <a:pt x="1893" y="2095"/>
                    </a:lnTo>
                    <a:lnTo>
                      <a:pt x="1896" y="2102"/>
                    </a:lnTo>
                    <a:lnTo>
                      <a:pt x="1893" y="2107"/>
                    </a:lnTo>
                    <a:lnTo>
                      <a:pt x="1886" y="2121"/>
                    </a:lnTo>
                    <a:lnTo>
                      <a:pt x="1884" y="2124"/>
                    </a:lnTo>
                    <a:lnTo>
                      <a:pt x="1874" y="2124"/>
                    </a:lnTo>
                    <a:lnTo>
                      <a:pt x="1872" y="2131"/>
                    </a:lnTo>
                    <a:lnTo>
                      <a:pt x="1865" y="2131"/>
                    </a:lnTo>
                    <a:lnTo>
                      <a:pt x="1860" y="2131"/>
                    </a:lnTo>
                    <a:lnTo>
                      <a:pt x="1856" y="2135"/>
                    </a:lnTo>
                    <a:lnTo>
                      <a:pt x="1851" y="2138"/>
                    </a:lnTo>
                    <a:lnTo>
                      <a:pt x="1846" y="2138"/>
                    </a:lnTo>
                    <a:lnTo>
                      <a:pt x="1841" y="2140"/>
                    </a:lnTo>
                    <a:lnTo>
                      <a:pt x="1834" y="2145"/>
                    </a:lnTo>
                    <a:lnTo>
                      <a:pt x="1827" y="2150"/>
                    </a:lnTo>
                    <a:lnTo>
                      <a:pt x="1822" y="2150"/>
                    </a:lnTo>
                    <a:lnTo>
                      <a:pt x="1818" y="2150"/>
                    </a:lnTo>
                    <a:lnTo>
                      <a:pt x="1813" y="2147"/>
                    </a:lnTo>
                    <a:lnTo>
                      <a:pt x="1808" y="2147"/>
                    </a:lnTo>
                    <a:lnTo>
                      <a:pt x="1804" y="2150"/>
                    </a:lnTo>
                    <a:lnTo>
                      <a:pt x="1799" y="2154"/>
                    </a:lnTo>
                    <a:lnTo>
                      <a:pt x="1794" y="2164"/>
                    </a:lnTo>
                    <a:lnTo>
                      <a:pt x="1789" y="2169"/>
                    </a:lnTo>
                    <a:lnTo>
                      <a:pt x="1787" y="2171"/>
                    </a:lnTo>
                    <a:lnTo>
                      <a:pt x="1782" y="2169"/>
                    </a:lnTo>
                    <a:lnTo>
                      <a:pt x="1775" y="2164"/>
                    </a:lnTo>
                    <a:lnTo>
                      <a:pt x="1768" y="2164"/>
                    </a:lnTo>
                    <a:lnTo>
                      <a:pt x="1754" y="2169"/>
                    </a:lnTo>
                    <a:lnTo>
                      <a:pt x="1749" y="2173"/>
                    </a:lnTo>
                    <a:lnTo>
                      <a:pt x="1756" y="2176"/>
                    </a:lnTo>
                    <a:lnTo>
                      <a:pt x="1759" y="2178"/>
                    </a:lnTo>
                    <a:lnTo>
                      <a:pt x="1759" y="2180"/>
                    </a:lnTo>
                    <a:lnTo>
                      <a:pt x="1756" y="2180"/>
                    </a:lnTo>
                    <a:lnTo>
                      <a:pt x="1749" y="2178"/>
                    </a:lnTo>
                    <a:lnTo>
                      <a:pt x="1744" y="2178"/>
                    </a:lnTo>
                    <a:lnTo>
                      <a:pt x="1737" y="2180"/>
                    </a:lnTo>
                    <a:lnTo>
                      <a:pt x="1726" y="2183"/>
                    </a:lnTo>
                    <a:lnTo>
                      <a:pt x="1721" y="2183"/>
                    </a:lnTo>
                    <a:lnTo>
                      <a:pt x="1709" y="2195"/>
                    </a:lnTo>
                    <a:lnTo>
                      <a:pt x="1707" y="2197"/>
                    </a:lnTo>
                    <a:lnTo>
                      <a:pt x="1707" y="2199"/>
                    </a:lnTo>
                    <a:lnTo>
                      <a:pt x="1714" y="2199"/>
                    </a:lnTo>
                    <a:lnTo>
                      <a:pt x="1718" y="2202"/>
                    </a:lnTo>
                    <a:lnTo>
                      <a:pt x="1721" y="2206"/>
                    </a:lnTo>
                    <a:lnTo>
                      <a:pt x="1723" y="2209"/>
                    </a:lnTo>
                    <a:lnTo>
                      <a:pt x="1723" y="2216"/>
                    </a:lnTo>
                    <a:lnTo>
                      <a:pt x="1723" y="2218"/>
                    </a:lnTo>
                    <a:lnTo>
                      <a:pt x="1709" y="2228"/>
                    </a:lnTo>
                    <a:lnTo>
                      <a:pt x="1704" y="2232"/>
                    </a:lnTo>
                    <a:lnTo>
                      <a:pt x="1702" y="2232"/>
                    </a:lnTo>
                    <a:lnTo>
                      <a:pt x="1702" y="2230"/>
                    </a:lnTo>
                    <a:lnTo>
                      <a:pt x="1702" y="2218"/>
                    </a:lnTo>
                    <a:lnTo>
                      <a:pt x="1702" y="2216"/>
                    </a:lnTo>
                    <a:lnTo>
                      <a:pt x="1700" y="2213"/>
                    </a:lnTo>
                    <a:lnTo>
                      <a:pt x="1695" y="2218"/>
                    </a:lnTo>
                    <a:lnTo>
                      <a:pt x="1685" y="2232"/>
                    </a:lnTo>
                    <a:lnTo>
                      <a:pt x="1678" y="2240"/>
                    </a:lnTo>
                    <a:lnTo>
                      <a:pt x="1624" y="2247"/>
                    </a:lnTo>
                    <a:lnTo>
                      <a:pt x="1617" y="2249"/>
                    </a:lnTo>
                    <a:lnTo>
                      <a:pt x="1612" y="2258"/>
                    </a:lnTo>
                    <a:lnTo>
                      <a:pt x="1610" y="2266"/>
                    </a:lnTo>
                    <a:lnTo>
                      <a:pt x="1605" y="2270"/>
                    </a:lnTo>
                    <a:lnTo>
                      <a:pt x="1600" y="2273"/>
                    </a:lnTo>
                    <a:lnTo>
                      <a:pt x="1600" y="2270"/>
                    </a:lnTo>
                    <a:lnTo>
                      <a:pt x="1605" y="2249"/>
                    </a:lnTo>
                    <a:lnTo>
                      <a:pt x="1605" y="2244"/>
                    </a:lnTo>
                    <a:lnTo>
                      <a:pt x="1600" y="2242"/>
                    </a:lnTo>
                    <a:lnTo>
                      <a:pt x="1598" y="2242"/>
                    </a:lnTo>
                    <a:lnTo>
                      <a:pt x="1596" y="2242"/>
                    </a:lnTo>
                    <a:lnTo>
                      <a:pt x="1588" y="2244"/>
                    </a:lnTo>
                    <a:lnTo>
                      <a:pt x="1586" y="2247"/>
                    </a:lnTo>
                    <a:lnTo>
                      <a:pt x="1581" y="2244"/>
                    </a:lnTo>
                    <a:lnTo>
                      <a:pt x="1574" y="2247"/>
                    </a:lnTo>
                    <a:lnTo>
                      <a:pt x="1558" y="2258"/>
                    </a:lnTo>
                    <a:lnTo>
                      <a:pt x="1546" y="2258"/>
                    </a:lnTo>
                    <a:lnTo>
                      <a:pt x="1544" y="2261"/>
                    </a:lnTo>
                    <a:lnTo>
                      <a:pt x="1536" y="2268"/>
                    </a:lnTo>
                    <a:lnTo>
                      <a:pt x="1534" y="2270"/>
                    </a:lnTo>
                    <a:lnTo>
                      <a:pt x="1529" y="2268"/>
                    </a:lnTo>
                    <a:lnTo>
                      <a:pt x="1525" y="2266"/>
                    </a:lnTo>
                    <a:lnTo>
                      <a:pt x="1520" y="2266"/>
                    </a:lnTo>
                    <a:lnTo>
                      <a:pt x="1515" y="2270"/>
                    </a:lnTo>
                    <a:lnTo>
                      <a:pt x="1510" y="2273"/>
                    </a:lnTo>
                    <a:lnTo>
                      <a:pt x="1501" y="2266"/>
                    </a:lnTo>
                    <a:lnTo>
                      <a:pt x="1496" y="2268"/>
                    </a:lnTo>
                    <a:lnTo>
                      <a:pt x="1489" y="2273"/>
                    </a:lnTo>
                    <a:lnTo>
                      <a:pt x="1482" y="2277"/>
                    </a:lnTo>
                    <a:lnTo>
                      <a:pt x="1475" y="2277"/>
                    </a:lnTo>
                    <a:lnTo>
                      <a:pt x="1458" y="2275"/>
                    </a:lnTo>
                    <a:lnTo>
                      <a:pt x="1454" y="2273"/>
                    </a:lnTo>
                    <a:lnTo>
                      <a:pt x="1454" y="2270"/>
                    </a:lnTo>
                    <a:lnTo>
                      <a:pt x="1456" y="2261"/>
                    </a:lnTo>
                    <a:lnTo>
                      <a:pt x="1458" y="2256"/>
                    </a:lnTo>
                    <a:lnTo>
                      <a:pt x="1463" y="2254"/>
                    </a:lnTo>
                    <a:lnTo>
                      <a:pt x="1466" y="2251"/>
                    </a:lnTo>
                    <a:lnTo>
                      <a:pt x="1470" y="2251"/>
                    </a:lnTo>
                    <a:lnTo>
                      <a:pt x="1480" y="2256"/>
                    </a:lnTo>
                    <a:lnTo>
                      <a:pt x="1480" y="2254"/>
                    </a:lnTo>
                    <a:lnTo>
                      <a:pt x="1477" y="2249"/>
                    </a:lnTo>
                    <a:lnTo>
                      <a:pt x="1470" y="2244"/>
                    </a:lnTo>
                    <a:lnTo>
                      <a:pt x="1463" y="2240"/>
                    </a:lnTo>
                    <a:lnTo>
                      <a:pt x="1458" y="2240"/>
                    </a:lnTo>
                    <a:lnTo>
                      <a:pt x="1451" y="2242"/>
                    </a:lnTo>
                    <a:lnTo>
                      <a:pt x="1444" y="2244"/>
                    </a:lnTo>
                    <a:lnTo>
                      <a:pt x="1442" y="2249"/>
                    </a:lnTo>
                    <a:lnTo>
                      <a:pt x="1435" y="2263"/>
                    </a:lnTo>
                    <a:lnTo>
                      <a:pt x="1432" y="2266"/>
                    </a:lnTo>
                    <a:lnTo>
                      <a:pt x="1406" y="2287"/>
                    </a:lnTo>
                    <a:lnTo>
                      <a:pt x="1399" y="2294"/>
                    </a:lnTo>
                    <a:lnTo>
                      <a:pt x="1392" y="2292"/>
                    </a:lnTo>
                    <a:lnTo>
                      <a:pt x="1388" y="2294"/>
                    </a:lnTo>
                    <a:lnTo>
                      <a:pt x="1380" y="2299"/>
                    </a:lnTo>
                    <a:lnTo>
                      <a:pt x="1376" y="2301"/>
                    </a:lnTo>
                    <a:lnTo>
                      <a:pt x="1371" y="2299"/>
                    </a:lnTo>
                    <a:lnTo>
                      <a:pt x="1369" y="2299"/>
                    </a:lnTo>
                    <a:lnTo>
                      <a:pt x="1366" y="2294"/>
                    </a:lnTo>
                    <a:lnTo>
                      <a:pt x="1366" y="2294"/>
                    </a:lnTo>
                    <a:lnTo>
                      <a:pt x="1371" y="2292"/>
                    </a:lnTo>
                    <a:lnTo>
                      <a:pt x="1371" y="2287"/>
                    </a:lnTo>
                    <a:lnTo>
                      <a:pt x="1369" y="2277"/>
                    </a:lnTo>
                    <a:lnTo>
                      <a:pt x="1366" y="2270"/>
                    </a:lnTo>
                    <a:lnTo>
                      <a:pt x="1359" y="2268"/>
                    </a:lnTo>
                    <a:lnTo>
                      <a:pt x="1357" y="2273"/>
                    </a:lnTo>
                    <a:lnTo>
                      <a:pt x="1354" y="2292"/>
                    </a:lnTo>
                    <a:lnTo>
                      <a:pt x="1352" y="2296"/>
                    </a:lnTo>
                    <a:lnTo>
                      <a:pt x="1347" y="2301"/>
                    </a:lnTo>
                    <a:lnTo>
                      <a:pt x="1333" y="2306"/>
                    </a:lnTo>
                    <a:lnTo>
                      <a:pt x="1331" y="2303"/>
                    </a:lnTo>
                    <a:lnTo>
                      <a:pt x="1324" y="2289"/>
                    </a:lnTo>
                    <a:lnTo>
                      <a:pt x="1314" y="2282"/>
                    </a:lnTo>
                    <a:lnTo>
                      <a:pt x="1312" y="2287"/>
                    </a:lnTo>
                    <a:lnTo>
                      <a:pt x="1312" y="2296"/>
                    </a:lnTo>
                    <a:lnTo>
                      <a:pt x="1310" y="2303"/>
                    </a:lnTo>
                    <a:lnTo>
                      <a:pt x="1300" y="2308"/>
                    </a:lnTo>
                    <a:lnTo>
                      <a:pt x="1293" y="2310"/>
                    </a:lnTo>
                    <a:lnTo>
                      <a:pt x="1291" y="2308"/>
                    </a:lnTo>
                    <a:lnTo>
                      <a:pt x="1291" y="2303"/>
                    </a:lnTo>
                    <a:lnTo>
                      <a:pt x="1298" y="2294"/>
                    </a:lnTo>
                    <a:lnTo>
                      <a:pt x="1300" y="2287"/>
                    </a:lnTo>
                    <a:lnTo>
                      <a:pt x="1300" y="2280"/>
                    </a:lnTo>
                    <a:lnTo>
                      <a:pt x="1302" y="2275"/>
                    </a:lnTo>
                    <a:lnTo>
                      <a:pt x="1305" y="2273"/>
                    </a:lnTo>
                    <a:lnTo>
                      <a:pt x="1319" y="2266"/>
                    </a:lnTo>
                    <a:lnTo>
                      <a:pt x="1326" y="2266"/>
                    </a:lnTo>
                    <a:lnTo>
                      <a:pt x="1328" y="2268"/>
                    </a:lnTo>
                    <a:lnTo>
                      <a:pt x="1331" y="2270"/>
                    </a:lnTo>
                    <a:lnTo>
                      <a:pt x="1336" y="2270"/>
                    </a:lnTo>
                    <a:lnTo>
                      <a:pt x="1338" y="2268"/>
                    </a:lnTo>
                    <a:lnTo>
                      <a:pt x="1340" y="2263"/>
                    </a:lnTo>
                    <a:lnTo>
                      <a:pt x="1347" y="2258"/>
                    </a:lnTo>
                    <a:lnTo>
                      <a:pt x="1359" y="2254"/>
                    </a:lnTo>
                    <a:lnTo>
                      <a:pt x="1376" y="2244"/>
                    </a:lnTo>
                    <a:lnTo>
                      <a:pt x="1392" y="2228"/>
                    </a:lnTo>
                    <a:lnTo>
                      <a:pt x="1411" y="2213"/>
                    </a:lnTo>
                    <a:lnTo>
                      <a:pt x="1432" y="2204"/>
                    </a:lnTo>
                    <a:lnTo>
                      <a:pt x="1454" y="2197"/>
                    </a:lnTo>
                    <a:lnTo>
                      <a:pt x="1494" y="2192"/>
                    </a:lnTo>
                    <a:lnTo>
                      <a:pt x="1496" y="2192"/>
                    </a:lnTo>
                    <a:lnTo>
                      <a:pt x="1492" y="2197"/>
                    </a:lnTo>
                    <a:lnTo>
                      <a:pt x="1492" y="2202"/>
                    </a:lnTo>
                    <a:lnTo>
                      <a:pt x="1496" y="2202"/>
                    </a:lnTo>
                    <a:lnTo>
                      <a:pt x="1510" y="2204"/>
                    </a:lnTo>
                    <a:lnTo>
                      <a:pt x="1518" y="2202"/>
                    </a:lnTo>
                    <a:lnTo>
                      <a:pt x="1518" y="2204"/>
                    </a:lnTo>
                    <a:lnTo>
                      <a:pt x="1515" y="2209"/>
                    </a:lnTo>
                    <a:lnTo>
                      <a:pt x="1506" y="2211"/>
                    </a:lnTo>
                    <a:lnTo>
                      <a:pt x="1506" y="2213"/>
                    </a:lnTo>
                    <a:lnTo>
                      <a:pt x="1513" y="2232"/>
                    </a:lnTo>
                    <a:lnTo>
                      <a:pt x="1515" y="2235"/>
                    </a:lnTo>
                    <a:lnTo>
                      <a:pt x="1520" y="2237"/>
                    </a:lnTo>
                    <a:lnTo>
                      <a:pt x="1520" y="2235"/>
                    </a:lnTo>
                    <a:lnTo>
                      <a:pt x="1522" y="2223"/>
                    </a:lnTo>
                    <a:lnTo>
                      <a:pt x="1527" y="2221"/>
                    </a:lnTo>
                    <a:lnTo>
                      <a:pt x="1536" y="2223"/>
                    </a:lnTo>
                    <a:lnTo>
                      <a:pt x="1541" y="2225"/>
                    </a:lnTo>
                    <a:lnTo>
                      <a:pt x="1541" y="2230"/>
                    </a:lnTo>
                    <a:lnTo>
                      <a:pt x="1546" y="2235"/>
                    </a:lnTo>
                    <a:lnTo>
                      <a:pt x="1553" y="2237"/>
                    </a:lnTo>
                    <a:lnTo>
                      <a:pt x="1558" y="2237"/>
                    </a:lnTo>
                    <a:lnTo>
                      <a:pt x="1560" y="2235"/>
                    </a:lnTo>
                    <a:lnTo>
                      <a:pt x="1558" y="2230"/>
                    </a:lnTo>
                    <a:lnTo>
                      <a:pt x="1546" y="2216"/>
                    </a:lnTo>
                    <a:lnTo>
                      <a:pt x="1544" y="2211"/>
                    </a:lnTo>
                    <a:lnTo>
                      <a:pt x="1544" y="2206"/>
                    </a:lnTo>
                    <a:lnTo>
                      <a:pt x="1548" y="2199"/>
                    </a:lnTo>
                    <a:lnTo>
                      <a:pt x="1555" y="2190"/>
                    </a:lnTo>
                    <a:lnTo>
                      <a:pt x="1565" y="2178"/>
                    </a:lnTo>
                    <a:lnTo>
                      <a:pt x="1572" y="2169"/>
                    </a:lnTo>
                    <a:lnTo>
                      <a:pt x="1586" y="2159"/>
                    </a:lnTo>
                    <a:lnTo>
                      <a:pt x="1596" y="2157"/>
                    </a:lnTo>
                    <a:lnTo>
                      <a:pt x="1619" y="2143"/>
                    </a:lnTo>
                    <a:lnTo>
                      <a:pt x="1662" y="2135"/>
                    </a:lnTo>
                    <a:lnTo>
                      <a:pt x="1674" y="2126"/>
                    </a:lnTo>
                    <a:lnTo>
                      <a:pt x="1688" y="2117"/>
                    </a:lnTo>
                    <a:lnTo>
                      <a:pt x="1695" y="2114"/>
                    </a:lnTo>
                    <a:lnTo>
                      <a:pt x="1692" y="2119"/>
                    </a:lnTo>
                    <a:lnTo>
                      <a:pt x="1695" y="2124"/>
                    </a:lnTo>
                    <a:lnTo>
                      <a:pt x="1702" y="2128"/>
                    </a:lnTo>
                    <a:lnTo>
                      <a:pt x="1707" y="2131"/>
                    </a:lnTo>
                    <a:lnTo>
                      <a:pt x="1709" y="2131"/>
                    </a:lnTo>
                    <a:lnTo>
                      <a:pt x="1711" y="2126"/>
                    </a:lnTo>
                    <a:lnTo>
                      <a:pt x="1711" y="2117"/>
                    </a:lnTo>
                    <a:lnTo>
                      <a:pt x="1714" y="2109"/>
                    </a:lnTo>
                    <a:lnTo>
                      <a:pt x="1716" y="2102"/>
                    </a:lnTo>
                    <a:lnTo>
                      <a:pt x="1718" y="2098"/>
                    </a:lnTo>
                    <a:lnTo>
                      <a:pt x="1726" y="2088"/>
                    </a:lnTo>
                    <a:lnTo>
                      <a:pt x="1737" y="2079"/>
                    </a:lnTo>
                    <a:lnTo>
                      <a:pt x="1752" y="2067"/>
                    </a:lnTo>
                    <a:lnTo>
                      <a:pt x="1761" y="2062"/>
                    </a:lnTo>
                    <a:lnTo>
                      <a:pt x="1768" y="2060"/>
                    </a:lnTo>
                    <a:lnTo>
                      <a:pt x="1775" y="2055"/>
                    </a:lnTo>
                    <a:lnTo>
                      <a:pt x="1789" y="2043"/>
                    </a:lnTo>
                    <a:lnTo>
                      <a:pt x="1794" y="2043"/>
                    </a:lnTo>
                    <a:lnTo>
                      <a:pt x="1804" y="2041"/>
                    </a:lnTo>
                    <a:lnTo>
                      <a:pt x="1806" y="2043"/>
                    </a:lnTo>
                    <a:lnTo>
                      <a:pt x="1806" y="2048"/>
                    </a:lnTo>
                    <a:lnTo>
                      <a:pt x="1808" y="2050"/>
                    </a:lnTo>
                    <a:lnTo>
                      <a:pt x="1815" y="2053"/>
                    </a:lnTo>
                    <a:lnTo>
                      <a:pt x="1822" y="2050"/>
                    </a:lnTo>
                    <a:lnTo>
                      <a:pt x="1822" y="2050"/>
                    </a:lnTo>
                    <a:lnTo>
                      <a:pt x="1818" y="2048"/>
                    </a:lnTo>
                    <a:lnTo>
                      <a:pt x="1815" y="2046"/>
                    </a:lnTo>
                    <a:lnTo>
                      <a:pt x="1813" y="2036"/>
                    </a:lnTo>
                    <a:lnTo>
                      <a:pt x="1808" y="2029"/>
                    </a:lnTo>
                    <a:lnTo>
                      <a:pt x="1808" y="2024"/>
                    </a:lnTo>
                    <a:lnTo>
                      <a:pt x="1813" y="2015"/>
                    </a:lnTo>
                    <a:lnTo>
                      <a:pt x="1820" y="1996"/>
                    </a:lnTo>
                    <a:lnTo>
                      <a:pt x="1827" y="1975"/>
                    </a:lnTo>
                    <a:lnTo>
                      <a:pt x="1832" y="1963"/>
                    </a:lnTo>
                    <a:lnTo>
                      <a:pt x="1841" y="1960"/>
                    </a:lnTo>
                    <a:lnTo>
                      <a:pt x="1860" y="1960"/>
                    </a:lnTo>
                    <a:lnTo>
                      <a:pt x="1851" y="1953"/>
                    </a:lnTo>
                    <a:lnTo>
                      <a:pt x="1848" y="1951"/>
                    </a:lnTo>
                    <a:lnTo>
                      <a:pt x="1841" y="1946"/>
                    </a:lnTo>
                    <a:lnTo>
                      <a:pt x="1841" y="1932"/>
                    </a:lnTo>
                    <a:lnTo>
                      <a:pt x="1844" y="1923"/>
                    </a:lnTo>
                    <a:lnTo>
                      <a:pt x="1851" y="1913"/>
                    </a:lnTo>
                    <a:lnTo>
                      <a:pt x="1872" y="1897"/>
                    </a:lnTo>
                    <a:lnTo>
                      <a:pt x="1891" y="1887"/>
                    </a:lnTo>
                    <a:lnTo>
                      <a:pt x="1891" y="1885"/>
                    </a:lnTo>
                    <a:lnTo>
                      <a:pt x="1889" y="1882"/>
                    </a:lnTo>
                    <a:lnTo>
                      <a:pt x="1903" y="1856"/>
                    </a:lnTo>
                    <a:lnTo>
                      <a:pt x="1915" y="1835"/>
                    </a:lnTo>
                    <a:lnTo>
                      <a:pt x="1900" y="1852"/>
                    </a:lnTo>
                    <a:lnTo>
                      <a:pt x="1884" y="1866"/>
                    </a:lnTo>
                    <a:lnTo>
                      <a:pt x="1841" y="1875"/>
                    </a:lnTo>
                    <a:lnTo>
                      <a:pt x="1813" y="1885"/>
                    </a:lnTo>
                    <a:lnTo>
                      <a:pt x="1801" y="1887"/>
                    </a:lnTo>
                    <a:lnTo>
                      <a:pt x="1794" y="1880"/>
                    </a:lnTo>
                    <a:lnTo>
                      <a:pt x="1789" y="1866"/>
                    </a:lnTo>
                    <a:lnTo>
                      <a:pt x="1787" y="1859"/>
                    </a:lnTo>
                    <a:lnTo>
                      <a:pt x="1785" y="1849"/>
                    </a:lnTo>
                    <a:lnTo>
                      <a:pt x="1789" y="1838"/>
                    </a:lnTo>
                    <a:lnTo>
                      <a:pt x="1794" y="1828"/>
                    </a:lnTo>
                    <a:lnTo>
                      <a:pt x="1804" y="1830"/>
                    </a:lnTo>
                    <a:lnTo>
                      <a:pt x="1811" y="1835"/>
                    </a:lnTo>
                    <a:lnTo>
                      <a:pt x="1820" y="1838"/>
                    </a:lnTo>
                    <a:lnTo>
                      <a:pt x="1811" y="1828"/>
                    </a:lnTo>
                    <a:lnTo>
                      <a:pt x="1799" y="1816"/>
                    </a:lnTo>
                    <a:lnTo>
                      <a:pt x="1792" y="1819"/>
                    </a:lnTo>
                    <a:lnTo>
                      <a:pt x="1782" y="1828"/>
                    </a:lnTo>
                    <a:lnTo>
                      <a:pt x="1775" y="1835"/>
                    </a:lnTo>
                    <a:lnTo>
                      <a:pt x="1768" y="1830"/>
                    </a:lnTo>
                    <a:lnTo>
                      <a:pt x="1766" y="1826"/>
                    </a:lnTo>
                    <a:lnTo>
                      <a:pt x="1766" y="1838"/>
                    </a:lnTo>
                    <a:lnTo>
                      <a:pt x="1759" y="1852"/>
                    </a:lnTo>
                    <a:lnTo>
                      <a:pt x="1754" y="1861"/>
                    </a:lnTo>
                    <a:lnTo>
                      <a:pt x="1756" y="1890"/>
                    </a:lnTo>
                    <a:lnTo>
                      <a:pt x="1752" y="1901"/>
                    </a:lnTo>
                    <a:lnTo>
                      <a:pt x="1740" y="1904"/>
                    </a:lnTo>
                    <a:lnTo>
                      <a:pt x="1730" y="1892"/>
                    </a:lnTo>
                    <a:lnTo>
                      <a:pt x="1718" y="1854"/>
                    </a:lnTo>
                    <a:lnTo>
                      <a:pt x="1714" y="1842"/>
                    </a:lnTo>
                    <a:lnTo>
                      <a:pt x="1702" y="1821"/>
                    </a:lnTo>
                    <a:lnTo>
                      <a:pt x="1697" y="1823"/>
                    </a:lnTo>
                    <a:lnTo>
                      <a:pt x="1688" y="1830"/>
                    </a:lnTo>
                    <a:lnTo>
                      <a:pt x="1681" y="1830"/>
                    </a:lnTo>
                    <a:lnTo>
                      <a:pt x="1666" y="1814"/>
                    </a:lnTo>
                    <a:lnTo>
                      <a:pt x="1662" y="1804"/>
                    </a:lnTo>
                    <a:lnTo>
                      <a:pt x="1657" y="1790"/>
                    </a:lnTo>
                    <a:lnTo>
                      <a:pt x="1645" y="1795"/>
                    </a:lnTo>
                    <a:lnTo>
                      <a:pt x="1633" y="1800"/>
                    </a:lnTo>
                    <a:lnTo>
                      <a:pt x="1619" y="1807"/>
                    </a:lnTo>
                    <a:lnTo>
                      <a:pt x="1612" y="1807"/>
                    </a:lnTo>
                    <a:lnTo>
                      <a:pt x="1588" y="1812"/>
                    </a:lnTo>
                    <a:lnTo>
                      <a:pt x="1586" y="1809"/>
                    </a:lnTo>
                    <a:lnTo>
                      <a:pt x="1581" y="1814"/>
                    </a:lnTo>
                    <a:lnTo>
                      <a:pt x="1577" y="1816"/>
                    </a:lnTo>
                    <a:lnTo>
                      <a:pt x="1572" y="1826"/>
                    </a:lnTo>
                    <a:lnTo>
                      <a:pt x="1544" y="1826"/>
                    </a:lnTo>
                    <a:lnTo>
                      <a:pt x="1515" y="1816"/>
                    </a:lnTo>
                    <a:lnTo>
                      <a:pt x="1527" y="1812"/>
                    </a:lnTo>
                    <a:lnTo>
                      <a:pt x="1539" y="1812"/>
                    </a:lnTo>
                    <a:lnTo>
                      <a:pt x="1551" y="1802"/>
                    </a:lnTo>
                    <a:lnTo>
                      <a:pt x="1551" y="1788"/>
                    </a:lnTo>
                    <a:lnTo>
                      <a:pt x="1553" y="1778"/>
                    </a:lnTo>
                    <a:lnTo>
                      <a:pt x="1555" y="1771"/>
                    </a:lnTo>
                    <a:lnTo>
                      <a:pt x="1567" y="1760"/>
                    </a:lnTo>
                    <a:lnTo>
                      <a:pt x="1558" y="1757"/>
                    </a:lnTo>
                    <a:lnTo>
                      <a:pt x="1548" y="1760"/>
                    </a:lnTo>
                    <a:lnTo>
                      <a:pt x="1546" y="1748"/>
                    </a:lnTo>
                    <a:lnTo>
                      <a:pt x="1548" y="1729"/>
                    </a:lnTo>
                    <a:lnTo>
                      <a:pt x="1558" y="1719"/>
                    </a:lnTo>
                    <a:lnTo>
                      <a:pt x="1562" y="1712"/>
                    </a:lnTo>
                    <a:lnTo>
                      <a:pt x="1570" y="1700"/>
                    </a:lnTo>
                    <a:lnTo>
                      <a:pt x="1572" y="1691"/>
                    </a:lnTo>
                    <a:lnTo>
                      <a:pt x="1570" y="1672"/>
                    </a:lnTo>
                    <a:lnTo>
                      <a:pt x="1565" y="1629"/>
                    </a:lnTo>
                    <a:lnTo>
                      <a:pt x="1565" y="1601"/>
                    </a:lnTo>
                    <a:lnTo>
                      <a:pt x="1555" y="1582"/>
                    </a:lnTo>
                    <a:lnTo>
                      <a:pt x="1572" y="1561"/>
                    </a:lnTo>
                    <a:lnTo>
                      <a:pt x="1586" y="1542"/>
                    </a:lnTo>
                    <a:lnTo>
                      <a:pt x="1603" y="1535"/>
                    </a:lnTo>
                    <a:lnTo>
                      <a:pt x="1603" y="1533"/>
                    </a:lnTo>
                    <a:lnTo>
                      <a:pt x="1596" y="1533"/>
                    </a:lnTo>
                    <a:lnTo>
                      <a:pt x="1588" y="1533"/>
                    </a:lnTo>
                    <a:lnTo>
                      <a:pt x="1584" y="1537"/>
                    </a:lnTo>
                    <a:lnTo>
                      <a:pt x="1577" y="1542"/>
                    </a:lnTo>
                    <a:lnTo>
                      <a:pt x="1555" y="1566"/>
                    </a:lnTo>
                    <a:lnTo>
                      <a:pt x="1544" y="1577"/>
                    </a:lnTo>
                    <a:lnTo>
                      <a:pt x="1536" y="1580"/>
                    </a:lnTo>
                    <a:lnTo>
                      <a:pt x="1544" y="1587"/>
                    </a:lnTo>
                    <a:lnTo>
                      <a:pt x="1546" y="1592"/>
                    </a:lnTo>
                    <a:lnTo>
                      <a:pt x="1544" y="1603"/>
                    </a:lnTo>
                    <a:lnTo>
                      <a:pt x="1539" y="1615"/>
                    </a:lnTo>
                    <a:lnTo>
                      <a:pt x="1534" y="1620"/>
                    </a:lnTo>
                    <a:lnTo>
                      <a:pt x="1522" y="1618"/>
                    </a:lnTo>
                    <a:lnTo>
                      <a:pt x="1510" y="1625"/>
                    </a:lnTo>
                    <a:lnTo>
                      <a:pt x="1484" y="1629"/>
                    </a:lnTo>
                    <a:lnTo>
                      <a:pt x="1449" y="1627"/>
                    </a:lnTo>
                    <a:lnTo>
                      <a:pt x="1435" y="1620"/>
                    </a:lnTo>
                    <a:lnTo>
                      <a:pt x="1421" y="1603"/>
                    </a:lnTo>
                    <a:lnTo>
                      <a:pt x="1423" y="1596"/>
                    </a:lnTo>
                    <a:lnTo>
                      <a:pt x="1425" y="1592"/>
                    </a:lnTo>
                    <a:lnTo>
                      <a:pt x="1409" y="1563"/>
                    </a:lnTo>
                    <a:lnTo>
                      <a:pt x="1402" y="1537"/>
                    </a:lnTo>
                    <a:lnTo>
                      <a:pt x="1392" y="1535"/>
                    </a:lnTo>
                    <a:lnTo>
                      <a:pt x="1385" y="1525"/>
                    </a:lnTo>
                    <a:lnTo>
                      <a:pt x="1378" y="1514"/>
                    </a:lnTo>
                    <a:lnTo>
                      <a:pt x="1380" y="1507"/>
                    </a:lnTo>
                    <a:lnTo>
                      <a:pt x="1385" y="1502"/>
                    </a:lnTo>
                    <a:lnTo>
                      <a:pt x="1378" y="1497"/>
                    </a:lnTo>
                    <a:lnTo>
                      <a:pt x="1371" y="1495"/>
                    </a:lnTo>
                    <a:lnTo>
                      <a:pt x="1364" y="1490"/>
                    </a:lnTo>
                    <a:lnTo>
                      <a:pt x="1395" y="1469"/>
                    </a:lnTo>
                    <a:lnTo>
                      <a:pt x="1409" y="1452"/>
                    </a:lnTo>
                    <a:lnTo>
                      <a:pt x="1416" y="1452"/>
                    </a:lnTo>
                    <a:lnTo>
                      <a:pt x="1423" y="1457"/>
                    </a:lnTo>
                    <a:lnTo>
                      <a:pt x="1432" y="1469"/>
                    </a:lnTo>
                    <a:lnTo>
                      <a:pt x="1442" y="1473"/>
                    </a:lnTo>
                    <a:lnTo>
                      <a:pt x="1444" y="1478"/>
                    </a:lnTo>
                    <a:lnTo>
                      <a:pt x="1444" y="1488"/>
                    </a:lnTo>
                    <a:lnTo>
                      <a:pt x="1437" y="1497"/>
                    </a:lnTo>
                    <a:lnTo>
                      <a:pt x="1432" y="1502"/>
                    </a:lnTo>
                    <a:lnTo>
                      <a:pt x="1437" y="1502"/>
                    </a:lnTo>
                    <a:lnTo>
                      <a:pt x="1454" y="1495"/>
                    </a:lnTo>
                    <a:lnTo>
                      <a:pt x="1466" y="1485"/>
                    </a:lnTo>
                    <a:lnTo>
                      <a:pt x="1468" y="1488"/>
                    </a:lnTo>
                    <a:lnTo>
                      <a:pt x="1470" y="1490"/>
                    </a:lnTo>
                    <a:lnTo>
                      <a:pt x="1473" y="1502"/>
                    </a:lnTo>
                    <a:lnTo>
                      <a:pt x="1477" y="1516"/>
                    </a:lnTo>
                    <a:lnTo>
                      <a:pt x="1494" y="1509"/>
                    </a:lnTo>
                    <a:lnTo>
                      <a:pt x="1503" y="1497"/>
                    </a:lnTo>
                    <a:lnTo>
                      <a:pt x="1499" y="1490"/>
                    </a:lnTo>
                    <a:lnTo>
                      <a:pt x="1494" y="1485"/>
                    </a:lnTo>
                    <a:lnTo>
                      <a:pt x="1475" y="1476"/>
                    </a:lnTo>
                    <a:lnTo>
                      <a:pt x="1480" y="1473"/>
                    </a:lnTo>
                    <a:lnTo>
                      <a:pt x="1494" y="1476"/>
                    </a:lnTo>
                    <a:lnTo>
                      <a:pt x="1499" y="1473"/>
                    </a:lnTo>
                    <a:lnTo>
                      <a:pt x="1494" y="1469"/>
                    </a:lnTo>
                    <a:lnTo>
                      <a:pt x="1489" y="1462"/>
                    </a:lnTo>
                    <a:lnTo>
                      <a:pt x="1470" y="1471"/>
                    </a:lnTo>
                    <a:lnTo>
                      <a:pt x="1440" y="1462"/>
                    </a:lnTo>
                    <a:lnTo>
                      <a:pt x="1421" y="1447"/>
                    </a:lnTo>
                    <a:lnTo>
                      <a:pt x="1399" y="1443"/>
                    </a:lnTo>
                    <a:lnTo>
                      <a:pt x="1395" y="1440"/>
                    </a:lnTo>
                    <a:lnTo>
                      <a:pt x="1392" y="1436"/>
                    </a:lnTo>
                    <a:lnTo>
                      <a:pt x="1409" y="1428"/>
                    </a:lnTo>
                    <a:lnTo>
                      <a:pt x="1418" y="1424"/>
                    </a:lnTo>
                    <a:lnTo>
                      <a:pt x="1421" y="1421"/>
                    </a:lnTo>
                    <a:lnTo>
                      <a:pt x="1416" y="1419"/>
                    </a:lnTo>
                    <a:lnTo>
                      <a:pt x="1404" y="1419"/>
                    </a:lnTo>
                    <a:lnTo>
                      <a:pt x="1402" y="1412"/>
                    </a:lnTo>
                    <a:lnTo>
                      <a:pt x="1406" y="1405"/>
                    </a:lnTo>
                    <a:lnTo>
                      <a:pt x="1404" y="1405"/>
                    </a:lnTo>
                    <a:lnTo>
                      <a:pt x="1399" y="1407"/>
                    </a:lnTo>
                    <a:lnTo>
                      <a:pt x="1395" y="1405"/>
                    </a:lnTo>
                    <a:lnTo>
                      <a:pt x="1390" y="1400"/>
                    </a:lnTo>
                    <a:lnTo>
                      <a:pt x="1395" y="1395"/>
                    </a:lnTo>
                    <a:lnTo>
                      <a:pt x="1402" y="1391"/>
                    </a:lnTo>
                    <a:lnTo>
                      <a:pt x="1399" y="1391"/>
                    </a:lnTo>
                    <a:lnTo>
                      <a:pt x="1395" y="1391"/>
                    </a:lnTo>
                    <a:lnTo>
                      <a:pt x="1388" y="1395"/>
                    </a:lnTo>
                    <a:lnTo>
                      <a:pt x="1388" y="1402"/>
                    </a:lnTo>
                    <a:lnTo>
                      <a:pt x="1385" y="1412"/>
                    </a:lnTo>
                    <a:lnTo>
                      <a:pt x="1378" y="1410"/>
                    </a:lnTo>
                    <a:lnTo>
                      <a:pt x="1373" y="1407"/>
                    </a:lnTo>
                    <a:lnTo>
                      <a:pt x="1371" y="1398"/>
                    </a:lnTo>
                    <a:lnTo>
                      <a:pt x="1371" y="1379"/>
                    </a:lnTo>
                    <a:lnTo>
                      <a:pt x="1362" y="1369"/>
                    </a:lnTo>
                    <a:lnTo>
                      <a:pt x="1362" y="1360"/>
                    </a:lnTo>
                    <a:lnTo>
                      <a:pt x="1373" y="1348"/>
                    </a:lnTo>
                    <a:lnTo>
                      <a:pt x="1371" y="1341"/>
                    </a:lnTo>
                    <a:lnTo>
                      <a:pt x="1364" y="1336"/>
                    </a:lnTo>
                    <a:lnTo>
                      <a:pt x="1354" y="1341"/>
                    </a:lnTo>
                    <a:lnTo>
                      <a:pt x="1352" y="1334"/>
                    </a:lnTo>
                    <a:lnTo>
                      <a:pt x="1352" y="1327"/>
                    </a:lnTo>
                    <a:lnTo>
                      <a:pt x="1354" y="1320"/>
                    </a:lnTo>
                    <a:lnTo>
                      <a:pt x="1357" y="1320"/>
                    </a:lnTo>
                    <a:lnTo>
                      <a:pt x="1359" y="1322"/>
                    </a:lnTo>
                    <a:lnTo>
                      <a:pt x="1378" y="1322"/>
                    </a:lnTo>
                    <a:lnTo>
                      <a:pt x="1380" y="1320"/>
                    </a:lnTo>
                    <a:lnTo>
                      <a:pt x="1369" y="1308"/>
                    </a:lnTo>
                    <a:lnTo>
                      <a:pt x="1366" y="1301"/>
                    </a:lnTo>
                    <a:lnTo>
                      <a:pt x="1373" y="1296"/>
                    </a:lnTo>
                    <a:lnTo>
                      <a:pt x="1385" y="1301"/>
                    </a:lnTo>
                    <a:lnTo>
                      <a:pt x="1402" y="1301"/>
                    </a:lnTo>
                    <a:lnTo>
                      <a:pt x="1397" y="1289"/>
                    </a:lnTo>
                    <a:lnTo>
                      <a:pt x="1397" y="1284"/>
                    </a:lnTo>
                    <a:lnTo>
                      <a:pt x="1399" y="1277"/>
                    </a:lnTo>
                    <a:lnTo>
                      <a:pt x="1404" y="1265"/>
                    </a:lnTo>
                    <a:lnTo>
                      <a:pt x="1430" y="1242"/>
                    </a:lnTo>
                    <a:lnTo>
                      <a:pt x="1454" y="1223"/>
                    </a:lnTo>
                    <a:lnTo>
                      <a:pt x="1461" y="1218"/>
                    </a:lnTo>
                    <a:lnTo>
                      <a:pt x="1468" y="1218"/>
                    </a:lnTo>
                    <a:lnTo>
                      <a:pt x="1475" y="1223"/>
                    </a:lnTo>
                    <a:lnTo>
                      <a:pt x="1482" y="1230"/>
                    </a:lnTo>
                    <a:lnTo>
                      <a:pt x="1482" y="1227"/>
                    </a:lnTo>
                    <a:lnTo>
                      <a:pt x="1482" y="1225"/>
                    </a:lnTo>
                    <a:lnTo>
                      <a:pt x="1482" y="1213"/>
                    </a:lnTo>
                    <a:lnTo>
                      <a:pt x="1492" y="1213"/>
                    </a:lnTo>
                    <a:lnTo>
                      <a:pt x="1501" y="1204"/>
                    </a:lnTo>
                    <a:lnTo>
                      <a:pt x="1503" y="1201"/>
                    </a:lnTo>
                    <a:lnTo>
                      <a:pt x="1494" y="1204"/>
                    </a:lnTo>
                    <a:lnTo>
                      <a:pt x="1487" y="1209"/>
                    </a:lnTo>
                    <a:lnTo>
                      <a:pt x="1487" y="1201"/>
                    </a:lnTo>
                    <a:lnTo>
                      <a:pt x="1489" y="1183"/>
                    </a:lnTo>
                    <a:lnTo>
                      <a:pt x="1499" y="1168"/>
                    </a:lnTo>
                    <a:lnTo>
                      <a:pt x="1501" y="1161"/>
                    </a:lnTo>
                    <a:lnTo>
                      <a:pt x="1510" y="1154"/>
                    </a:lnTo>
                    <a:lnTo>
                      <a:pt x="1527" y="1157"/>
                    </a:lnTo>
                    <a:lnTo>
                      <a:pt x="1529" y="1159"/>
                    </a:lnTo>
                    <a:lnTo>
                      <a:pt x="1532" y="1157"/>
                    </a:lnTo>
                    <a:lnTo>
                      <a:pt x="1525" y="1142"/>
                    </a:lnTo>
                    <a:lnTo>
                      <a:pt x="1529" y="1135"/>
                    </a:lnTo>
                    <a:lnTo>
                      <a:pt x="1534" y="1133"/>
                    </a:lnTo>
                    <a:lnTo>
                      <a:pt x="1555" y="1131"/>
                    </a:lnTo>
                    <a:lnTo>
                      <a:pt x="1567" y="1135"/>
                    </a:lnTo>
                    <a:lnTo>
                      <a:pt x="1577" y="1147"/>
                    </a:lnTo>
                    <a:lnTo>
                      <a:pt x="1581" y="1159"/>
                    </a:lnTo>
                    <a:lnTo>
                      <a:pt x="1579" y="1164"/>
                    </a:lnTo>
                    <a:lnTo>
                      <a:pt x="1577" y="1166"/>
                    </a:lnTo>
                    <a:lnTo>
                      <a:pt x="1572" y="1168"/>
                    </a:lnTo>
                    <a:lnTo>
                      <a:pt x="1570" y="1171"/>
                    </a:lnTo>
                    <a:lnTo>
                      <a:pt x="1570" y="1173"/>
                    </a:lnTo>
                    <a:lnTo>
                      <a:pt x="1577" y="1168"/>
                    </a:lnTo>
                    <a:lnTo>
                      <a:pt x="1588" y="1164"/>
                    </a:lnTo>
                    <a:lnTo>
                      <a:pt x="1593" y="1168"/>
                    </a:lnTo>
                    <a:lnTo>
                      <a:pt x="1596" y="1175"/>
                    </a:lnTo>
                    <a:lnTo>
                      <a:pt x="1600" y="1175"/>
                    </a:lnTo>
                    <a:lnTo>
                      <a:pt x="1617" y="1175"/>
                    </a:lnTo>
                    <a:lnTo>
                      <a:pt x="1626" y="1173"/>
                    </a:lnTo>
                    <a:lnTo>
                      <a:pt x="1638" y="1161"/>
                    </a:lnTo>
                    <a:lnTo>
                      <a:pt x="1652" y="1157"/>
                    </a:lnTo>
                    <a:lnTo>
                      <a:pt x="1676" y="1135"/>
                    </a:lnTo>
                    <a:lnTo>
                      <a:pt x="1683" y="1123"/>
                    </a:lnTo>
                    <a:lnTo>
                      <a:pt x="1690" y="1123"/>
                    </a:lnTo>
                    <a:lnTo>
                      <a:pt x="1695" y="1126"/>
                    </a:lnTo>
                    <a:lnTo>
                      <a:pt x="1697" y="1138"/>
                    </a:lnTo>
                    <a:lnTo>
                      <a:pt x="1702" y="1140"/>
                    </a:lnTo>
                    <a:lnTo>
                      <a:pt x="1733" y="1147"/>
                    </a:lnTo>
                    <a:lnTo>
                      <a:pt x="1749" y="1145"/>
                    </a:lnTo>
                    <a:lnTo>
                      <a:pt x="1761" y="1140"/>
                    </a:lnTo>
                    <a:lnTo>
                      <a:pt x="1775" y="1128"/>
                    </a:lnTo>
                    <a:lnTo>
                      <a:pt x="1785" y="1119"/>
                    </a:lnTo>
                    <a:lnTo>
                      <a:pt x="1792" y="1107"/>
                    </a:lnTo>
                    <a:lnTo>
                      <a:pt x="1792" y="1088"/>
                    </a:lnTo>
                    <a:lnTo>
                      <a:pt x="1792" y="1074"/>
                    </a:lnTo>
                    <a:lnTo>
                      <a:pt x="1794" y="1041"/>
                    </a:lnTo>
                    <a:lnTo>
                      <a:pt x="1785" y="1017"/>
                    </a:lnTo>
                    <a:lnTo>
                      <a:pt x="1775" y="1008"/>
                    </a:lnTo>
                    <a:lnTo>
                      <a:pt x="1768" y="1005"/>
                    </a:lnTo>
                    <a:lnTo>
                      <a:pt x="1775" y="993"/>
                    </a:lnTo>
                    <a:lnTo>
                      <a:pt x="1789" y="998"/>
                    </a:lnTo>
                    <a:lnTo>
                      <a:pt x="1799" y="998"/>
                    </a:lnTo>
                    <a:lnTo>
                      <a:pt x="1808" y="993"/>
                    </a:lnTo>
                    <a:lnTo>
                      <a:pt x="1813" y="989"/>
                    </a:lnTo>
                    <a:lnTo>
                      <a:pt x="1818" y="979"/>
                    </a:lnTo>
                    <a:lnTo>
                      <a:pt x="1820" y="970"/>
                    </a:lnTo>
                    <a:lnTo>
                      <a:pt x="1820" y="963"/>
                    </a:lnTo>
                    <a:lnTo>
                      <a:pt x="1815" y="956"/>
                    </a:lnTo>
                    <a:lnTo>
                      <a:pt x="1811" y="944"/>
                    </a:lnTo>
                    <a:lnTo>
                      <a:pt x="1808" y="939"/>
                    </a:lnTo>
                    <a:lnTo>
                      <a:pt x="1806" y="939"/>
                    </a:lnTo>
                    <a:lnTo>
                      <a:pt x="1782" y="953"/>
                    </a:lnTo>
                    <a:lnTo>
                      <a:pt x="1773" y="951"/>
                    </a:lnTo>
                    <a:lnTo>
                      <a:pt x="1766" y="946"/>
                    </a:lnTo>
                    <a:lnTo>
                      <a:pt x="1756" y="956"/>
                    </a:lnTo>
                    <a:lnTo>
                      <a:pt x="1735" y="960"/>
                    </a:lnTo>
                    <a:lnTo>
                      <a:pt x="1721" y="967"/>
                    </a:lnTo>
                    <a:lnTo>
                      <a:pt x="1697" y="986"/>
                    </a:lnTo>
                    <a:lnTo>
                      <a:pt x="1690" y="996"/>
                    </a:lnTo>
                    <a:lnTo>
                      <a:pt x="1683" y="993"/>
                    </a:lnTo>
                    <a:lnTo>
                      <a:pt x="1683" y="972"/>
                    </a:lnTo>
                    <a:lnTo>
                      <a:pt x="1669" y="946"/>
                    </a:lnTo>
                    <a:lnTo>
                      <a:pt x="1662" y="951"/>
                    </a:lnTo>
                    <a:lnTo>
                      <a:pt x="1662" y="958"/>
                    </a:lnTo>
                    <a:lnTo>
                      <a:pt x="1666" y="965"/>
                    </a:lnTo>
                    <a:lnTo>
                      <a:pt x="1674" y="967"/>
                    </a:lnTo>
                    <a:lnTo>
                      <a:pt x="1669" y="972"/>
                    </a:lnTo>
                    <a:lnTo>
                      <a:pt x="1664" y="982"/>
                    </a:lnTo>
                    <a:lnTo>
                      <a:pt x="1657" y="972"/>
                    </a:lnTo>
                    <a:lnTo>
                      <a:pt x="1648" y="956"/>
                    </a:lnTo>
                    <a:lnTo>
                      <a:pt x="1633" y="946"/>
                    </a:lnTo>
                    <a:lnTo>
                      <a:pt x="1598" y="937"/>
                    </a:lnTo>
                    <a:lnTo>
                      <a:pt x="1570" y="941"/>
                    </a:lnTo>
                    <a:lnTo>
                      <a:pt x="1570" y="939"/>
                    </a:lnTo>
                    <a:lnTo>
                      <a:pt x="1567" y="937"/>
                    </a:lnTo>
                    <a:lnTo>
                      <a:pt x="1562" y="939"/>
                    </a:lnTo>
                    <a:lnTo>
                      <a:pt x="1558" y="941"/>
                    </a:lnTo>
                    <a:lnTo>
                      <a:pt x="1555" y="944"/>
                    </a:lnTo>
                    <a:lnTo>
                      <a:pt x="1551" y="944"/>
                    </a:lnTo>
                    <a:lnTo>
                      <a:pt x="1541" y="939"/>
                    </a:lnTo>
                    <a:lnTo>
                      <a:pt x="1525" y="927"/>
                    </a:lnTo>
                    <a:lnTo>
                      <a:pt x="1484" y="904"/>
                    </a:lnTo>
                    <a:lnTo>
                      <a:pt x="1475" y="894"/>
                    </a:lnTo>
                    <a:lnTo>
                      <a:pt x="1468" y="878"/>
                    </a:lnTo>
                    <a:lnTo>
                      <a:pt x="1473" y="866"/>
                    </a:lnTo>
                    <a:lnTo>
                      <a:pt x="1477" y="863"/>
                    </a:lnTo>
                    <a:lnTo>
                      <a:pt x="1482" y="849"/>
                    </a:lnTo>
                    <a:lnTo>
                      <a:pt x="1475" y="842"/>
                    </a:lnTo>
                    <a:lnTo>
                      <a:pt x="1463" y="816"/>
                    </a:lnTo>
                    <a:lnTo>
                      <a:pt x="1461" y="807"/>
                    </a:lnTo>
                    <a:lnTo>
                      <a:pt x="1463" y="807"/>
                    </a:lnTo>
                    <a:lnTo>
                      <a:pt x="1466" y="809"/>
                    </a:lnTo>
                    <a:lnTo>
                      <a:pt x="1470" y="811"/>
                    </a:lnTo>
                    <a:lnTo>
                      <a:pt x="1484" y="814"/>
                    </a:lnTo>
                    <a:lnTo>
                      <a:pt x="1494" y="802"/>
                    </a:lnTo>
                    <a:lnTo>
                      <a:pt x="1506" y="802"/>
                    </a:lnTo>
                    <a:lnTo>
                      <a:pt x="1515" y="807"/>
                    </a:lnTo>
                    <a:lnTo>
                      <a:pt x="1513" y="802"/>
                    </a:lnTo>
                    <a:lnTo>
                      <a:pt x="1513" y="797"/>
                    </a:lnTo>
                    <a:lnTo>
                      <a:pt x="1489" y="783"/>
                    </a:lnTo>
                    <a:lnTo>
                      <a:pt x="1484" y="785"/>
                    </a:lnTo>
                    <a:lnTo>
                      <a:pt x="1444" y="759"/>
                    </a:lnTo>
                    <a:lnTo>
                      <a:pt x="1416" y="726"/>
                    </a:lnTo>
                    <a:lnTo>
                      <a:pt x="1414" y="721"/>
                    </a:lnTo>
                    <a:lnTo>
                      <a:pt x="1414" y="712"/>
                    </a:lnTo>
                    <a:lnTo>
                      <a:pt x="1423" y="703"/>
                    </a:lnTo>
                    <a:lnTo>
                      <a:pt x="1428" y="700"/>
                    </a:lnTo>
                    <a:lnTo>
                      <a:pt x="1428" y="705"/>
                    </a:lnTo>
                    <a:lnTo>
                      <a:pt x="1425" y="712"/>
                    </a:lnTo>
                    <a:lnTo>
                      <a:pt x="1449" y="707"/>
                    </a:lnTo>
                    <a:lnTo>
                      <a:pt x="1466" y="695"/>
                    </a:lnTo>
                    <a:lnTo>
                      <a:pt x="1484" y="698"/>
                    </a:lnTo>
                    <a:lnTo>
                      <a:pt x="1492" y="695"/>
                    </a:lnTo>
                    <a:lnTo>
                      <a:pt x="1499" y="691"/>
                    </a:lnTo>
                    <a:lnTo>
                      <a:pt x="1513" y="679"/>
                    </a:lnTo>
                    <a:lnTo>
                      <a:pt x="1527" y="677"/>
                    </a:lnTo>
                    <a:lnTo>
                      <a:pt x="1536" y="672"/>
                    </a:lnTo>
                    <a:lnTo>
                      <a:pt x="1551" y="672"/>
                    </a:lnTo>
                    <a:lnTo>
                      <a:pt x="1558" y="681"/>
                    </a:lnTo>
                    <a:lnTo>
                      <a:pt x="1560" y="684"/>
                    </a:lnTo>
                    <a:lnTo>
                      <a:pt x="1577" y="688"/>
                    </a:lnTo>
                    <a:lnTo>
                      <a:pt x="1584" y="688"/>
                    </a:lnTo>
                    <a:lnTo>
                      <a:pt x="1586" y="686"/>
                    </a:lnTo>
                    <a:lnTo>
                      <a:pt x="1588" y="684"/>
                    </a:lnTo>
                    <a:lnTo>
                      <a:pt x="1574" y="667"/>
                    </a:lnTo>
                    <a:lnTo>
                      <a:pt x="1579" y="662"/>
                    </a:lnTo>
                    <a:lnTo>
                      <a:pt x="1581" y="658"/>
                    </a:lnTo>
                    <a:lnTo>
                      <a:pt x="1605" y="651"/>
                    </a:lnTo>
                    <a:lnTo>
                      <a:pt x="1622" y="651"/>
                    </a:lnTo>
                    <a:lnTo>
                      <a:pt x="1629" y="653"/>
                    </a:lnTo>
                    <a:lnTo>
                      <a:pt x="1657" y="641"/>
                    </a:lnTo>
                    <a:lnTo>
                      <a:pt x="1671" y="641"/>
                    </a:lnTo>
                    <a:lnTo>
                      <a:pt x="1697" y="643"/>
                    </a:lnTo>
                    <a:lnTo>
                      <a:pt x="1716" y="648"/>
                    </a:lnTo>
                    <a:lnTo>
                      <a:pt x="1721" y="658"/>
                    </a:lnTo>
                    <a:lnTo>
                      <a:pt x="1709" y="653"/>
                    </a:lnTo>
                    <a:lnTo>
                      <a:pt x="1704" y="653"/>
                    </a:lnTo>
                    <a:lnTo>
                      <a:pt x="1707" y="655"/>
                    </a:lnTo>
                    <a:lnTo>
                      <a:pt x="1709" y="660"/>
                    </a:lnTo>
                    <a:lnTo>
                      <a:pt x="1707" y="667"/>
                    </a:lnTo>
                    <a:lnTo>
                      <a:pt x="1697" y="681"/>
                    </a:lnTo>
                    <a:lnTo>
                      <a:pt x="1692" y="695"/>
                    </a:lnTo>
                    <a:lnTo>
                      <a:pt x="1688" y="698"/>
                    </a:lnTo>
                    <a:lnTo>
                      <a:pt x="1681" y="703"/>
                    </a:lnTo>
                    <a:lnTo>
                      <a:pt x="1697" y="729"/>
                    </a:lnTo>
                    <a:lnTo>
                      <a:pt x="1728" y="738"/>
                    </a:lnTo>
                    <a:lnTo>
                      <a:pt x="1747" y="738"/>
                    </a:lnTo>
                    <a:lnTo>
                      <a:pt x="1754" y="748"/>
                    </a:lnTo>
                    <a:lnTo>
                      <a:pt x="1761" y="752"/>
                    </a:lnTo>
                    <a:lnTo>
                      <a:pt x="1785" y="755"/>
                    </a:lnTo>
                    <a:lnTo>
                      <a:pt x="1801" y="762"/>
                    </a:lnTo>
                    <a:lnTo>
                      <a:pt x="1808" y="762"/>
                    </a:lnTo>
                    <a:lnTo>
                      <a:pt x="1832" y="738"/>
                    </a:lnTo>
                    <a:lnTo>
                      <a:pt x="1839" y="733"/>
                    </a:lnTo>
                    <a:lnTo>
                      <a:pt x="1844" y="740"/>
                    </a:lnTo>
                    <a:lnTo>
                      <a:pt x="1851" y="748"/>
                    </a:lnTo>
                    <a:lnTo>
                      <a:pt x="1858" y="745"/>
                    </a:lnTo>
                    <a:lnTo>
                      <a:pt x="1860" y="755"/>
                    </a:lnTo>
                    <a:lnTo>
                      <a:pt x="1863" y="738"/>
                    </a:lnTo>
                    <a:lnTo>
                      <a:pt x="1860" y="731"/>
                    </a:lnTo>
                    <a:lnTo>
                      <a:pt x="1839" y="714"/>
                    </a:lnTo>
                    <a:lnTo>
                      <a:pt x="1820" y="714"/>
                    </a:lnTo>
                    <a:lnTo>
                      <a:pt x="1815" y="707"/>
                    </a:lnTo>
                    <a:lnTo>
                      <a:pt x="1820" y="695"/>
                    </a:lnTo>
                    <a:lnTo>
                      <a:pt x="1811" y="662"/>
                    </a:lnTo>
                    <a:lnTo>
                      <a:pt x="1804" y="653"/>
                    </a:lnTo>
                    <a:lnTo>
                      <a:pt x="1796" y="651"/>
                    </a:lnTo>
                    <a:lnTo>
                      <a:pt x="1794" y="639"/>
                    </a:lnTo>
                    <a:lnTo>
                      <a:pt x="1794" y="625"/>
                    </a:lnTo>
                    <a:lnTo>
                      <a:pt x="1804" y="622"/>
                    </a:lnTo>
                    <a:lnTo>
                      <a:pt x="1811" y="622"/>
                    </a:lnTo>
                    <a:lnTo>
                      <a:pt x="1815" y="627"/>
                    </a:lnTo>
                    <a:lnTo>
                      <a:pt x="1818" y="646"/>
                    </a:lnTo>
                    <a:lnTo>
                      <a:pt x="1825" y="651"/>
                    </a:lnTo>
                    <a:lnTo>
                      <a:pt x="1818" y="667"/>
                    </a:lnTo>
                    <a:lnTo>
                      <a:pt x="1822" y="686"/>
                    </a:lnTo>
                    <a:lnTo>
                      <a:pt x="1837" y="705"/>
                    </a:lnTo>
                    <a:lnTo>
                      <a:pt x="1853" y="705"/>
                    </a:lnTo>
                    <a:lnTo>
                      <a:pt x="1865" y="707"/>
                    </a:lnTo>
                    <a:lnTo>
                      <a:pt x="1870" y="712"/>
                    </a:lnTo>
                    <a:lnTo>
                      <a:pt x="1882" y="729"/>
                    </a:lnTo>
                    <a:lnTo>
                      <a:pt x="1891" y="733"/>
                    </a:lnTo>
                    <a:lnTo>
                      <a:pt x="1917" y="731"/>
                    </a:lnTo>
                    <a:lnTo>
                      <a:pt x="1919" y="719"/>
                    </a:lnTo>
                    <a:lnTo>
                      <a:pt x="1919" y="707"/>
                    </a:lnTo>
                    <a:lnTo>
                      <a:pt x="1917" y="700"/>
                    </a:lnTo>
                    <a:lnTo>
                      <a:pt x="1898" y="698"/>
                    </a:lnTo>
                    <a:lnTo>
                      <a:pt x="1889" y="684"/>
                    </a:lnTo>
                    <a:lnTo>
                      <a:pt x="1877" y="684"/>
                    </a:lnTo>
                    <a:lnTo>
                      <a:pt x="1853" y="695"/>
                    </a:lnTo>
                    <a:lnTo>
                      <a:pt x="1844" y="686"/>
                    </a:lnTo>
                    <a:lnTo>
                      <a:pt x="1839" y="677"/>
                    </a:lnTo>
                    <a:lnTo>
                      <a:pt x="1830" y="665"/>
                    </a:lnTo>
                    <a:lnTo>
                      <a:pt x="1832" y="651"/>
                    </a:lnTo>
                    <a:lnTo>
                      <a:pt x="1846" y="634"/>
                    </a:lnTo>
                    <a:lnTo>
                      <a:pt x="1856" y="627"/>
                    </a:lnTo>
                    <a:lnTo>
                      <a:pt x="1851" y="620"/>
                    </a:lnTo>
                    <a:lnTo>
                      <a:pt x="1837" y="613"/>
                    </a:lnTo>
                    <a:lnTo>
                      <a:pt x="1811" y="610"/>
                    </a:lnTo>
                    <a:lnTo>
                      <a:pt x="1811" y="603"/>
                    </a:lnTo>
                    <a:lnTo>
                      <a:pt x="1813" y="596"/>
                    </a:lnTo>
                    <a:lnTo>
                      <a:pt x="1799" y="608"/>
                    </a:lnTo>
                    <a:lnTo>
                      <a:pt x="1789" y="601"/>
                    </a:lnTo>
                    <a:lnTo>
                      <a:pt x="1775" y="599"/>
                    </a:lnTo>
                    <a:lnTo>
                      <a:pt x="1747" y="580"/>
                    </a:lnTo>
                    <a:lnTo>
                      <a:pt x="1740" y="563"/>
                    </a:lnTo>
                    <a:lnTo>
                      <a:pt x="1740" y="549"/>
                    </a:lnTo>
                    <a:lnTo>
                      <a:pt x="1740" y="516"/>
                    </a:lnTo>
                    <a:lnTo>
                      <a:pt x="1735" y="495"/>
                    </a:lnTo>
                    <a:lnTo>
                      <a:pt x="1683" y="407"/>
                    </a:lnTo>
                    <a:lnTo>
                      <a:pt x="1655" y="381"/>
                    </a:lnTo>
                    <a:lnTo>
                      <a:pt x="1645" y="357"/>
                    </a:lnTo>
                    <a:lnTo>
                      <a:pt x="1636" y="350"/>
                    </a:lnTo>
                    <a:lnTo>
                      <a:pt x="1629" y="346"/>
                    </a:lnTo>
                    <a:lnTo>
                      <a:pt x="1619" y="336"/>
                    </a:lnTo>
                    <a:lnTo>
                      <a:pt x="1629" y="331"/>
                    </a:lnTo>
                    <a:lnTo>
                      <a:pt x="1633" y="331"/>
                    </a:lnTo>
                    <a:lnTo>
                      <a:pt x="1626" y="336"/>
                    </a:lnTo>
                    <a:lnTo>
                      <a:pt x="1631" y="341"/>
                    </a:lnTo>
                    <a:lnTo>
                      <a:pt x="1638" y="338"/>
                    </a:lnTo>
                    <a:lnTo>
                      <a:pt x="1643" y="334"/>
                    </a:lnTo>
                    <a:lnTo>
                      <a:pt x="1657" y="312"/>
                    </a:lnTo>
                    <a:lnTo>
                      <a:pt x="1671" y="279"/>
                    </a:lnTo>
                    <a:lnTo>
                      <a:pt x="1674" y="268"/>
                    </a:lnTo>
                    <a:lnTo>
                      <a:pt x="1711" y="282"/>
                    </a:lnTo>
                    <a:lnTo>
                      <a:pt x="1737" y="286"/>
                    </a:lnTo>
                    <a:lnTo>
                      <a:pt x="1747" y="286"/>
                    </a:lnTo>
                    <a:lnTo>
                      <a:pt x="1782" y="289"/>
                    </a:lnTo>
                    <a:lnTo>
                      <a:pt x="1792" y="289"/>
                    </a:lnTo>
                    <a:lnTo>
                      <a:pt x="1811" y="282"/>
                    </a:lnTo>
                    <a:lnTo>
                      <a:pt x="1834" y="265"/>
                    </a:lnTo>
                    <a:lnTo>
                      <a:pt x="1858" y="242"/>
                    </a:lnTo>
                    <a:lnTo>
                      <a:pt x="1860" y="237"/>
                    </a:lnTo>
                    <a:lnTo>
                      <a:pt x="1863" y="239"/>
                    </a:lnTo>
                    <a:lnTo>
                      <a:pt x="1863" y="237"/>
                    </a:lnTo>
                    <a:lnTo>
                      <a:pt x="1867" y="227"/>
                    </a:lnTo>
                    <a:lnTo>
                      <a:pt x="1877" y="204"/>
                    </a:lnTo>
                    <a:lnTo>
                      <a:pt x="1891" y="182"/>
                    </a:lnTo>
                    <a:lnTo>
                      <a:pt x="1936" y="140"/>
                    </a:lnTo>
                    <a:lnTo>
                      <a:pt x="1957" y="121"/>
                    </a:lnTo>
                    <a:lnTo>
                      <a:pt x="1964" y="114"/>
                    </a:lnTo>
                    <a:lnTo>
                      <a:pt x="1971" y="109"/>
                    </a:lnTo>
                    <a:lnTo>
                      <a:pt x="1974" y="116"/>
                    </a:lnTo>
                    <a:lnTo>
                      <a:pt x="1974" y="119"/>
                    </a:lnTo>
                    <a:lnTo>
                      <a:pt x="1974" y="121"/>
                    </a:lnTo>
                    <a:lnTo>
                      <a:pt x="1971" y="121"/>
                    </a:lnTo>
                    <a:lnTo>
                      <a:pt x="1964" y="128"/>
                    </a:lnTo>
                    <a:lnTo>
                      <a:pt x="1957" y="130"/>
                    </a:lnTo>
                    <a:lnTo>
                      <a:pt x="1955" y="133"/>
                    </a:lnTo>
                    <a:lnTo>
                      <a:pt x="1957" y="133"/>
                    </a:lnTo>
                    <a:lnTo>
                      <a:pt x="1971" y="130"/>
                    </a:lnTo>
                    <a:lnTo>
                      <a:pt x="1981" y="126"/>
                    </a:lnTo>
                    <a:lnTo>
                      <a:pt x="2016" y="123"/>
                    </a:lnTo>
                    <a:lnTo>
                      <a:pt x="2040" y="111"/>
                    </a:lnTo>
                    <a:lnTo>
                      <a:pt x="2042" y="107"/>
                    </a:lnTo>
                    <a:lnTo>
                      <a:pt x="2075" y="90"/>
                    </a:lnTo>
                    <a:lnTo>
                      <a:pt x="2078" y="93"/>
                    </a:lnTo>
                    <a:lnTo>
                      <a:pt x="2082" y="95"/>
                    </a:lnTo>
                    <a:lnTo>
                      <a:pt x="2071" y="109"/>
                    </a:lnTo>
                    <a:lnTo>
                      <a:pt x="2075" y="114"/>
                    </a:lnTo>
                    <a:lnTo>
                      <a:pt x="2066" y="130"/>
                    </a:lnTo>
                    <a:lnTo>
                      <a:pt x="2075" y="133"/>
                    </a:lnTo>
                    <a:lnTo>
                      <a:pt x="2078" y="142"/>
                    </a:lnTo>
                    <a:lnTo>
                      <a:pt x="2078" y="135"/>
                    </a:lnTo>
                    <a:lnTo>
                      <a:pt x="2080" y="126"/>
                    </a:lnTo>
                    <a:lnTo>
                      <a:pt x="2085" y="116"/>
                    </a:lnTo>
                    <a:lnTo>
                      <a:pt x="2087" y="109"/>
                    </a:lnTo>
                    <a:lnTo>
                      <a:pt x="2094" y="114"/>
                    </a:lnTo>
                    <a:lnTo>
                      <a:pt x="2111" y="109"/>
                    </a:lnTo>
                    <a:lnTo>
                      <a:pt x="2092" y="104"/>
                    </a:lnTo>
                    <a:lnTo>
                      <a:pt x="2085" y="85"/>
                    </a:lnTo>
                    <a:lnTo>
                      <a:pt x="2078" y="83"/>
                    </a:lnTo>
                    <a:lnTo>
                      <a:pt x="2106" y="64"/>
                    </a:lnTo>
                    <a:lnTo>
                      <a:pt x="2127" y="55"/>
                    </a:lnTo>
                    <a:lnTo>
                      <a:pt x="2132" y="55"/>
                    </a:lnTo>
                    <a:lnTo>
                      <a:pt x="2134" y="59"/>
                    </a:lnTo>
                    <a:lnTo>
                      <a:pt x="2132" y="62"/>
                    </a:lnTo>
                    <a:lnTo>
                      <a:pt x="2127" y="64"/>
                    </a:lnTo>
                    <a:lnTo>
                      <a:pt x="2123" y="69"/>
                    </a:lnTo>
                    <a:lnTo>
                      <a:pt x="2123" y="74"/>
                    </a:lnTo>
                    <a:lnTo>
                      <a:pt x="2125" y="76"/>
                    </a:lnTo>
                    <a:lnTo>
                      <a:pt x="2137" y="74"/>
                    </a:lnTo>
                    <a:lnTo>
                      <a:pt x="2142" y="69"/>
                    </a:lnTo>
                    <a:lnTo>
                      <a:pt x="2160" y="74"/>
                    </a:lnTo>
                    <a:lnTo>
                      <a:pt x="2168" y="74"/>
                    </a:lnTo>
                    <a:lnTo>
                      <a:pt x="2170" y="69"/>
                    </a:lnTo>
                    <a:lnTo>
                      <a:pt x="2196" y="74"/>
                    </a:lnTo>
                    <a:lnTo>
                      <a:pt x="2201" y="74"/>
                    </a:lnTo>
                    <a:lnTo>
                      <a:pt x="2220" y="64"/>
                    </a:lnTo>
                    <a:lnTo>
                      <a:pt x="2238" y="50"/>
                    </a:lnTo>
                    <a:lnTo>
                      <a:pt x="2246" y="43"/>
                    </a:lnTo>
                    <a:lnTo>
                      <a:pt x="2262" y="24"/>
                    </a:lnTo>
                    <a:lnTo>
                      <a:pt x="2274" y="10"/>
                    </a:lnTo>
                    <a:lnTo>
                      <a:pt x="2293" y="0"/>
                    </a:lnTo>
                    <a:lnTo>
                      <a:pt x="2298" y="3"/>
                    </a:lnTo>
                    <a:lnTo>
                      <a:pt x="2290" y="5"/>
                    </a:lnTo>
                    <a:lnTo>
                      <a:pt x="2286" y="10"/>
                    </a:lnTo>
                    <a:lnTo>
                      <a:pt x="2290" y="19"/>
                    </a:lnTo>
                    <a:lnTo>
                      <a:pt x="2321" y="41"/>
                    </a:lnTo>
                    <a:lnTo>
                      <a:pt x="2331" y="45"/>
                    </a:lnTo>
                    <a:lnTo>
                      <a:pt x="2331" y="55"/>
                    </a:lnTo>
                    <a:lnTo>
                      <a:pt x="2326" y="64"/>
                    </a:lnTo>
                    <a:lnTo>
                      <a:pt x="2316" y="74"/>
                    </a:lnTo>
                    <a:lnTo>
                      <a:pt x="2295" y="81"/>
                    </a:lnTo>
                    <a:lnTo>
                      <a:pt x="2300" y="85"/>
                    </a:lnTo>
                    <a:lnTo>
                      <a:pt x="2302" y="97"/>
                    </a:lnTo>
                    <a:lnTo>
                      <a:pt x="2307" y="97"/>
                    </a:lnTo>
                    <a:lnTo>
                      <a:pt x="2316" y="97"/>
                    </a:lnTo>
                    <a:lnTo>
                      <a:pt x="2326" y="93"/>
                    </a:lnTo>
                    <a:lnTo>
                      <a:pt x="2342" y="74"/>
                    </a:lnTo>
                    <a:lnTo>
                      <a:pt x="2350" y="64"/>
                    </a:lnTo>
                    <a:lnTo>
                      <a:pt x="2352" y="62"/>
                    </a:lnTo>
                    <a:lnTo>
                      <a:pt x="2364" y="67"/>
                    </a:lnTo>
                    <a:lnTo>
                      <a:pt x="2368" y="74"/>
                    </a:lnTo>
                    <a:lnTo>
                      <a:pt x="2376" y="85"/>
                    </a:lnTo>
                    <a:lnTo>
                      <a:pt x="2371" y="95"/>
                    </a:lnTo>
                    <a:lnTo>
                      <a:pt x="2366" y="100"/>
                    </a:lnTo>
                    <a:lnTo>
                      <a:pt x="2376" y="109"/>
                    </a:lnTo>
                    <a:lnTo>
                      <a:pt x="2385" y="111"/>
                    </a:lnTo>
                    <a:lnTo>
                      <a:pt x="2394" y="119"/>
                    </a:lnTo>
                    <a:lnTo>
                      <a:pt x="2413" y="109"/>
                    </a:lnTo>
                    <a:lnTo>
                      <a:pt x="2425" y="109"/>
                    </a:lnTo>
                    <a:lnTo>
                      <a:pt x="2435" y="111"/>
                    </a:lnTo>
                    <a:lnTo>
                      <a:pt x="2451" y="107"/>
                    </a:lnTo>
                    <a:lnTo>
                      <a:pt x="2472" y="119"/>
                    </a:lnTo>
                    <a:lnTo>
                      <a:pt x="2480" y="119"/>
                    </a:lnTo>
                    <a:lnTo>
                      <a:pt x="2489" y="121"/>
                    </a:lnTo>
                    <a:lnTo>
                      <a:pt x="2498" y="128"/>
                    </a:lnTo>
                    <a:lnTo>
                      <a:pt x="2501" y="135"/>
                    </a:lnTo>
                    <a:lnTo>
                      <a:pt x="2487" y="145"/>
                    </a:lnTo>
                    <a:lnTo>
                      <a:pt x="2484" y="159"/>
                    </a:lnTo>
                    <a:lnTo>
                      <a:pt x="2487" y="163"/>
                    </a:lnTo>
                    <a:lnTo>
                      <a:pt x="2494" y="166"/>
                    </a:lnTo>
                    <a:lnTo>
                      <a:pt x="2494" y="173"/>
                    </a:lnTo>
                    <a:lnTo>
                      <a:pt x="2498" y="175"/>
                    </a:lnTo>
                    <a:lnTo>
                      <a:pt x="2520" y="178"/>
                    </a:lnTo>
                    <a:lnTo>
                      <a:pt x="2517" y="182"/>
                    </a:lnTo>
                    <a:lnTo>
                      <a:pt x="2515" y="185"/>
                    </a:lnTo>
                    <a:lnTo>
                      <a:pt x="2508" y="194"/>
                    </a:lnTo>
                    <a:lnTo>
                      <a:pt x="2546" y="206"/>
                    </a:lnTo>
                    <a:lnTo>
                      <a:pt x="2553" y="201"/>
                    </a:lnTo>
                    <a:lnTo>
                      <a:pt x="2560" y="199"/>
                    </a:lnTo>
                    <a:lnTo>
                      <a:pt x="2579" y="194"/>
                    </a:lnTo>
                    <a:lnTo>
                      <a:pt x="2584" y="199"/>
                    </a:lnTo>
                    <a:lnTo>
                      <a:pt x="2591" y="206"/>
                    </a:lnTo>
                    <a:lnTo>
                      <a:pt x="2598" y="208"/>
                    </a:lnTo>
                    <a:lnTo>
                      <a:pt x="2605" y="208"/>
                    </a:lnTo>
                    <a:lnTo>
                      <a:pt x="2621" y="199"/>
                    </a:lnTo>
                    <a:lnTo>
                      <a:pt x="2638" y="201"/>
                    </a:lnTo>
                    <a:lnTo>
                      <a:pt x="2645" y="206"/>
                    </a:lnTo>
                    <a:lnTo>
                      <a:pt x="2652" y="204"/>
                    </a:lnTo>
                    <a:lnTo>
                      <a:pt x="2676" y="220"/>
                    </a:lnTo>
                    <a:lnTo>
                      <a:pt x="2683" y="223"/>
                    </a:lnTo>
                    <a:lnTo>
                      <a:pt x="2692" y="239"/>
                    </a:lnTo>
                    <a:lnTo>
                      <a:pt x="2699" y="239"/>
                    </a:lnTo>
                    <a:lnTo>
                      <a:pt x="2707" y="234"/>
                    </a:lnTo>
                    <a:lnTo>
                      <a:pt x="2711" y="234"/>
                    </a:lnTo>
                    <a:lnTo>
                      <a:pt x="2716" y="242"/>
                    </a:lnTo>
                    <a:lnTo>
                      <a:pt x="2725" y="244"/>
                    </a:lnTo>
                    <a:lnTo>
                      <a:pt x="2730" y="256"/>
                    </a:lnTo>
                    <a:lnTo>
                      <a:pt x="2735" y="260"/>
                    </a:lnTo>
                    <a:lnTo>
                      <a:pt x="2768" y="270"/>
                    </a:lnTo>
                    <a:lnTo>
                      <a:pt x="2787" y="268"/>
                    </a:lnTo>
                    <a:lnTo>
                      <a:pt x="2811" y="272"/>
                    </a:lnTo>
                    <a:lnTo>
                      <a:pt x="2822" y="277"/>
                    </a:lnTo>
                    <a:lnTo>
                      <a:pt x="2837" y="277"/>
                    </a:lnTo>
                    <a:lnTo>
                      <a:pt x="2855" y="296"/>
                    </a:lnTo>
                    <a:lnTo>
                      <a:pt x="2867" y="301"/>
                    </a:lnTo>
                    <a:lnTo>
                      <a:pt x="2870" y="305"/>
                    </a:lnTo>
                    <a:lnTo>
                      <a:pt x="2900" y="310"/>
                    </a:lnTo>
                    <a:lnTo>
                      <a:pt x="2912" y="303"/>
                    </a:lnTo>
                    <a:lnTo>
                      <a:pt x="2931" y="301"/>
                    </a:lnTo>
                    <a:lnTo>
                      <a:pt x="2950" y="294"/>
                    </a:lnTo>
                    <a:lnTo>
                      <a:pt x="2959" y="294"/>
                    </a:lnTo>
                    <a:lnTo>
                      <a:pt x="2971" y="296"/>
                    </a:lnTo>
                    <a:lnTo>
                      <a:pt x="2976" y="296"/>
                    </a:lnTo>
                    <a:lnTo>
                      <a:pt x="2978" y="294"/>
                    </a:lnTo>
                    <a:lnTo>
                      <a:pt x="3007" y="308"/>
                    </a:lnTo>
                    <a:lnTo>
                      <a:pt x="3021" y="324"/>
                    </a:lnTo>
                    <a:lnTo>
                      <a:pt x="3028" y="336"/>
                    </a:lnTo>
                    <a:lnTo>
                      <a:pt x="3061" y="353"/>
                    </a:lnTo>
                    <a:lnTo>
                      <a:pt x="3071" y="362"/>
                    </a:lnTo>
                    <a:lnTo>
                      <a:pt x="3078" y="372"/>
                    </a:lnTo>
                    <a:lnTo>
                      <a:pt x="3080" y="372"/>
                    </a:lnTo>
                    <a:lnTo>
                      <a:pt x="3085" y="369"/>
                    </a:lnTo>
                    <a:lnTo>
                      <a:pt x="3097" y="372"/>
                    </a:lnTo>
                    <a:lnTo>
                      <a:pt x="3101" y="372"/>
                    </a:lnTo>
                    <a:close/>
                    <a:moveTo>
                      <a:pt x="1558" y="665"/>
                    </a:moveTo>
                    <a:lnTo>
                      <a:pt x="1555" y="665"/>
                    </a:lnTo>
                    <a:lnTo>
                      <a:pt x="1558" y="662"/>
                    </a:lnTo>
                    <a:lnTo>
                      <a:pt x="1565" y="660"/>
                    </a:lnTo>
                    <a:lnTo>
                      <a:pt x="1581" y="655"/>
                    </a:lnTo>
                    <a:lnTo>
                      <a:pt x="1579" y="658"/>
                    </a:lnTo>
                    <a:lnTo>
                      <a:pt x="1572" y="662"/>
                    </a:lnTo>
                    <a:lnTo>
                      <a:pt x="1558" y="665"/>
                    </a:lnTo>
                    <a:close/>
                    <a:moveTo>
                      <a:pt x="1109" y="927"/>
                    </a:moveTo>
                    <a:lnTo>
                      <a:pt x="1109" y="930"/>
                    </a:lnTo>
                    <a:lnTo>
                      <a:pt x="1116" y="932"/>
                    </a:lnTo>
                    <a:lnTo>
                      <a:pt x="1123" y="937"/>
                    </a:lnTo>
                    <a:lnTo>
                      <a:pt x="1132" y="944"/>
                    </a:lnTo>
                    <a:lnTo>
                      <a:pt x="1144" y="946"/>
                    </a:lnTo>
                    <a:lnTo>
                      <a:pt x="1158" y="941"/>
                    </a:lnTo>
                    <a:lnTo>
                      <a:pt x="1168" y="941"/>
                    </a:lnTo>
                    <a:lnTo>
                      <a:pt x="1175" y="941"/>
                    </a:lnTo>
                    <a:lnTo>
                      <a:pt x="1184" y="946"/>
                    </a:lnTo>
                    <a:lnTo>
                      <a:pt x="1189" y="956"/>
                    </a:lnTo>
                    <a:lnTo>
                      <a:pt x="1191" y="960"/>
                    </a:lnTo>
                    <a:lnTo>
                      <a:pt x="1191" y="967"/>
                    </a:lnTo>
                    <a:lnTo>
                      <a:pt x="1191" y="974"/>
                    </a:lnTo>
                    <a:lnTo>
                      <a:pt x="1191" y="979"/>
                    </a:lnTo>
                    <a:lnTo>
                      <a:pt x="1203" y="991"/>
                    </a:lnTo>
                    <a:lnTo>
                      <a:pt x="1213" y="998"/>
                    </a:lnTo>
                    <a:lnTo>
                      <a:pt x="1215" y="1001"/>
                    </a:lnTo>
                    <a:lnTo>
                      <a:pt x="1215" y="1008"/>
                    </a:lnTo>
                    <a:lnTo>
                      <a:pt x="1222" y="1012"/>
                    </a:lnTo>
                    <a:lnTo>
                      <a:pt x="1229" y="1015"/>
                    </a:lnTo>
                    <a:lnTo>
                      <a:pt x="1234" y="1017"/>
                    </a:lnTo>
                    <a:lnTo>
                      <a:pt x="1248" y="1022"/>
                    </a:lnTo>
                    <a:lnTo>
                      <a:pt x="1265" y="1034"/>
                    </a:lnTo>
                    <a:lnTo>
                      <a:pt x="1258" y="1045"/>
                    </a:lnTo>
                    <a:lnTo>
                      <a:pt x="1250" y="1050"/>
                    </a:lnTo>
                    <a:lnTo>
                      <a:pt x="1234" y="1043"/>
                    </a:lnTo>
                    <a:lnTo>
                      <a:pt x="1217" y="1038"/>
                    </a:lnTo>
                    <a:lnTo>
                      <a:pt x="1208" y="1043"/>
                    </a:lnTo>
                    <a:lnTo>
                      <a:pt x="1198" y="1050"/>
                    </a:lnTo>
                    <a:lnTo>
                      <a:pt x="1196" y="1060"/>
                    </a:lnTo>
                    <a:lnTo>
                      <a:pt x="1191" y="1062"/>
                    </a:lnTo>
                    <a:lnTo>
                      <a:pt x="1187" y="1062"/>
                    </a:lnTo>
                    <a:lnTo>
                      <a:pt x="1187" y="1057"/>
                    </a:lnTo>
                    <a:lnTo>
                      <a:pt x="1187" y="1041"/>
                    </a:lnTo>
                    <a:lnTo>
                      <a:pt x="1187" y="1036"/>
                    </a:lnTo>
                    <a:lnTo>
                      <a:pt x="1184" y="1034"/>
                    </a:lnTo>
                    <a:lnTo>
                      <a:pt x="1177" y="1027"/>
                    </a:lnTo>
                    <a:lnTo>
                      <a:pt x="1170" y="1019"/>
                    </a:lnTo>
                    <a:lnTo>
                      <a:pt x="1165" y="1017"/>
                    </a:lnTo>
                    <a:lnTo>
                      <a:pt x="1165" y="1012"/>
                    </a:lnTo>
                    <a:lnTo>
                      <a:pt x="1165" y="1003"/>
                    </a:lnTo>
                    <a:lnTo>
                      <a:pt x="1163" y="998"/>
                    </a:lnTo>
                    <a:lnTo>
                      <a:pt x="1158" y="991"/>
                    </a:lnTo>
                    <a:lnTo>
                      <a:pt x="1153" y="984"/>
                    </a:lnTo>
                    <a:lnTo>
                      <a:pt x="1137" y="967"/>
                    </a:lnTo>
                    <a:lnTo>
                      <a:pt x="1130" y="965"/>
                    </a:lnTo>
                    <a:lnTo>
                      <a:pt x="1123" y="963"/>
                    </a:lnTo>
                    <a:lnTo>
                      <a:pt x="1116" y="965"/>
                    </a:lnTo>
                    <a:lnTo>
                      <a:pt x="1106" y="967"/>
                    </a:lnTo>
                    <a:lnTo>
                      <a:pt x="1097" y="970"/>
                    </a:lnTo>
                    <a:lnTo>
                      <a:pt x="1090" y="967"/>
                    </a:lnTo>
                    <a:lnTo>
                      <a:pt x="1083" y="963"/>
                    </a:lnTo>
                    <a:lnTo>
                      <a:pt x="1078" y="956"/>
                    </a:lnTo>
                    <a:lnTo>
                      <a:pt x="1078" y="948"/>
                    </a:lnTo>
                    <a:lnTo>
                      <a:pt x="1078" y="941"/>
                    </a:lnTo>
                    <a:lnTo>
                      <a:pt x="1080" y="934"/>
                    </a:lnTo>
                    <a:lnTo>
                      <a:pt x="1085" y="927"/>
                    </a:lnTo>
                    <a:lnTo>
                      <a:pt x="1094" y="911"/>
                    </a:lnTo>
                    <a:lnTo>
                      <a:pt x="1101" y="911"/>
                    </a:lnTo>
                    <a:lnTo>
                      <a:pt x="1109" y="927"/>
                    </a:lnTo>
                    <a:close/>
                    <a:moveTo>
                      <a:pt x="2584" y="1686"/>
                    </a:moveTo>
                    <a:lnTo>
                      <a:pt x="2574" y="1686"/>
                    </a:lnTo>
                    <a:lnTo>
                      <a:pt x="2572" y="1684"/>
                    </a:lnTo>
                    <a:lnTo>
                      <a:pt x="2572" y="1681"/>
                    </a:lnTo>
                    <a:lnTo>
                      <a:pt x="2574" y="1674"/>
                    </a:lnTo>
                    <a:lnTo>
                      <a:pt x="2574" y="1672"/>
                    </a:lnTo>
                    <a:lnTo>
                      <a:pt x="2579" y="1672"/>
                    </a:lnTo>
                    <a:lnTo>
                      <a:pt x="2584" y="1674"/>
                    </a:lnTo>
                    <a:lnTo>
                      <a:pt x="2584" y="1679"/>
                    </a:lnTo>
                    <a:lnTo>
                      <a:pt x="2584" y="1686"/>
                    </a:lnTo>
                    <a:close/>
                    <a:moveTo>
                      <a:pt x="860" y="1332"/>
                    </a:moveTo>
                    <a:lnTo>
                      <a:pt x="872" y="1346"/>
                    </a:lnTo>
                    <a:lnTo>
                      <a:pt x="882" y="1348"/>
                    </a:lnTo>
                    <a:lnTo>
                      <a:pt x="886" y="1360"/>
                    </a:lnTo>
                    <a:lnTo>
                      <a:pt x="886" y="1367"/>
                    </a:lnTo>
                    <a:lnTo>
                      <a:pt x="877" y="1358"/>
                    </a:lnTo>
                    <a:lnTo>
                      <a:pt x="860" y="1353"/>
                    </a:lnTo>
                    <a:lnTo>
                      <a:pt x="846" y="1324"/>
                    </a:lnTo>
                    <a:lnTo>
                      <a:pt x="841" y="1317"/>
                    </a:lnTo>
                    <a:lnTo>
                      <a:pt x="846" y="1308"/>
                    </a:lnTo>
                    <a:lnTo>
                      <a:pt x="856" y="1308"/>
                    </a:lnTo>
                    <a:lnTo>
                      <a:pt x="856" y="1322"/>
                    </a:lnTo>
                    <a:lnTo>
                      <a:pt x="860" y="1332"/>
                    </a:lnTo>
                    <a:close/>
                    <a:moveTo>
                      <a:pt x="2288" y="1719"/>
                    </a:moveTo>
                    <a:lnTo>
                      <a:pt x="2283" y="1719"/>
                    </a:lnTo>
                    <a:lnTo>
                      <a:pt x="2288" y="1712"/>
                    </a:lnTo>
                    <a:lnTo>
                      <a:pt x="2295" y="1698"/>
                    </a:lnTo>
                    <a:lnTo>
                      <a:pt x="2298" y="1700"/>
                    </a:lnTo>
                    <a:lnTo>
                      <a:pt x="2298" y="1703"/>
                    </a:lnTo>
                    <a:lnTo>
                      <a:pt x="2290" y="1717"/>
                    </a:lnTo>
                    <a:lnTo>
                      <a:pt x="2288" y="1719"/>
                    </a:lnTo>
                    <a:close/>
                    <a:moveTo>
                      <a:pt x="2598" y="1743"/>
                    </a:moveTo>
                    <a:lnTo>
                      <a:pt x="2598" y="1745"/>
                    </a:lnTo>
                    <a:lnTo>
                      <a:pt x="2595" y="1750"/>
                    </a:lnTo>
                    <a:lnTo>
                      <a:pt x="2598" y="1757"/>
                    </a:lnTo>
                    <a:lnTo>
                      <a:pt x="2593" y="1767"/>
                    </a:lnTo>
                    <a:lnTo>
                      <a:pt x="2591" y="1774"/>
                    </a:lnTo>
                    <a:lnTo>
                      <a:pt x="2588" y="1778"/>
                    </a:lnTo>
                    <a:lnTo>
                      <a:pt x="2586" y="1781"/>
                    </a:lnTo>
                    <a:lnTo>
                      <a:pt x="2584" y="1778"/>
                    </a:lnTo>
                    <a:lnTo>
                      <a:pt x="2584" y="1776"/>
                    </a:lnTo>
                    <a:lnTo>
                      <a:pt x="2584" y="1774"/>
                    </a:lnTo>
                    <a:lnTo>
                      <a:pt x="2579" y="1774"/>
                    </a:lnTo>
                    <a:lnTo>
                      <a:pt x="2579" y="1762"/>
                    </a:lnTo>
                    <a:lnTo>
                      <a:pt x="2584" y="1760"/>
                    </a:lnTo>
                    <a:lnTo>
                      <a:pt x="2584" y="1755"/>
                    </a:lnTo>
                    <a:lnTo>
                      <a:pt x="2584" y="1752"/>
                    </a:lnTo>
                    <a:lnTo>
                      <a:pt x="2588" y="1741"/>
                    </a:lnTo>
                    <a:lnTo>
                      <a:pt x="2591" y="1738"/>
                    </a:lnTo>
                    <a:lnTo>
                      <a:pt x="2591" y="1743"/>
                    </a:lnTo>
                    <a:lnTo>
                      <a:pt x="2591" y="1743"/>
                    </a:lnTo>
                    <a:lnTo>
                      <a:pt x="2593" y="1743"/>
                    </a:lnTo>
                    <a:lnTo>
                      <a:pt x="2595" y="1736"/>
                    </a:lnTo>
                    <a:lnTo>
                      <a:pt x="2598" y="1736"/>
                    </a:lnTo>
                    <a:lnTo>
                      <a:pt x="2598" y="1743"/>
                    </a:lnTo>
                    <a:close/>
                    <a:moveTo>
                      <a:pt x="2688" y="1750"/>
                    </a:moveTo>
                    <a:lnTo>
                      <a:pt x="2690" y="1755"/>
                    </a:lnTo>
                    <a:lnTo>
                      <a:pt x="2704" y="1755"/>
                    </a:lnTo>
                    <a:lnTo>
                      <a:pt x="2707" y="1755"/>
                    </a:lnTo>
                    <a:lnTo>
                      <a:pt x="2709" y="1757"/>
                    </a:lnTo>
                    <a:lnTo>
                      <a:pt x="2707" y="1760"/>
                    </a:lnTo>
                    <a:lnTo>
                      <a:pt x="2702" y="1762"/>
                    </a:lnTo>
                    <a:lnTo>
                      <a:pt x="2685" y="1769"/>
                    </a:lnTo>
                    <a:lnTo>
                      <a:pt x="2671" y="1776"/>
                    </a:lnTo>
                    <a:lnTo>
                      <a:pt x="2671" y="1774"/>
                    </a:lnTo>
                    <a:lnTo>
                      <a:pt x="2669" y="1764"/>
                    </a:lnTo>
                    <a:lnTo>
                      <a:pt x="2666" y="1762"/>
                    </a:lnTo>
                    <a:lnTo>
                      <a:pt x="2666" y="1757"/>
                    </a:lnTo>
                    <a:lnTo>
                      <a:pt x="2666" y="1755"/>
                    </a:lnTo>
                    <a:lnTo>
                      <a:pt x="2669" y="1750"/>
                    </a:lnTo>
                    <a:lnTo>
                      <a:pt x="2673" y="1745"/>
                    </a:lnTo>
                    <a:lnTo>
                      <a:pt x="2676" y="1745"/>
                    </a:lnTo>
                    <a:lnTo>
                      <a:pt x="2688" y="1750"/>
                    </a:lnTo>
                    <a:close/>
                    <a:moveTo>
                      <a:pt x="2777" y="1774"/>
                    </a:moveTo>
                    <a:lnTo>
                      <a:pt x="2775" y="1776"/>
                    </a:lnTo>
                    <a:lnTo>
                      <a:pt x="2770" y="1774"/>
                    </a:lnTo>
                    <a:lnTo>
                      <a:pt x="2766" y="1771"/>
                    </a:lnTo>
                    <a:lnTo>
                      <a:pt x="2777" y="1764"/>
                    </a:lnTo>
                    <a:lnTo>
                      <a:pt x="2780" y="1767"/>
                    </a:lnTo>
                    <a:lnTo>
                      <a:pt x="2777" y="1774"/>
                    </a:lnTo>
                    <a:close/>
                    <a:moveTo>
                      <a:pt x="1302" y="1497"/>
                    </a:moveTo>
                    <a:lnTo>
                      <a:pt x="1307" y="1504"/>
                    </a:lnTo>
                    <a:lnTo>
                      <a:pt x="1312" y="1507"/>
                    </a:lnTo>
                    <a:lnTo>
                      <a:pt x="1321" y="1507"/>
                    </a:lnTo>
                    <a:lnTo>
                      <a:pt x="1326" y="1511"/>
                    </a:lnTo>
                    <a:lnTo>
                      <a:pt x="1328" y="1514"/>
                    </a:lnTo>
                    <a:lnTo>
                      <a:pt x="1328" y="1518"/>
                    </a:lnTo>
                    <a:lnTo>
                      <a:pt x="1326" y="1528"/>
                    </a:lnTo>
                    <a:lnTo>
                      <a:pt x="1324" y="1535"/>
                    </a:lnTo>
                    <a:lnTo>
                      <a:pt x="1321" y="1544"/>
                    </a:lnTo>
                    <a:lnTo>
                      <a:pt x="1319" y="1549"/>
                    </a:lnTo>
                    <a:lnTo>
                      <a:pt x="1324" y="1556"/>
                    </a:lnTo>
                    <a:lnTo>
                      <a:pt x="1321" y="1563"/>
                    </a:lnTo>
                    <a:lnTo>
                      <a:pt x="1321" y="1573"/>
                    </a:lnTo>
                    <a:lnTo>
                      <a:pt x="1307" y="1570"/>
                    </a:lnTo>
                    <a:lnTo>
                      <a:pt x="1295" y="1568"/>
                    </a:lnTo>
                    <a:lnTo>
                      <a:pt x="1284" y="1570"/>
                    </a:lnTo>
                    <a:lnTo>
                      <a:pt x="1279" y="1575"/>
                    </a:lnTo>
                    <a:lnTo>
                      <a:pt x="1279" y="1580"/>
                    </a:lnTo>
                    <a:lnTo>
                      <a:pt x="1276" y="1582"/>
                    </a:lnTo>
                    <a:lnTo>
                      <a:pt x="1274" y="1580"/>
                    </a:lnTo>
                    <a:lnTo>
                      <a:pt x="1269" y="1573"/>
                    </a:lnTo>
                    <a:lnTo>
                      <a:pt x="1265" y="1568"/>
                    </a:lnTo>
                    <a:lnTo>
                      <a:pt x="1248" y="1556"/>
                    </a:lnTo>
                    <a:lnTo>
                      <a:pt x="1227" y="1533"/>
                    </a:lnTo>
                    <a:lnTo>
                      <a:pt x="1217" y="1525"/>
                    </a:lnTo>
                    <a:lnTo>
                      <a:pt x="1213" y="1511"/>
                    </a:lnTo>
                    <a:lnTo>
                      <a:pt x="1206" y="1492"/>
                    </a:lnTo>
                    <a:lnTo>
                      <a:pt x="1213" y="1492"/>
                    </a:lnTo>
                    <a:lnTo>
                      <a:pt x="1220" y="1492"/>
                    </a:lnTo>
                    <a:lnTo>
                      <a:pt x="1248" y="1504"/>
                    </a:lnTo>
                    <a:lnTo>
                      <a:pt x="1255" y="1495"/>
                    </a:lnTo>
                    <a:lnTo>
                      <a:pt x="1260" y="1492"/>
                    </a:lnTo>
                    <a:lnTo>
                      <a:pt x="1269" y="1492"/>
                    </a:lnTo>
                    <a:lnTo>
                      <a:pt x="1281" y="1490"/>
                    </a:lnTo>
                    <a:lnTo>
                      <a:pt x="1284" y="1490"/>
                    </a:lnTo>
                    <a:lnTo>
                      <a:pt x="1286" y="1495"/>
                    </a:lnTo>
                    <a:lnTo>
                      <a:pt x="1295" y="1492"/>
                    </a:lnTo>
                    <a:lnTo>
                      <a:pt x="1300" y="1492"/>
                    </a:lnTo>
                    <a:lnTo>
                      <a:pt x="1302" y="1497"/>
                    </a:lnTo>
                    <a:close/>
                    <a:moveTo>
                      <a:pt x="2584" y="1833"/>
                    </a:moveTo>
                    <a:lnTo>
                      <a:pt x="2576" y="1835"/>
                    </a:lnTo>
                    <a:lnTo>
                      <a:pt x="2574" y="1830"/>
                    </a:lnTo>
                    <a:lnTo>
                      <a:pt x="2579" y="1821"/>
                    </a:lnTo>
                    <a:lnTo>
                      <a:pt x="2584" y="1814"/>
                    </a:lnTo>
                    <a:lnTo>
                      <a:pt x="2586" y="1814"/>
                    </a:lnTo>
                    <a:lnTo>
                      <a:pt x="2595" y="1802"/>
                    </a:lnTo>
                    <a:lnTo>
                      <a:pt x="2607" y="1795"/>
                    </a:lnTo>
                    <a:lnTo>
                      <a:pt x="2617" y="1783"/>
                    </a:lnTo>
                    <a:lnTo>
                      <a:pt x="2629" y="1764"/>
                    </a:lnTo>
                    <a:lnTo>
                      <a:pt x="2631" y="1760"/>
                    </a:lnTo>
                    <a:lnTo>
                      <a:pt x="2636" y="1757"/>
                    </a:lnTo>
                    <a:lnTo>
                      <a:pt x="2643" y="1764"/>
                    </a:lnTo>
                    <a:lnTo>
                      <a:pt x="2645" y="1769"/>
                    </a:lnTo>
                    <a:lnTo>
                      <a:pt x="2643" y="1774"/>
                    </a:lnTo>
                    <a:lnTo>
                      <a:pt x="2617" y="1797"/>
                    </a:lnTo>
                    <a:lnTo>
                      <a:pt x="2614" y="1802"/>
                    </a:lnTo>
                    <a:lnTo>
                      <a:pt x="2612" y="1809"/>
                    </a:lnTo>
                    <a:lnTo>
                      <a:pt x="2610" y="1814"/>
                    </a:lnTo>
                    <a:lnTo>
                      <a:pt x="2607" y="1814"/>
                    </a:lnTo>
                    <a:lnTo>
                      <a:pt x="2605" y="1819"/>
                    </a:lnTo>
                    <a:lnTo>
                      <a:pt x="2603" y="1823"/>
                    </a:lnTo>
                    <a:lnTo>
                      <a:pt x="2598" y="1826"/>
                    </a:lnTo>
                    <a:lnTo>
                      <a:pt x="2595" y="1826"/>
                    </a:lnTo>
                    <a:lnTo>
                      <a:pt x="2591" y="1828"/>
                    </a:lnTo>
                    <a:lnTo>
                      <a:pt x="2588" y="1830"/>
                    </a:lnTo>
                    <a:lnTo>
                      <a:pt x="2584" y="1833"/>
                    </a:lnTo>
                    <a:close/>
                    <a:moveTo>
                      <a:pt x="2567" y="1795"/>
                    </a:moveTo>
                    <a:lnTo>
                      <a:pt x="2562" y="1800"/>
                    </a:lnTo>
                    <a:lnTo>
                      <a:pt x="2548" y="1795"/>
                    </a:lnTo>
                    <a:lnTo>
                      <a:pt x="2553" y="1788"/>
                    </a:lnTo>
                    <a:lnTo>
                      <a:pt x="2565" y="1783"/>
                    </a:lnTo>
                    <a:lnTo>
                      <a:pt x="2574" y="1793"/>
                    </a:lnTo>
                    <a:lnTo>
                      <a:pt x="2567" y="1795"/>
                    </a:lnTo>
                    <a:close/>
                    <a:moveTo>
                      <a:pt x="2813" y="1849"/>
                    </a:moveTo>
                    <a:lnTo>
                      <a:pt x="2811" y="1852"/>
                    </a:lnTo>
                    <a:lnTo>
                      <a:pt x="2815" y="1842"/>
                    </a:lnTo>
                    <a:lnTo>
                      <a:pt x="2822" y="1830"/>
                    </a:lnTo>
                    <a:lnTo>
                      <a:pt x="2829" y="1826"/>
                    </a:lnTo>
                    <a:lnTo>
                      <a:pt x="2839" y="1823"/>
                    </a:lnTo>
                    <a:lnTo>
                      <a:pt x="2837" y="1828"/>
                    </a:lnTo>
                    <a:lnTo>
                      <a:pt x="2825" y="1835"/>
                    </a:lnTo>
                    <a:lnTo>
                      <a:pt x="2813" y="1849"/>
                    </a:lnTo>
                    <a:close/>
                    <a:moveTo>
                      <a:pt x="1603" y="1847"/>
                    </a:moveTo>
                    <a:lnTo>
                      <a:pt x="1596" y="1847"/>
                    </a:lnTo>
                    <a:lnTo>
                      <a:pt x="1591" y="1845"/>
                    </a:lnTo>
                    <a:lnTo>
                      <a:pt x="1588" y="1830"/>
                    </a:lnTo>
                    <a:lnTo>
                      <a:pt x="1593" y="1830"/>
                    </a:lnTo>
                    <a:lnTo>
                      <a:pt x="1603" y="1823"/>
                    </a:lnTo>
                    <a:lnTo>
                      <a:pt x="1619" y="1821"/>
                    </a:lnTo>
                    <a:lnTo>
                      <a:pt x="1624" y="1821"/>
                    </a:lnTo>
                    <a:lnTo>
                      <a:pt x="1603" y="1847"/>
                    </a:lnTo>
                    <a:close/>
                    <a:moveTo>
                      <a:pt x="2215" y="1979"/>
                    </a:moveTo>
                    <a:lnTo>
                      <a:pt x="2212" y="1979"/>
                    </a:lnTo>
                    <a:lnTo>
                      <a:pt x="2208" y="1975"/>
                    </a:lnTo>
                    <a:lnTo>
                      <a:pt x="2205" y="1970"/>
                    </a:lnTo>
                    <a:lnTo>
                      <a:pt x="2208" y="1968"/>
                    </a:lnTo>
                    <a:lnTo>
                      <a:pt x="2220" y="1960"/>
                    </a:lnTo>
                    <a:lnTo>
                      <a:pt x="2224" y="1963"/>
                    </a:lnTo>
                    <a:lnTo>
                      <a:pt x="2227" y="1963"/>
                    </a:lnTo>
                    <a:lnTo>
                      <a:pt x="2227" y="1965"/>
                    </a:lnTo>
                    <a:lnTo>
                      <a:pt x="2227" y="1970"/>
                    </a:lnTo>
                    <a:lnTo>
                      <a:pt x="2224" y="1972"/>
                    </a:lnTo>
                    <a:lnTo>
                      <a:pt x="2215" y="1979"/>
                    </a:lnTo>
                    <a:close/>
                    <a:moveTo>
                      <a:pt x="2217" y="1998"/>
                    </a:moveTo>
                    <a:lnTo>
                      <a:pt x="2220" y="2001"/>
                    </a:lnTo>
                    <a:lnTo>
                      <a:pt x="2224" y="1991"/>
                    </a:lnTo>
                    <a:lnTo>
                      <a:pt x="2227" y="1991"/>
                    </a:lnTo>
                    <a:lnTo>
                      <a:pt x="2234" y="2001"/>
                    </a:lnTo>
                    <a:lnTo>
                      <a:pt x="2238" y="1998"/>
                    </a:lnTo>
                    <a:lnTo>
                      <a:pt x="2241" y="2008"/>
                    </a:lnTo>
                    <a:lnTo>
                      <a:pt x="2246" y="2010"/>
                    </a:lnTo>
                    <a:lnTo>
                      <a:pt x="2248" y="2010"/>
                    </a:lnTo>
                    <a:lnTo>
                      <a:pt x="2248" y="2010"/>
                    </a:lnTo>
                    <a:lnTo>
                      <a:pt x="2248" y="2020"/>
                    </a:lnTo>
                    <a:lnTo>
                      <a:pt x="2238" y="2027"/>
                    </a:lnTo>
                    <a:lnTo>
                      <a:pt x="2236" y="2029"/>
                    </a:lnTo>
                    <a:lnTo>
                      <a:pt x="2231" y="2027"/>
                    </a:lnTo>
                    <a:lnTo>
                      <a:pt x="2231" y="2024"/>
                    </a:lnTo>
                    <a:lnTo>
                      <a:pt x="2229" y="2020"/>
                    </a:lnTo>
                    <a:lnTo>
                      <a:pt x="2227" y="2015"/>
                    </a:lnTo>
                    <a:lnTo>
                      <a:pt x="2227" y="2015"/>
                    </a:lnTo>
                    <a:lnTo>
                      <a:pt x="2220" y="2020"/>
                    </a:lnTo>
                    <a:lnTo>
                      <a:pt x="2220" y="2024"/>
                    </a:lnTo>
                    <a:lnTo>
                      <a:pt x="2222" y="2029"/>
                    </a:lnTo>
                    <a:lnTo>
                      <a:pt x="2220" y="2031"/>
                    </a:lnTo>
                    <a:lnTo>
                      <a:pt x="2215" y="2031"/>
                    </a:lnTo>
                    <a:lnTo>
                      <a:pt x="2210" y="2029"/>
                    </a:lnTo>
                    <a:lnTo>
                      <a:pt x="2203" y="2034"/>
                    </a:lnTo>
                    <a:lnTo>
                      <a:pt x="2203" y="2029"/>
                    </a:lnTo>
                    <a:lnTo>
                      <a:pt x="2203" y="2022"/>
                    </a:lnTo>
                    <a:lnTo>
                      <a:pt x="2201" y="2024"/>
                    </a:lnTo>
                    <a:lnTo>
                      <a:pt x="2196" y="2031"/>
                    </a:lnTo>
                    <a:lnTo>
                      <a:pt x="2191" y="2036"/>
                    </a:lnTo>
                    <a:lnTo>
                      <a:pt x="2184" y="2041"/>
                    </a:lnTo>
                    <a:lnTo>
                      <a:pt x="2184" y="2041"/>
                    </a:lnTo>
                    <a:lnTo>
                      <a:pt x="2179" y="2041"/>
                    </a:lnTo>
                    <a:lnTo>
                      <a:pt x="2172" y="2043"/>
                    </a:lnTo>
                    <a:lnTo>
                      <a:pt x="2168" y="2043"/>
                    </a:lnTo>
                    <a:lnTo>
                      <a:pt x="2146" y="2029"/>
                    </a:lnTo>
                    <a:lnTo>
                      <a:pt x="2139" y="2024"/>
                    </a:lnTo>
                    <a:lnTo>
                      <a:pt x="2163" y="2008"/>
                    </a:lnTo>
                    <a:lnTo>
                      <a:pt x="2175" y="2001"/>
                    </a:lnTo>
                    <a:lnTo>
                      <a:pt x="2182" y="2001"/>
                    </a:lnTo>
                    <a:lnTo>
                      <a:pt x="2186" y="2005"/>
                    </a:lnTo>
                    <a:lnTo>
                      <a:pt x="2189" y="2005"/>
                    </a:lnTo>
                    <a:lnTo>
                      <a:pt x="2191" y="1996"/>
                    </a:lnTo>
                    <a:lnTo>
                      <a:pt x="2186" y="1989"/>
                    </a:lnTo>
                    <a:lnTo>
                      <a:pt x="2186" y="1984"/>
                    </a:lnTo>
                    <a:lnTo>
                      <a:pt x="2201" y="1982"/>
                    </a:lnTo>
                    <a:lnTo>
                      <a:pt x="2205" y="1984"/>
                    </a:lnTo>
                    <a:lnTo>
                      <a:pt x="2210" y="1986"/>
                    </a:lnTo>
                    <a:lnTo>
                      <a:pt x="2215" y="1991"/>
                    </a:lnTo>
                    <a:lnTo>
                      <a:pt x="2217" y="1998"/>
                    </a:lnTo>
                    <a:close/>
                    <a:moveTo>
                      <a:pt x="3541" y="2091"/>
                    </a:moveTo>
                    <a:lnTo>
                      <a:pt x="3560" y="2093"/>
                    </a:lnTo>
                    <a:lnTo>
                      <a:pt x="3574" y="2091"/>
                    </a:lnTo>
                    <a:lnTo>
                      <a:pt x="3588" y="2112"/>
                    </a:lnTo>
                    <a:lnTo>
                      <a:pt x="3595" y="2128"/>
                    </a:lnTo>
                    <a:lnTo>
                      <a:pt x="3602" y="2140"/>
                    </a:lnTo>
                    <a:lnTo>
                      <a:pt x="3605" y="2152"/>
                    </a:lnTo>
                    <a:lnTo>
                      <a:pt x="3609" y="2161"/>
                    </a:lnTo>
                    <a:lnTo>
                      <a:pt x="3609" y="2164"/>
                    </a:lnTo>
                    <a:lnTo>
                      <a:pt x="3600" y="2157"/>
                    </a:lnTo>
                    <a:lnTo>
                      <a:pt x="3595" y="2143"/>
                    </a:lnTo>
                    <a:lnTo>
                      <a:pt x="3591" y="2135"/>
                    </a:lnTo>
                    <a:lnTo>
                      <a:pt x="3588" y="2133"/>
                    </a:lnTo>
                    <a:lnTo>
                      <a:pt x="3586" y="2128"/>
                    </a:lnTo>
                    <a:lnTo>
                      <a:pt x="3579" y="2114"/>
                    </a:lnTo>
                    <a:lnTo>
                      <a:pt x="3579" y="2109"/>
                    </a:lnTo>
                    <a:lnTo>
                      <a:pt x="3576" y="2105"/>
                    </a:lnTo>
                    <a:lnTo>
                      <a:pt x="3574" y="2105"/>
                    </a:lnTo>
                    <a:lnTo>
                      <a:pt x="3569" y="2105"/>
                    </a:lnTo>
                    <a:lnTo>
                      <a:pt x="3569" y="2107"/>
                    </a:lnTo>
                    <a:lnTo>
                      <a:pt x="3569" y="2117"/>
                    </a:lnTo>
                    <a:lnTo>
                      <a:pt x="3574" y="2128"/>
                    </a:lnTo>
                    <a:lnTo>
                      <a:pt x="3588" y="2152"/>
                    </a:lnTo>
                    <a:lnTo>
                      <a:pt x="3598" y="2164"/>
                    </a:lnTo>
                    <a:lnTo>
                      <a:pt x="3600" y="2169"/>
                    </a:lnTo>
                    <a:lnTo>
                      <a:pt x="3602" y="2183"/>
                    </a:lnTo>
                    <a:lnTo>
                      <a:pt x="3598" y="2187"/>
                    </a:lnTo>
                    <a:lnTo>
                      <a:pt x="3605" y="2199"/>
                    </a:lnTo>
                    <a:lnTo>
                      <a:pt x="3605" y="2202"/>
                    </a:lnTo>
                    <a:lnTo>
                      <a:pt x="3602" y="2204"/>
                    </a:lnTo>
                    <a:lnTo>
                      <a:pt x="3591" y="2209"/>
                    </a:lnTo>
                    <a:lnTo>
                      <a:pt x="3579" y="2232"/>
                    </a:lnTo>
                    <a:lnTo>
                      <a:pt x="3567" y="2244"/>
                    </a:lnTo>
                    <a:lnTo>
                      <a:pt x="3560" y="2247"/>
                    </a:lnTo>
                    <a:lnTo>
                      <a:pt x="3557" y="2244"/>
                    </a:lnTo>
                    <a:lnTo>
                      <a:pt x="3555" y="2240"/>
                    </a:lnTo>
                    <a:lnTo>
                      <a:pt x="3553" y="2235"/>
                    </a:lnTo>
                    <a:lnTo>
                      <a:pt x="3550" y="2225"/>
                    </a:lnTo>
                    <a:lnTo>
                      <a:pt x="3555" y="2221"/>
                    </a:lnTo>
                    <a:lnTo>
                      <a:pt x="3560" y="2195"/>
                    </a:lnTo>
                    <a:lnTo>
                      <a:pt x="3560" y="2185"/>
                    </a:lnTo>
                    <a:lnTo>
                      <a:pt x="3550" y="2173"/>
                    </a:lnTo>
                    <a:lnTo>
                      <a:pt x="3546" y="2164"/>
                    </a:lnTo>
                    <a:lnTo>
                      <a:pt x="3541" y="2150"/>
                    </a:lnTo>
                    <a:lnTo>
                      <a:pt x="3536" y="2114"/>
                    </a:lnTo>
                    <a:lnTo>
                      <a:pt x="3534" y="2102"/>
                    </a:lnTo>
                    <a:lnTo>
                      <a:pt x="3529" y="2093"/>
                    </a:lnTo>
                    <a:lnTo>
                      <a:pt x="3527" y="2086"/>
                    </a:lnTo>
                    <a:lnTo>
                      <a:pt x="3522" y="2076"/>
                    </a:lnTo>
                    <a:lnTo>
                      <a:pt x="3520" y="2067"/>
                    </a:lnTo>
                    <a:lnTo>
                      <a:pt x="3520" y="2065"/>
                    </a:lnTo>
                    <a:lnTo>
                      <a:pt x="3527" y="2067"/>
                    </a:lnTo>
                    <a:lnTo>
                      <a:pt x="3536" y="2081"/>
                    </a:lnTo>
                    <a:lnTo>
                      <a:pt x="3541" y="2091"/>
                    </a:lnTo>
                    <a:close/>
                    <a:moveTo>
                      <a:pt x="3567" y="2079"/>
                    </a:moveTo>
                    <a:lnTo>
                      <a:pt x="3567" y="2083"/>
                    </a:lnTo>
                    <a:lnTo>
                      <a:pt x="3557" y="2083"/>
                    </a:lnTo>
                    <a:lnTo>
                      <a:pt x="3546" y="2079"/>
                    </a:lnTo>
                    <a:lnTo>
                      <a:pt x="3541" y="2072"/>
                    </a:lnTo>
                    <a:lnTo>
                      <a:pt x="3541" y="2069"/>
                    </a:lnTo>
                    <a:lnTo>
                      <a:pt x="3550" y="2065"/>
                    </a:lnTo>
                    <a:lnTo>
                      <a:pt x="3560" y="2072"/>
                    </a:lnTo>
                    <a:lnTo>
                      <a:pt x="3567" y="2079"/>
                    </a:lnTo>
                    <a:close/>
                    <a:moveTo>
                      <a:pt x="3461" y="2081"/>
                    </a:moveTo>
                    <a:lnTo>
                      <a:pt x="3472" y="2095"/>
                    </a:lnTo>
                    <a:lnTo>
                      <a:pt x="3472" y="2098"/>
                    </a:lnTo>
                    <a:lnTo>
                      <a:pt x="3470" y="2107"/>
                    </a:lnTo>
                    <a:lnTo>
                      <a:pt x="3465" y="2112"/>
                    </a:lnTo>
                    <a:lnTo>
                      <a:pt x="3468" y="2114"/>
                    </a:lnTo>
                    <a:lnTo>
                      <a:pt x="3470" y="2117"/>
                    </a:lnTo>
                    <a:lnTo>
                      <a:pt x="3475" y="2114"/>
                    </a:lnTo>
                    <a:lnTo>
                      <a:pt x="3484" y="2100"/>
                    </a:lnTo>
                    <a:lnTo>
                      <a:pt x="3489" y="2098"/>
                    </a:lnTo>
                    <a:lnTo>
                      <a:pt x="3491" y="2098"/>
                    </a:lnTo>
                    <a:lnTo>
                      <a:pt x="3505" y="2100"/>
                    </a:lnTo>
                    <a:lnTo>
                      <a:pt x="3517" y="2107"/>
                    </a:lnTo>
                    <a:lnTo>
                      <a:pt x="3520" y="2112"/>
                    </a:lnTo>
                    <a:lnTo>
                      <a:pt x="3522" y="2121"/>
                    </a:lnTo>
                    <a:lnTo>
                      <a:pt x="3520" y="2140"/>
                    </a:lnTo>
                    <a:lnTo>
                      <a:pt x="3510" y="2143"/>
                    </a:lnTo>
                    <a:lnTo>
                      <a:pt x="3505" y="2143"/>
                    </a:lnTo>
                    <a:lnTo>
                      <a:pt x="3501" y="2140"/>
                    </a:lnTo>
                    <a:lnTo>
                      <a:pt x="3494" y="2147"/>
                    </a:lnTo>
                    <a:lnTo>
                      <a:pt x="3501" y="2152"/>
                    </a:lnTo>
                    <a:lnTo>
                      <a:pt x="3520" y="2152"/>
                    </a:lnTo>
                    <a:lnTo>
                      <a:pt x="3527" y="2164"/>
                    </a:lnTo>
                    <a:lnTo>
                      <a:pt x="3529" y="2171"/>
                    </a:lnTo>
                    <a:lnTo>
                      <a:pt x="3527" y="2187"/>
                    </a:lnTo>
                    <a:lnTo>
                      <a:pt x="3515" y="2183"/>
                    </a:lnTo>
                    <a:lnTo>
                      <a:pt x="3503" y="2176"/>
                    </a:lnTo>
                    <a:lnTo>
                      <a:pt x="3482" y="2164"/>
                    </a:lnTo>
                    <a:lnTo>
                      <a:pt x="3477" y="2164"/>
                    </a:lnTo>
                    <a:lnTo>
                      <a:pt x="3472" y="2166"/>
                    </a:lnTo>
                    <a:lnTo>
                      <a:pt x="3472" y="2173"/>
                    </a:lnTo>
                    <a:lnTo>
                      <a:pt x="3472" y="2190"/>
                    </a:lnTo>
                    <a:lnTo>
                      <a:pt x="3468" y="2199"/>
                    </a:lnTo>
                    <a:lnTo>
                      <a:pt x="3451" y="2195"/>
                    </a:lnTo>
                    <a:lnTo>
                      <a:pt x="3444" y="2183"/>
                    </a:lnTo>
                    <a:lnTo>
                      <a:pt x="3437" y="2164"/>
                    </a:lnTo>
                    <a:lnTo>
                      <a:pt x="3413" y="2140"/>
                    </a:lnTo>
                    <a:lnTo>
                      <a:pt x="3409" y="2135"/>
                    </a:lnTo>
                    <a:lnTo>
                      <a:pt x="3399" y="2121"/>
                    </a:lnTo>
                    <a:lnTo>
                      <a:pt x="3401" y="2112"/>
                    </a:lnTo>
                    <a:lnTo>
                      <a:pt x="3404" y="2105"/>
                    </a:lnTo>
                    <a:lnTo>
                      <a:pt x="3406" y="2102"/>
                    </a:lnTo>
                    <a:lnTo>
                      <a:pt x="3413" y="2098"/>
                    </a:lnTo>
                    <a:lnTo>
                      <a:pt x="3416" y="2086"/>
                    </a:lnTo>
                    <a:lnTo>
                      <a:pt x="3423" y="2095"/>
                    </a:lnTo>
                    <a:lnTo>
                      <a:pt x="3430" y="2102"/>
                    </a:lnTo>
                    <a:lnTo>
                      <a:pt x="3430" y="2095"/>
                    </a:lnTo>
                    <a:lnTo>
                      <a:pt x="3435" y="2088"/>
                    </a:lnTo>
                    <a:lnTo>
                      <a:pt x="3442" y="2088"/>
                    </a:lnTo>
                    <a:lnTo>
                      <a:pt x="3444" y="2088"/>
                    </a:lnTo>
                    <a:lnTo>
                      <a:pt x="3449" y="2081"/>
                    </a:lnTo>
                    <a:lnTo>
                      <a:pt x="3456" y="2079"/>
                    </a:lnTo>
                    <a:lnTo>
                      <a:pt x="3461" y="2081"/>
                    </a:lnTo>
                    <a:close/>
                    <a:moveTo>
                      <a:pt x="2170" y="2069"/>
                    </a:moveTo>
                    <a:lnTo>
                      <a:pt x="2170" y="2076"/>
                    </a:lnTo>
                    <a:lnTo>
                      <a:pt x="2172" y="2076"/>
                    </a:lnTo>
                    <a:lnTo>
                      <a:pt x="2186" y="2069"/>
                    </a:lnTo>
                    <a:lnTo>
                      <a:pt x="2191" y="2067"/>
                    </a:lnTo>
                    <a:lnTo>
                      <a:pt x="2201" y="2069"/>
                    </a:lnTo>
                    <a:lnTo>
                      <a:pt x="2205" y="2074"/>
                    </a:lnTo>
                    <a:lnTo>
                      <a:pt x="2205" y="2076"/>
                    </a:lnTo>
                    <a:lnTo>
                      <a:pt x="2205" y="2079"/>
                    </a:lnTo>
                    <a:lnTo>
                      <a:pt x="2198" y="2086"/>
                    </a:lnTo>
                    <a:lnTo>
                      <a:pt x="2198" y="2091"/>
                    </a:lnTo>
                    <a:lnTo>
                      <a:pt x="2203" y="2098"/>
                    </a:lnTo>
                    <a:lnTo>
                      <a:pt x="2215" y="2105"/>
                    </a:lnTo>
                    <a:lnTo>
                      <a:pt x="2217" y="2107"/>
                    </a:lnTo>
                    <a:lnTo>
                      <a:pt x="2217" y="2109"/>
                    </a:lnTo>
                    <a:lnTo>
                      <a:pt x="2205" y="2121"/>
                    </a:lnTo>
                    <a:lnTo>
                      <a:pt x="2201" y="2124"/>
                    </a:lnTo>
                    <a:lnTo>
                      <a:pt x="2198" y="2126"/>
                    </a:lnTo>
                    <a:lnTo>
                      <a:pt x="2184" y="2121"/>
                    </a:lnTo>
                    <a:lnTo>
                      <a:pt x="2168" y="2114"/>
                    </a:lnTo>
                    <a:lnTo>
                      <a:pt x="2163" y="2112"/>
                    </a:lnTo>
                    <a:lnTo>
                      <a:pt x="2160" y="2112"/>
                    </a:lnTo>
                    <a:lnTo>
                      <a:pt x="2156" y="2117"/>
                    </a:lnTo>
                    <a:lnTo>
                      <a:pt x="2158" y="2119"/>
                    </a:lnTo>
                    <a:lnTo>
                      <a:pt x="2172" y="2121"/>
                    </a:lnTo>
                    <a:lnTo>
                      <a:pt x="2175" y="2128"/>
                    </a:lnTo>
                    <a:lnTo>
                      <a:pt x="2177" y="2133"/>
                    </a:lnTo>
                    <a:lnTo>
                      <a:pt x="2177" y="2138"/>
                    </a:lnTo>
                    <a:lnTo>
                      <a:pt x="2175" y="2138"/>
                    </a:lnTo>
                    <a:lnTo>
                      <a:pt x="2168" y="2140"/>
                    </a:lnTo>
                    <a:lnTo>
                      <a:pt x="2160" y="2138"/>
                    </a:lnTo>
                    <a:lnTo>
                      <a:pt x="2151" y="2143"/>
                    </a:lnTo>
                    <a:lnTo>
                      <a:pt x="2146" y="2147"/>
                    </a:lnTo>
                    <a:lnTo>
                      <a:pt x="2130" y="2147"/>
                    </a:lnTo>
                    <a:lnTo>
                      <a:pt x="2116" y="2154"/>
                    </a:lnTo>
                    <a:lnTo>
                      <a:pt x="2111" y="2157"/>
                    </a:lnTo>
                    <a:lnTo>
                      <a:pt x="2108" y="2161"/>
                    </a:lnTo>
                    <a:lnTo>
                      <a:pt x="2101" y="2164"/>
                    </a:lnTo>
                    <a:lnTo>
                      <a:pt x="2090" y="2166"/>
                    </a:lnTo>
                    <a:lnTo>
                      <a:pt x="2097" y="2171"/>
                    </a:lnTo>
                    <a:lnTo>
                      <a:pt x="2097" y="2173"/>
                    </a:lnTo>
                    <a:lnTo>
                      <a:pt x="2097" y="2176"/>
                    </a:lnTo>
                    <a:lnTo>
                      <a:pt x="2094" y="2180"/>
                    </a:lnTo>
                    <a:lnTo>
                      <a:pt x="2085" y="2192"/>
                    </a:lnTo>
                    <a:lnTo>
                      <a:pt x="2066" y="2202"/>
                    </a:lnTo>
                    <a:lnTo>
                      <a:pt x="2061" y="2199"/>
                    </a:lnTo>
                    <a:lnTo>
                      <a:pt x="2061" y="2199"/>
                    </a:lnTo>
                    <a:lnTo>
                      <a:pt x="2059" y="2197"/>
                    </a:lnTo>
                    <a:lnTo>
                      <a:pt x="2059" y="2195"/>
                    </a:lnTo>
                    <a:lnTo>
                      <a:pt x="2085" y="2173"/>
                    </a:lnTo>
                    <a:lnTo>
                      <a:pt x="2085" y="2173"/>
                    </a:lnTo>
                    <a:lnTo>
                      <a:pt x="2078" y="2171"/>
                    </a:lnTo>
                    <a:lnTo>
                      <a:pt x="2071" y="2164"/>
                    </a:lnTo>
                    <a:lnTo>
                      <a:pt x="2064" y="2166"/>
                    </a:lnTo>
                    <a:lnTo>
                      <a:pt x="2061" y="2166"/>
                    </a:lnTo>
                    <a:lnTo>
                      <a:pt x="2064" y="2161"/>
                    </a:lnTo>
                    <a:lnTo>
                      <a:pt x="2071" y="2154"/>
                    </a:lnTo>
                    <a:lnTo>
                      <a:pt x="2068" y="2152"/>
                    </a:lnTo>
                    <a:lnTo>
                      <a:pt x="2068" y="2150"/>
                    </a:lnTo>
                    <a:lnTo>
                      <a:pt x="2061" y="2150"/>
                    </a:lnTo>
                    <a:lnTo>
                      <a:pt x="2054" y="2147"/>
                    </a:lnTo>
                    <a:lnTo>
                      <a:pt x="2047" y="2147"/>
                    </a:lnTo>
                    <a:lnTo>
                      <a:pt x="2042" y="2150"/>
                    </a:lnTo>
                    <a:lnTo>
                      <a:pt x="2042" y="2152"/>
                    </a:lnTo>
                    <a:lnTo>
                      <a:pt x="2052" y="2152"/>
                    </a:lnTo>
                    <a:lnTo>
                      <a:pt x="2054" y="2154"/>
                    </a:lnTo>
                    <a:lnTo>
                      <a:pt x="2054" y="2159"/>
                    </a:lnTo>
                    <a:lnTo>
                      <a:pt x="2056" y="2161"/>
                    </a:lnTo>
                    <a:lnTo>
                      <a:pt x="2056" y="2166"/>
                    </a:lnTo>
                    <a:lnTo>
                      <a:pt x="2052" y="2173"/>
                    </a:lnTo>
                    <a:lnTo>
                      <a:pt x="2047" y="2178"/>
                    </a:lnTo>
                    <a:lnTo>
                      <a:pt x="2042" y="2176"/>
                    </a:lnTo>
                    <a:lnTo>
                      <a:pt x="2033" y="2159"/>
                    </a:lnTo>
                    <a:lnTo>
                      <a:pt x="2030" y="2133"/>
                    </a:lnTo>
                    <a:lnTo>
                      <a:pt x="2023" y="2114"/>
                    </a:lnTo>
                    <a:lnTo>
                      <a:pt x="2023" y="2109"/>
                    </a:lnTo>
                    <a:lnTo>
                      <a:pt x="2028" y="2100"/>
                    </a:lnTo>
                    <a:lnTo>
                      <a:pt x="2042" y="2086"/>
                    </a:lnTo>
                    <a:lnTo>
                      <a:pt x="2054" y="2083"/>
                    </a:lnTo>
                    <a:lnTo>
                      <a:pt x="2064" y="2079"/>
                    </a:lnTo>
                    <a:lnTo>
                      <a:pt x="2071" y="2076"/>
                    </a:lnTo>
                    <a:lnTo>
                      <a:pt x="2075" y="2079"/>
                    </a:lnTo>
                    <a:lnTo>
                      <a:pt x="2082" y="2081"/>
                    </a:lnTo>
                    <a:lnTo>
                      <a:pt x="2082" y="2088"/>
                    </a:lnTo>
                    <a:lnTo>
                      <a:pt x="2080" y="2091"/>
                    </a:lnTo>
                    <a:lnTo>
                      <a:pt x="2082" y="2093"/>
                    </a:lnTo>
                    <a:lnTo>
                      <a:pt x="2085" y="2098"/>
                    </a:lnTo>
                    <a:lnTo>
                      <a:pt x="2087" y="2109"/>
                    </a:lnTo>
                    <a:lnTo>
                      <a:pt x="2092" y="2124"/>
                    </a:lnTo>
                    <a:lnTo>
                      <a:pt x="2094" y="2128"/>
                    </a:lnTo>
                    <a:lnTo>
                      <a:pt x="2099" y="2131"/>
                    </a:lnTo>
                    <a:lnTo>
                      <a:pt x="2097" y="2121"/>
                    </a:lnTo>
                    <a:lnTo>
                      <a:pt x="2094" y="2112"/>
                    </a:lnTo>
                    <a:lnTo>
                      <a:pt x="2097" y="2088"/>
                    </a:lnTo>
                    <a:lnTo>
                      <a:pt x="2097" y="2083"/>
                    </a:lnTo>
                    <a:lnTo>
                      <a:pt x="2099" y="2083"/>
                    </a:lnTo>
                    <a:lnTo>
                      <a:pt x="2106" y="2083"/>
                    </a:lnTo>
                    <a:lnTo>
                      <a:pt x="2108" y="2081"/>
                    </a:lnTo>
                    <a:lnTo>
                      <a:pt x="2099" y="2072"/>
                    </a:lnTo>
                    <a:lnTo>
                      <a:pt x="2097" y="2067"/>
                    </a:lnTo>
                    <a:lnTo>
                      <a:pt x="2094" y="2060"/>
                    </a:lnTo>
                    <a:lnTo>
                      <a:pt x="2094" y="2057"/>
                    </a:lnTo>
                    <a:lnTo>
                      <a:pt x="2101" y="2053"/>
                    </a:lnTo>
                    <a:lnTo>
                      <a:pt x="2104" y="2050"/>
                    </a:lnTo>
                    <a:lnTo>
                      <a:pt x="2106" y="2050"/>
                    </a:lnTo>
                    <a:lnTo>
                      <a:pt x="2111" y="2053"/>
                    </a:lnTo>
                    <a:lnTo>
                      <a:pt x="2113" y="2055"/>
                    </a:lnTo>
                    <a:lnTo>
                      <a:pt x="2118" y="2069"/>
                    </a:lnTo>
                    <a:lnTo>
                      <a:pt x="2123" y="2074"/>
                    </a:lnTo>
                    <a:lnTo>
                      <a:pt x="2125" y="2074"/>
                    </a:lnTo>
                    <a:lnTo>
                      <a:pt x="2127" y="2072"/>
                    </a:lnTo>
                    <a:lnTo>
                      <a:pt x="2130" y="2069"/>
                    </a:lnTo>
                    <a:lnTo>
                      <a:pt x="2132" y="2067"/>
                    </a:lnTo>
                    <a:lnTo>
                      <a:pt x="2137" y="2065"/>
                    </a:lnTo>
                    <a:lnTo>
                      <a:pt x="2144" y="2069"/>
                    </a:lnTo>
                    <a:lnTo>
                      <a:pt x="2146" y="2069"/>
                    </a:lnTo>
                    <a:lnTo>
                      <a:pt x="2149" y="2065"/>
                    </a:lnTo>
                    <a:lnTo>
                      <a:pt x="2149" y="2060"/>
                    </a:lnTo>
                    <a:lnTo>
                      <a:pt x="2151" y="2057"/>
                    </a:lnTo>
                    <a:lnTo>
                      <a:pt x="2151" y="2053"/>
                    </a:lnTo>
                    <a:lnTo>
                      <a:pt x="2149" y="2046"/>
                    </a:lnTo>
                    <a:lnTo>
                      <a:pt x="2153" y="2046"/>
                    </a:lnTo>
                    <a:lnTo>
                      <a:pt x="2170" y="2053"/>
                    </a:lnTo>
                    <a:lnTo>
                      <a:pt x="2175" y="2057"/>
                    </a:lnTo>
                    <a:lnTo>
                      <a:pt x="2170" y="2069"/>
                    </a:lnTo>
                    <a:close/>
                    <a:moveTo>
                      <a:pt x="2146" y="2060"/>
                    </a:moveTo>
                    <a:lnTo>
                      <a:pt x="2144" y="2065"/>
                    </a:lnTo>
                    <a:lnTo>
                      <a:pt x="2142" y="2062"/>
                    </a:lnTo>
                    <a:lnTo>
                      <a:pt x="2137" y="2057"/>
                    </a:lnTo>
                    <a:lnTo>
                      <a:pt x="2130" y="2050"/>
                    </a:lnTo>
                    <a:lnTo>
                      <a:pt x="2127" y="2043"/>
                    </a:lnTo>
                    <a:lnTo>
                      <a:pt x="2127" y="2043"/>
                    </a:lnTo>
                    <a:lnTo>
                      <a:pt x="2130" y="2041"/>
                    </a:lnTo>
                    <a:lnTo>
                      <a:pt x="2139" y="2048"/>
                    </a:lnTo>
                    <a:lnTo>
                      <a:pt x="2144" y="2053"/>
                    </a:lnTo>
                    <a:lnTo>
                      <a:pt x="2146" y="2060"/>
                    </a:lnTo>
                    <a:close/>
                    <a:moveTo>
                      <a:pt x="3524" y="2206"/>
                    </a:moveTo>
                    <a:lnTo>
                      <a:pt x="3531" y="2221"/>
                    </a:lnTo>
                    <a:lnTo>
                      <a:pt x="3536" y="2232"/>
                    </a:lnTo>
                    <a:lnTo>
                      <a:pt x="3541" y="2247"/>
                    </a:lnTo>
                    <a:lnTo>
                      <a:pt x="3550" y="2275"/>
                    </a:lnTo>
                    <a:lnTo>
                      <a:pt x="3553" y="2287"/>
                    </a:lnTo>
                    <a:lnTo>
                      <a:pt x="3555" y="2294"/>
                    </a:lnTo>
                    <a:lnTo>
                      <a:pt x="3557" y="2310"/>
                    </a:lnTo>
                    <a:lnTo>
                      <a:pt x="3555" y="2313"/>
                    </a:lnTo>
                    <a:lnTo>
                      <a:pt x="3553" y="2315"/>
                    </a:lnTo>
                    <a:lnTo>
                      <a:pt x="3553" y="2320"/>
                    </a:lnTo>
                    <a:lnTo>
                      <a:pt x="3555" y="2334"/>
                    </a:lnTo>
                    <a:lnTo>
                      <a:pt x="3557" y="2351"/>
                    </a:lnTo>
                    <a:lnTo>
                      <a:pt x="3555" y="2362"/>
                    </a:lnTo>
                    <a:lnTo>
                      <a:pt x="3553" y="2365"/>
                    </a:lnTo>
                    <a:lnTo>
                      <a:pt x="3548" y="2360"/>
                    </a:lnTo>
                    <a:lnTo>
                      <a:pt x="3543" y="2355"/>
                    </a:lnTo>
                    <a:lnTo>
                      <a:pt x="3541" y="2348"/>
                    </a:lnTo>
                    <a:lnTo>
                      <a:pt x="3531" y="2332"/>
                    </a:lnTo>
                    <a:lnTo>
                      <a:pt x="3529" y="2322"/>
                    </a:lnTo>
                    <a:lnTo>
                      <a:pt x="3529" y="2315"/>
                    </a:lnTo>
                    <a:lnTo>
                      <a:pt x="3529" y="2310"/>
                    </a:lnTo>
                    <a:lnTo>
                      <a:pt x="3531" y="2308"/>
                    </a:lnTo>
                    <a:lnTo>
                      <a:pt x="3536" y="2301"/>
                    </a:lnTo>
                    <a:lnTo>
                      <a:pt x="3534" y="2299"/>
                    </a:lnTo>
                    <a:lnTo>
                      <a:pt x="3531" y="2301"/>
                    </a:lnTo>
                    <a:lnTo>
                      <a:pt x="3524" y="2303"/>
                    </a:lnTo>
                    <a:lnTo>
                      <a:pt x="3517" y="2296"/>
                    </a:lnTo>
                    <a:lnTo>
                      <a:pt x="3513" y="2294"/>
                    </a:lnTo>
                    <a:lnTo>
                      <a:pt x="3515" y="2284"/>
                    </a:lnTo>
                    <a:lnTo>
                      <a:pt x="3513" y="2280"/>
                    </a:lnTo>
                    <a:lnTo>
                      <a:pt x="3503" y="2284"/>
                    </a:lnTo>
                    <a:lnTo>
                      <a:pt x="3498" y="2282"/>
                    </a:lnTo>
                    <a:lnTo>
                      <a:pt x="3498" y="2277"/>
                    </a:lnTo>
                    <a:lnTo>
                      <a:pt x="3498" y="2270"/>
                    </a:lnTo>
                    <a:lnTo>
                      <a:pt x="3501" y="2266"/>
                    </a:lnTo>
                    <a:lnTo>
                      <a:pt x="3508" y="2251"/>
                    </a:lnTo>
                    <a:lnTo>
                      <a:pt x="3508" y="2249"/>
                    </a:lnTo>
                    <a:lnTo>
                      <a:pt x="3503" y="2249"/>
                    </a:lnTo>
                    <a:lnTo>
                      <a:pt x="3496" y="2244"/>
                    </a:lnTo>
                    <a:lnTo>
                      <a:pt x="3494" y="2230"/>
                    </a:lnTo>
                    <a:lnTo>
                      <a:pt x="3487" y="2221"/>
                    </a:lnTo>
                    <a:lnTo>
                      <a:pt x="3484" y="2223"/>
                    </a:lnTo>
                    <a:lnTo>
                      <a:pt x="3477" y="2247"/>
                    </a:lnTo>
                    <a:lnTo>
                      <a:pt x="3472" y="2251"/>
                    </a:lnTo>
                    <a:lnTo>
                      <a:pt x="3461" y="2256"/>
                    </a:lnTo>
                    <a:lnTo>
                      <a:pt x="3463" y="2249"/>
                    </a:lnTo>
                    <a:lnTo>
                      <a:pt x="3465" y="2244"/>
                    </a:lnTo>
                    <a:lnTo>
                      <a:pt x="3461" y="2225"/>
                    </a:lnTo>
                    <a:lnTo>
                      <a:pt x="3458" y="2218"/>
                    </a:lnTo>
                    <a:lnTo>
                      <a:pt x="3463" y="2213"/>
                    </a:lnTo>
                    <a:lnTo>
                      <a:pt x="3470" y="2211"/>
                    </a:lnTo>
                    <a:lnTo>
                      <a:pt x="3475" y="2206"/>
                    </a:lnTo>
                    <a:lnTo>
                      <a:pt x="3477" y="2202"/>
                    </a:lnTo>
                    <a:lnTo>
                      <a:pt x="3477" y="2197"/>
                    </a:lnTo>
                    <a:lnTo>
                      <a:pt x="3484" y="2183"/>
                    </a:lnTo>
                    <a:lnTo>
                      <a:pt x="3487" y="2180"/>
                    </a:lnTo>
                    <a:lnTo>
                      <a:pt x="3494" y="2180"/>
                    </a:lnTo>
                    <a:lnTo>
                      <a:pt x="3510" y="2195"/>
                    </a:lnTo>
                    <a:lnTo>
                      <a:pt x="3517" y="2197"/>
                    </a:lnTo>
                    <a:lnTo>
                      <a:pt x="3524" y="2206"/>
                    </a:lnTo>
                    <a:close/>
                    <a:moveTo>
                      <a:pt x="877" y="1835"/>
                    </a:moveTo>
                    <a:lnTo>
                      <a:pt x="867" y="1840"/>
                    </a:lnTo>
                    <a:lnTo>
                      <a:pt x="863" y="1835"/>
                    </a:lnTo>
                    <a:lnTo>
                      <a:pt x="860" y="1830"/>
                    </a:lnTo>
                    <a:lnTo>
                      <a:pt x="863" y="1828"/>
                    </a:lnTo>
                    <a:lnTo>
                      <a:pt x="884" y="1830"/>
                    </a:lnTo>
                    <a:lnTo>
                      <a:pt x="877" y="1835"/>
                    </a:lnTo>
                    <a:close/>
                    <a:moveTo>
                      <a:pt x="2146" y="2164"/>
                    </a:moveTo>
                    <a:lnTo>
                      <a:pt x="2137" y="2169"/>
                    </a:lnTo>
                    <a:lnTo>
                      <a:pt x="2134" y="2166"/>
                    </a:lnTo>
                    <a:lnTo>
                      <a:pt x="2127" y="2176"/>
                    </a:lnTo>
                    <a:lnTo>
                      <a:pt x="2123" y="2178"/>
                    </a:lnTo>
                    <a:lnTo>
                      <a:pt x="2118" y="2171"/>
                    </a:lnTo>
                    <a:lnTo>
                      <a:pt x="2120" y="2159"/>
                    </a:lnTo>
                    <a:lnTo>
                      <a:pt x="2127" y="2152"/>
                    </a:lnTo>
                    <a:lnTo>
                      <a:pt x="2153" y="2159"/>
                    </a:lnTo>
                    <a:lnTo>
                      <a:pt x="2156" y="2161"/>
                    </a:lnTo>
                    <a:lnTo>
                      <a:pt x="2156" y="2164"/>
                    </a:lnTo>
                    <a:lnTo>
                      <a:pt x="2153" y="2164"/>
                    </a:lnTo>
                    <a:lnTo>
                      <a:pt x="2146" y="2164"/>
                    </a:lnTo>
                    <a:close/>
                    <a:moveTo>
                      <a:pt x="3650" y="2247"/>
                    </a:moveTo>
                    <a:lnTo>
                      <a:pt x="3654" y="2251"/>
                    </a:lnTo>
                    <a:lnTo>
                      <a:pt x="3657" y="2247"/>
                    </a:lnTo>
                    <a:lnTo>
                      <a:pt x="3661" y="2247"/>
                    </a:lnTo>
                    <a:lnTo>
                      <a:pt x="3671" y="2251"/>
                    </a:lnTo>
                    <a:lnTo>
                      <a:pt x="3678" y="2256"/>
                    </a:lnTo>
                    <a:lnTo>
                      <a:pt x="3683" y="2263"/>
                    </a:lnTo>
                    <a:lnTo>
                      <a:pt x="3683" y="2268"/>
                    </a:lnTo>
                    <a:lnTo>
                      <a:pt x="3683" y="2277"/>
                    </a:lnTo>
                    <a:lnTo>
                      <a:pt x="3683" y="2287"/>
                    </a:lnTo>
                    <a:lnTo>
                      <a:pt x="3683" y="2292"/>
                    </a:lnTo>
                    <a:lnTo>
                      <a:pt x="3683" y="2296"/>
                    </a:lnTo>
                    <a:lnTo>
                      <a:pt x="3680" y="2299"/>
                    </a:lnTo>
                    <a:lnTo>
                      <a:pt x="3678" y="2301"/>
                    </a:lnTo>
                    <a:lnTo>
                      <a:pt x="3669" y="2292"/>
                    </a:lnTo>
                    <a:lnTo>
                      <a:pt x="3659" y="2277"/>
                    </a:lnTo>
                    <a:lnTo>
                      <a:pt x="3654" y="2273"/>
                    </a:lnTo>
                    <a:lnTo>
                      <a:pt x="3652" y="2273"/>
                    </a:lnTo>
                    <a:lnTo>
                      <a:pt x="3654" y="2277"/>
                    </a:lnTo>
                    <a:lnTo>
                      <a:pt x="3661" y="2287"/>
                    </a:lnTo>
                    <a:lnTo>
                      <a:pt x="3661" y="2292"/>
                    </a:lnTo>
                    <a:lnTo>
                      <a:pt x="3666" y="2296"/>
                    </a:lnTo>
                    <a:lnTo>
                      <a:pt x="3669" y="2301"/>
                    </a:lnTo>
                    <a:lnTo>
                      <a:pt x="3671" y="2308"/>
                    </a:lnTo>
                    <a:lnTo>
                      <a:pt x="3671" y="2313"/>
                    </a:lnTo>
                    <a:lnTo>
                      <a:pt x="3669" y="2318"/>
                    </a:lnTo>
                    <a:lnTo>
                      <a:pt x="3669" y="2322"/>
                    </a:lnTo>
                    <a:lnTo>
                      <a:pt x="3666" y="2322"/>
                    </a:lnTo>
                    <a:lnTo>
                      <a:pt x="3652" y="2322"/>
                    </a:lnTo>
                    <a:lnTo>
                      <a:pt x="3645" y="2327"/>
                    </a:lnTo>
                    <a:lnTo>
                      <a:pt x="3635" y="2325"/>
                    </a:lnTo>
                    <a:lnTo>
                      <a:pt x="3633" y="2322"/>
                    </a:lnTo>
                    <a:lnTo>
                      <a:pt x="3631" y="2318"/>
                    </a:lnTo>
                    <a:lnTo>
                      <a:pt x="3631" y="2306"/>
                    </a:lnTo>
                    <a:lnTo>
                      <a:pt x="3626" y="2292"/>
                    </a:lnTo>
                    <a:lnTo>
                      <a:pt x="3626" y="2277"/>
                    </a:lnTo>
                    <a:lnTo>
                      <a:pt x="3619" y="2268"/>
                    </a:lnTo>
                    <a:lnTo>
                      <a:pt x="3614" y="2261"/>
                    </a:lnTo>
                    <a:lnTo>
                      <a:pt x="3607" y="2256"/>
                    </a:lnTo>
                    <a:lnTo>
                      <a:pt x="3602" y="2249"/>
                    </a:lnTo>
                    <a:lnTo>
                      <a:pt x="3602" y="2244"/>
                    </a:lnTo>
                    <a:lnTo>
                      <a:pt x="3609" y="2242"/>
                    </a:lnTo>
                    <a:lnTo>
                      <a:pt x="3621" y="2242"/>
                    </a:lnTo>
                    <a:lnTo>
                      <a:pt x="3650" y="2247"/>
                    </a:lnTo>
                    <a:close/>
                    <a:moveTo>
                      <a:pt x="3602" y="2273"/>
                    </a:moveTo>
                    <a:lnTo>
                      <a:pt x="3607" y="2282"/>
                    </a:lnTo>
                    <a:lnTo>
                      <a:pt x="3614" y="2282"/>
                    </a:lnTo>
                    <a:lnTo>
                      <a:pt x="3619" y="2289"/>
                    </a:lnTo>
                    <a:lnTo>
                      <a:pt x="3624" y="2299"/>
                    </a:lnTo>
                    <a:lnTo>
                      <a:pt x="3621" y="2306"/>
                    </a:lnTo>
                    <a:lnTo>
                      <a:pt x="3619" y="2306"/>
                    </a:lnTo>
                    <a:lnTo>
                      <a:pt x="3614" y="2308"/>
                    </a:lnTo>
                    <a:lnTo>
                      <a:pt x="3614" y="2322"/>
                    </a:lnTo>
                    <a:lnTo>
                      <a:pt x="3614" y="2336"/>
                    </a:lnTo>
                    <a:lnTo>
                      <a:pt x="3614" y="2351"/>
                    </a:lnTo>
                    <a:lnTo>
                      <a:pt x="3612" y="2365"/>
                    </a:lnTo>
                    <a:lnTo>
                      <a:pt x="3612" y="2372"/>
                    </a:lnTo>
                    <a:lnTo>
                      <a:pt x="3609" y="2377"/>
                    </a:lnTo>
                    <a:lnTo>
                      <a:pt x="3607" y="2377"/>
                    </a:lnTo>
                    <a:lnTo>
                      <a:pt x="3605" y="2374"/>
                    </a:lnTo>
                    <a:lnTo>
                      <a:pt x="3602" y="2372"/>
                    </a:lnTo>
                    <a:lnTo>
                      <a:pt x="3598" y="2381"/>
                    </a:lnTo>
                    <a:lnTo>
                      <a:pt x="3593" y="2381"/>
                    </a:lnTo>
                    <a:lnTo>
                      <a:pt x="3588" y="2365"/>
                    </a:lnTo>
                    <a:lnTo>
                      <a:pt x="3591" y="2334"/>
                    </a:lnTo>
                    <a:lnTo>
                      <a:pt x="3598" y="2327"/>
                    </a:lnTo>
                    <a:lnTo>
                      <a:pt x="3593" y="2320"/>
                    </a:lnTo>
                    <a:lnTo>
                      <a:pt x="3581" y="2310"/>
                    </a:lnTo>
                    <a:lnTo>
                      <a:pt x="3581" y="2306"/>
                    </a:lnTo>
                    <a:lnTo>
                      <a:pt x="3574" y="2292"/>
                    </a:lnTo>
                    <a:lnTo>
                      <a:pt x="3572" y="2287"/>
                    </a:lnTo>
                    <a:lnTo>
                      <a:pt x="3574" y="2275"/>
                    </a:lnTo>
                    <a:lnTo>
                      <a:pt x="3581" y="2263"/>
                    </a:lnTo>
                    <a:lnTo>
                      <a:pt x="3591" y="2261"/>
                    </a:lnTo>
                    <a:lnTo>
                      <a:pt x="3598" y="2266"/>
                    </a:lnTo>
                    <a:lnTo>
                      <a:pt x="3602" y="2270"/>
                    </a:lnTo>
                    <a:lnTo>
                      <a:pt x="3602" y="2273"/>
                    </a:lnTo>
                    <a:close/>
                    <a:moveTo>
                      <a:pt x="3702" y="2310"/>
                    </a:moveTo>
                    <a:lnTo>
                      <a:pt x="3699" y="2313"/>
                    </a:lnTo>
                    <a:lnTo>
                      <a:pt x="3690" y="2315"/>
                    </a:lnTo>
                    <a:lnTo>
                      <a:pt x="3687" y="2313"/>
                    </a:lnTo>
                    <a:lnTo>
                      <a:pt x="3685" y="2306"/>
                    </a:lnTo>
                    <a:lnTo>
                      <a:pt x="3685" y="2301"/>
                    </a:lnTo>
                    <a:lnTo>
                      <a:pt x="3687" y="2296"/>
                    </a:lnTo>
                    <a:lnTo>
                      <a:pt x="3690" y="2289"/>
                    </a:lnTo>
                    <a:lnTo>
                      <a:pt x="3692" y="2275"/>
                    </a:lnTo>
                    <a:lnTo>
                      <a:pt x="3706" y="2289"/>
                    </a:lnTo>
                    <a:lnTo>
                      <a:pt x="3711" y="2296"/>
                    </a:lnTo>
                    <a:lnTo>
                      <a:pt x="3713" y="2303"/>
                    </a:lnTo>
                    <a:lnTo>
                      <a:pt x="3709" y="2308"/>
                    </a:lnTo>
                    <a:lnTo>
                      <a:pt x="3704" y="2308"/>
                    </a:lnTo>
                    <a:lnTo>
                      <a:pt x="3702" y="2310"/>
                    </a:lnTo>
                    <a:close/>
                    <a:moveTo>
                      <a:pt x="882" y="1920"/>
                    </a:moveTo>
                    <a:lnTo>
                      <a:pt x="889" y="1925"/>
                    </a:lnTo>
                    <a:lnTo>
                      <a:pt x="896" y="1925"/>
                    </a:lnTo>
                    <a:lnTo>
                      <a:pt x="901" y="1930"/>
                    </a:lnTo>
                    <a:lnTo>
                      <a:pt x="901" y="1932"/>
                    </a:lnTo>
                    <a:lnTo>
                      <a:pt x="889" y="1937"/>
                    </a:lnTo>
                    <a:lnTo>
                      <a:pt x="886" y="1934"/>
                    </a:lnTo>
                    <a:lnTo>
                      <a:pt x="879" y="1923"/>
                    </a:lnTo>
                    <a:lnTo>
                      <a:pt x="882" y="1920"/>
                    </a:lnTo>
                    <a:close/>
                    <a:moveTo>
                      <a:pt x="2042" y="2235"/>
                    </a:moveTo>
                    <a:lnTo>
                      <a:pt x="2038" y="2235"/>
                    </a:lnTo>
                    <a:lnTo>
                      <a:pt x="2033" y="2230"/>
                    </a:lnTo>
                    <a:lnTo>
                      <a:pt x="2035" y="2225"/>
                    </a:lnTo>
                    <a:lnTo>
                      <a:pt x="2045" y="2221"/>
                    </a:lnTo>
                    <a:lnTo>
                      <a:pt x="2052" y="2223"/>
                    </a:lnTo>
                    <a:lnTo>
                      <a:pt x="2052" y="2228"/>
                    </a:lnTo>
                    <a:lnTo>
                      <a:pt x="2052" y="2230"/>
                    </a:lnTo>
                    <a:lnTo>
                      <a:pt x="2049" y="2232"/>
                    </a:lnTo>
                    <a:lnTo>
                      <a:pt x="2047" y="2232"/>
                    </a:lnTo>
                    <a:lnTo>
                      <a:pt x="2042" y="2235"/>
                    </a:lnTo>
                    <a:close/>
                    <a:moveTo>
                      <a:pt x="2004" y="2240"/>
                    </a:moveTo>
                    <a:lnTo>
                      <a:pt x="1997" y="2242"/>
                    </a:lnTo>
                    <a:lnTo>
                      <a:pt x="1997" y="2240"/>
                    </a:lnTo>
                    <a:lnTo>
                      <a:pt x="1997" y="2237"/>
                    </a:lnTo>
                    <a:lnTo>
                      <a:pt x="2000" y="2232"/>
                    </a:lnTo>
                    <a:lnTo>
                      <a:pt x="2002" y="2230"/>
                    </a:lnTo>
                    <a:lnTo>
                      <a:pt x="2012" y="2223"/>
                    </a:lnTo>
                    <a:lnTo>
                      <a:pt x="2021" y="2218"/>
                    </a:lnTo>
                    <a:lnTo>
                      <a:pt x="2026" y="2221"/>
                    </a:lnTo>
                    <a:lnTo>
                      <a:pt x="2026" y="2223"/>
                    </a:lnTo>
                    <a:lnTo>
                      <a:pt x="2019" y="2230"/>
                    </a:lnTo>
                    <a:lnTo>
                      <a:pt x="2004" y="2240"/>
                    </a:lnTo>
                    <a:close/>
                    <a:moveTo>
                      <a:pt x="3754" y="2367"/>
                    </a:moveTo>
                    <a:lnTo>
                      <a:pt x="3756" y="2388"/>
                    </a:lnTo>
                    <a:lnTo>
                      <a:pt x="3751" y="2388"/>
                    </a:lnTo>
                    <a:lnTo>
                      <a:pt x="3749" y="2388"/>
                    </a:lnTo>
                    <a:lnTo>
                      <a:pt x="3742" y="2393"/>
                    </a:lnTo>
                    <a:lnTo>
                      <a:pt x="3737" y="2391"/>
                    </a:lnTo>
                    <a:lnTo>
                      <a:pt x="3732" y="2388"/>
                    </a:lnTo>
                    <a:lnTo>
                      <a:pt x="3732" y="2386"/>
                    </a:lnTo>
                    <a:lnTo>
                      <a:pt x="3732" y="2379"/>
                    </a:lnTo>
                    <a:lnTo>
                      <a:pt x="3730" y="2374"/>
                    </a:lnTo>
                    <a:lnTo>
                      <a:pt x="3718" y="2374"/>
                    </a:lnTo>
                    <a:lnTo>
                      <a:pt x="3713" y="2374"/>
                    </a:lnTo>
                    <a:lnTo>
                      <a:pt x="3709" y="2367"/>
                    </a:lnTo>
                    <a:lnTo>
                      <a:pt x="3709" y="2358"/>
                    </a:lnTo>
                    <a:lnTo>
                      <a:pt x="3711" y="2353"/>
                    </a:lnTo>
                    <a:lnTo>
                      <a:pt x="3716" y="2351"/>
                    </a:lnTo>
                    <a:lnTo>
                      <a:pt x="3721" y="2339"/>
                    </a:lnTo>
                    <a:lnTo>
                      <a:pt x="3723" y="2336"/>
                    </a:lnTo>
                    <a:lnTo>
                      <a:pt x="3730" y="2313"/>
                    </a:lnTo>
                    <a:lnTo>
                      <a:pt x="3735" y="2315"/>
                    </a:lnTo>
                    <a:lnTo>
                      <a:pt x="3744" y="2327"/>
                    </a:lnTo>
                    <a:lnTo>
                      <a:pt x="3756" y="2346"/>
                    </a:lnTo>
                    <a:lnTo>
                      <a:pt x="3754" y="2367"/>
                    </a:lnTo>
                    <a:close/>
                    <a:moveTo>
                      <a:pt x="3702" y="2351"/>
                    </a:moveTo>
                    <a:lnTo>
                      <a:pt x="3697" y="2351"/>
                    </a:lnTo>
                    <a:lnTo>
                      <a:pt x="3692" y="2351"/>
                    </a:lnTo>
                    <a:lnTo>
                      <a:pt x="3680" y="2339"/>
                    </a:lnTo>
                    <a:lnTo>
                      <a:pt x="3680" y="2336"/>
                    </a:lnTo>
                    <a:lnTo>
                      <a:pt x="3680" y="2332"/>
                    </a:lnTo>
                    <a:lnTo>
                      <a:pt x="3687" y="2325"/>
                    </a:lnTo>
                    <a:lnTo>
                      <a:pt x="3690" y="2322"/>
                    </a:lnTo>
                    <a:lnTo>
                      <a:pt x="3704" y="2322"/>
                    </a:lnTo>
                    <a:lnTo>
                      <a:pt x="3711" y="2325"/>
                    </a:lnTo>
                    <a:lnTo>
                      <a:pt x="3711" y="2327"/>
                    </a:lnTo>
                    <a:lnTo>
                      <a:pt x="3711" y="2329"/>
                    </a:lnTo>
                    <a:lnTo>
                      <a:pt x="3711" y="2334"/>
                    </a:lnTo>
                    <a:lnTo>
                      <a:pt x="3709" y="2336"/>
                    </a:lnTo>
                    <a:lnTo>
                      <a:pt x="3711" y="2341"/>
                    </a:lnTo>
                    <a:lnTo>
                      <a:pt x="3709" y="2344"/>
                    </a:lnTo>
                    <a:lnTo>
                      <a:pt x="3702" y="2351"/>
                    </a:lnTo>
                    <a:close/>
                    <a:moveTo>
                      <a:pt x="3640" y="2341"/>
                    </a:moveTo>
                    <a:lnTo>
                      <a:pt x="3654" y="2344"/>
                    </a:lnTo>
                    <a:lnTo>
                      <a:pt x="3669" y="2344"/>
                    </a:lnTo>
                    <a:lnTo>
                      <a:pt x="3673" y="2348"/>
                    </a:lnTo>
                    <a:lnTo>
                      <a:pt x="3676" y="2353"/>
                    </a:lnTo>
                    <a:lnTo>
                      <a:pt x="3678" y="2360"/>
                    </a:lnTo>
                    <a:lnTo>
                      <a:pt x="3680" y="2365"/>
                    </a:lnTo>
                    <a:lnTo>
                      <a:pt x="3680" y="2370"/>
                    </a:lnTo>
                    <a:lnTo>
                      <a:pt x="3678" y="2372"/>
                    </a:lnTo>
                    <a:lnTo>
                      <a:pt x="3678" y="2374"/>
                    </a:lnTo>
                    <a:lnTo>
                      <a:pt x="3706" y="2386"/>
                    </a:lnTo>
                    <a:lnTo>
                      <a:pt x="3718" y="2398"/>
                    </a:lnTo>
                    <a:lnTo>
                      <a:pt x="3725" y="2405"/>
                    </a:lnTo>
                    <a:lnTo>
                      <a:pt x="3728" y="2412"/>
                    </a:lnTo>
                    <a:lnTo>
                      <a:pt x="3735" y="2426"/>
                    </a:lnTo>
                    <a:lnTo>
                      <a:pt x="3747" y="2443"/>
                    </a:lnTo>
                    <a:lnTo>
                      <a:pt x="3754" y="2450"/>
                    </a:lnTo>
                    <a:lnTo>
                      <a:pt x="3756" y="2455"/>
                    </a:lnTo>
                    <a:lnTo>
                      <a:pt x="3756" y="2455"/>
                    </a:lnTo>
                    <a:lnTo>
                      <a:pt x="3747" y="2450"/>
                    </a:lnTo>
                    <a:lnTo>
                      <a:pt x="3730" y="2440"/>
                    </a:lnTo>
                    <a:lnTo>
                      <a:pt x="3728" y="2440"/>
                    </a:lnTo>
                    <a:lnTo>
                      <a:pt x="3728" y="2448"/>
                    </a:lnTo>
                    <a:lnTo>
                      <a:pt x="3725" y="2452"/>
                    </a:lnTo>
                    <a:lnTo>
                      <a:pt x="3721" y="2457"/>
                    </a:lnTo>
                    <a:lnTo>
                      <a:pt x="3725" y="2459"/>
                    </a:lnTo>
                    <a:lnTo>
                      <a:pt x="3737" y="2455"/>
                    </a:lnTo>
                    <a:lnTo>
                      <a:pt x="3749" y="2466"/>
                    </a:lnTo>
                    <a:lnTo>
                      <a:pt x="3754" y="2469"/>
                    </a:lnTo>
                    <a:lnTo>
                      <a:pt x="3761" y="2476"/>
                    </a:lnTo>
                    <a:lnTo>
                      <a:pt x="3761" y="2478"/>
                    </a:lnTo>
                    <a:lnTo>
                      <a:pt x="3758" y="2485"/>
                    </a:lnTo>
                    <a:lnTo>
                      <a:pt x="3756" y="2488"/>
                    </a:lnTo>
                    <a:lnTo>
                      <a:pt x="3756" y="2490"/>
                    </a:lnTo>
                    <a:lnTo>
                      <a:pt x="3761" y="2490"/>
                    </a:lnTo>
                    <a:lnTo>
                      <a:pt x="3773" y="2488"/>
                    </a:lnTo>
                    <a:lnTo>
                      <a:pt x="3775" y="2490"/>
                    </a:lnTo>
                    <a:lnTo>
                      <a:pt x="3775" y="2514"/>
                    </a:lnTo>
                    <a:lnTo>
                      <a:pt x="3777" y="2523"/>
                    </a:lnTo>
                    <a:lnTo>
                      <a:pt x="3777" y="2528"/>
                    </a:lnTo>
                    <a:lnTo>
                      <a:pt x="3777" y="2533"/>
                    </a:lnTo>
                    <a:lnTo>
                      <a:pt x="3777" y="2537"/>
                    </a:lnTo>
                    <a:lnTo>
                      <a:pt x="3780" y="2542"/>
                    </a:lnTo>
                    <a:lnTo>
                      <a:pt x="3780" y="2547"/>
                    </a:lnTo>
                    <a:lnTo>
                      <a:pt x="3777" y="2559"/>
                    </a:lnTo>
                    <a:lnTo>
                      <a:pt x="3775" y="2559"/>
                    </a:lnTo>
                    <a:lnTo>
                      <a:pt x="3768" y="2561"/>
                    </a:lnTo>
                    <a:lnTo>
                      <a:pt x="3763" y="2556"/>
                    </a:lnTo>
                    <a:lnTo>
                      <a:pt x="3756" y="2549"/>
                    </a:lnTo>
                    <a:lnTo>
                      <a:pt x="3749" y="2535"/>
                    </a:lnTo>
                    <a:lnTo>
                      <a:pt x="3747" y="2533"/>
                    </a:lnTo>
                    <a:lnTo>
                      <a:pt x="3739" y="2530"/>
                    </a:lnTo>
                    <a:lnTo>
                      <a:pt x="3737" y="2530"/>
                    </a:lnTo>
                    <a:lnTo>
                      <a:pt x="3732" y="2530"/>
                    </a:lnTo>
                    <a:lnTo>
                      <a:pt x="3728" y="2523"/>
                    </a:lnTo>
                    <a:lnTo>
                      <a:pt x="3728" y="2516"/>
                    </a:lnTo>
                    <a:lnTo>
                      <a:pt x="3725" y="2509"/>
                    </a:lnTo>
                    <a:lnTo>
                      <a:pt x="3725" y="2504"/>
                    </a:lnTo>
                    <a:lnTo>
                      <a:pt x="3721" y="2504"/>
                    </a:lnTo>
                    <a:lnTo>
                      <a:pt x="3718" y="2507"/>
                    </a:lnTo>
                    <a:lnTo>
                      <a:pt x="3721" y="2514"/>
                    </a:lnTo>
                    <a:lnTo>
                      <a:pt x="3721" y="2521"/>
                    </a:lnTo>
                    <a:lnTo>
                      <a:pt x="3713" y="2519"/>
                    </a:lnTo>
                    <a:lnTo>
                      <a:pt x="3702" y="2500"/>
                    </a:lnTo>
                    <a:lnTo>
                      <a:pt x="3690" y="2483"/>
                    </a:lnTo>
                    <a:lnTo>
                      <a:pt x="3683" y="2481"/>
                    </a:lnTo>
                    <a:lnTo>
                      <a:pt x="3685" y="2476"/>
                    </a:lnTo>
                    <a:lnTo>
                      <a:pt x="3690" y="2474"/>
                    </a:lnTo>
                    <a:lnTo>
                      <a:pt x="3695" y="2474"/>
                    </a:lnTo>
                    <a:lnTo>
                      <a:pt x="3697" y="2471"/>
                    </a:lnTo>
                    <a:lnTo>
                      <a:pt x="3685" y="2457"/>
                    </a:lnTo>
                    <a:lnTo>
                      <a:pt x="3685" y="2452"/>
                    </a:lnTo>
                    <a:lnTo>
                      <a:pt x="3687" y="2443"/>
                    </a:lnTo>
                    <a:lnTo>
                      <a:pt x="3683" y="2440"/>
                    </a:lnTo>
                    <a:lnTo>
                      <a:pt x="3671" y="2443"/>
                    </a:lnTo>
                    <a:lnTo>
                      <a:pt x="3666" y="2443"/>
                    </a:lnTo>
                    <a:lnTo>
                      <a:pt x="3664" y="2436"/>
                    </a:lnTo>
                    <a:lnTo>
                      <a:pt x="3661" y="2431"/>
                    </a:lnTo>
                    <a:lnTo>
                      <a:pt x="3650" y="2431"/>
                    </a:lnTo>
                    <a:lnTo>
                      <a:pt x="3647" y="2433"/>
                    </a:lnTo>
                    <a:lnTo>
                      <a:pt x="3638" y="2424"/>
                    </a:lnTo>
                    <a:lnTo>
                      <a:pt x="3635" y="2419"/>
                    </a:lnTo>
                    <a:lnTo>
                      <a:pt x="3635" y="2417"/>
                    </a:lnTo>
                    <a:lnTo>
                      <a:pt x="3643" y="2412"/>
                    </a:lnTo>
                    <a:lnTo>
                      <a:pt x="3647" y="2412"/>
                    </a:lnTo>
                    <a:lnTo>
                      <a:pt x="3654" y="2417"/>
                    </a:lnTo>
                    <a:lnTo>
                      <a:pt x="3657" y="2417"/>
                    </a:lnTo>
                    <a:lnTo>
                      <a:pt x="3664" y="2410"/>
                    </a:lnTo>
                    <a:lnTo>
                      <a:pt x="3664" y="2405"/>
                    </a:lnTo>
                    <a:lnTo>
                      <a:pt x="3669" y="2398"/>
                    </a:lnTo>
                    <a:lnTo>
                      <a:pt x="3669" y="2393"/>
                    </a:lnTo>
                    <a:lnTo>
                      <a:pt x="3664" y="2386"/>
                    </a:lnTo>
                    <a:lnTo>
                      <a:pt x="3657" y="2384"/>
                    </a:lnTo>
                    <a:lnTo>
                      <a:pt x="3645" y="2388"/>
                    </a:lnTo>
                    <a:lnTo>
                      <a:pt x="3633" y="2398"/>
                    </a:lnTo>
                    <a:lnTo>
                      <a:pt x="3628" y="2396"/>
                    </a:lnTo>
                    <a:lnTo>
                      <a:pt x="3628" y="2391"/>
                    </a:lnTo>
                    <a:lnTo>
                      <a:pt x="3640" y="2377"/>
                    </a:lnTo>
                    <a:lnTo>
                      <a:pt x="3645" y="2370"/>
                    </a:lnTo>
                    <a:lnTo>
                      <a:pt x="3643" y="2365"/>
                    </a:lnTo>
                    <a:lnTo>
                      <a:pt x="3638" y="2360"/>
                    </a:lnTo>
                    <a:lnTo>
                      <a:pt x="3638" y="2346"/>
                    </a:lnTo>
                    <a:lnTo>
                      <a:pt x="3640" y="2341"/>
                    </a:lnTo>
                    <a:close/>
                    <a:moveTo>
                      <a:pt x="3851" y="2445"/>
                    </a:moveTo>
                    <a:lnTo>
                      <a:pt x="3851" y="2459"/>
                    </a:lnTo>
                    <a:lnTo>
                      <a:pt x="3846" y="2476"/>
                    </a:lnTo>
                    <a:lnTo>
                      <a:pt x="3839" y="2485"/>
                    </a:lnTo>
                    <a:lnTo>
                      <a:pt x="3832" y="2485"/>
                    </a:lnTo>
                    <a:lnTo>
                      <a:pt x="3827" y="2478"/>
                    </a:lnTo>
                    <a:lnTo>
                      <a:pt x="3822" y="2478"/>
                    </a:lnTo>
                    <a:lnTo>
                      <a:pt x="3817" y="2478"/>
                    </a:lnTo>
                    <a:lnTo>
                      <a:pt x="3815" y="2471"/>
                    </a:lnTo>
                    <a:lnTo>
                      <a:pt x="3817" y="2464"/>
                    </a:lnTo>
                    <a:lnTo>
                      <a:pt x="3815" y="2459"/>
                    </a:lnTo>
                    <a:lnTo>
                      <a:pt x="3813" y="2464"/>
                    </a:lnTo>
                    <a:lnTo>
                      <a:pt x="3810" y="2469"/>
                    </a:lnTo>
                    <a:lnTo>
                      <a:pt x="3801" y="2476"/>
                    </a:lnTo>
                    <a:lnTo>
                      <a:pt x="3796" y="2488"/>
                    </a:lnTo>
                    <a:lnTo>
                      <a:pt x="3794" y="2495"/>
                    </a:lnTo>
                    <a:lnTo>
                      <a:pt x="3789" y="2488"/>
                    </a:lnTo>
                    <a:lnTo>
                      <a:pt x="3784" y="2469"/>
                    </a:lnTo>
                    <a:lnTo>
                      <a:pt x="3784" y="2462"/>
                    </a:lnTo>
                    <a:lnTo>
                      <a:pt x="3789" y="2448"/>
                    </a:lnTo>
                    <a:lnTo>
                      <a:pt x="3796" y="2436"/>
                    </a:lnTo>
                    <a:lnTo>
                      <a:pt x="3796" y="2403"/>
                    </a:lnTo>
                    <a:lnTo>
                      <a:pt x="3822" y="2381"/>
                    </a:lnTo>
                    <a:lnTo>
                      <a:pt x="3825" y="2384"/>
                    </a:lnTo>
                    <a:lnTo>
                      <a:pt x="3836" y="2396"/>
                    </a:lnTo>
                    <a:lnTo>
                      <a:pt x="3846" y="2412"/>
                    </a:lnTo>
                    <a:lnTo>
                      <a:pt x="3851" y="2419"/>
                    </a:lnTo>
                    <a:lnTo>
                      <a:pt x="3851" y="2433"/>
                    </a:lnTo>
                    <a:lnTo>
                      <a:pt x="3851" y="2445"/>
                    </a:lnTo>
                    <a:close/>
                    <a:moveTo>
                      <a:pt x="1922" y="2313"/>
                    </a:moveTo>
                    <a:lnTo>
                      <a:pt x="1917" y="2315"/>
                    </a:lnTo>
                    <a:lnTo>
                      <a:pt x="1912" y="2315"/>
                    </a:lnTo>
                    <a:lnTo>
                      <a:pt x="1908" y="2313"/>
                    </a:lnTo>
                    <a:lnTo>
                      <a:pt x="1908" y="2308"/>
                    </a:lnTo>
                    <a:lnTo>
                      <a:pt x="1919" y="2299"/>
                    </a:lnTo>
                    <a:lnTo>
                      <a:pt x="1922" y="2296"/>
                    </a:lnTo>
                    <a:lnTo>
                      <a:pt x="1924" y="2299"/>
                    </a:lnTo>
                    <a:lnTo>
                      <a:pt x="1924" y="2303"/>
                    </a:lnTo>
                    <a:lnTo>
                      <a:pt x="1922" y="2313"/>
                    </a:lnTo>
                    <a:close/>
                    <a:moveTo>
                      <a:pt x="3666" y="2452"/>
                    </a:moveTo>
                    <a:lnTo>
                      <a:pt x="3669" y="2455"/>
                    </a:lnTo>
                    <a:lnTo>
                      <a:pt x="3669" y="2457"/>
                    </a:lnTo>
                    <a:lnTo>
                      <a:pt x="3659" y="2469"/>
                    </a:lnTo>
                    <a:lnTo>
                      <a:pt x="3659" y="2469"/>
                    </a:lnTo>
                    <a:lnTo>
                      <a:pt x="3657" y="2476"/>
                    </a:lnTo>
                    <a:lnTo>
                      <a:pt x="3654" y="2478"/>
                    </a:lnTo>
                    <a:lnTo>
                      <a:pt x="3650" y="2483"/>
                    </a:lnTo>
                    <a:lnTo>
                      <a:pt x="3643" y="2493"/>
                    </a:lnTo>
                    <a:lnTo>
                      <a:pt x="3643" y="2471"/>
                    </a:lnTo>
                    <a:lnTo>
                      <a:pt x="3633" y="2459"/>
                    </a:lnTo>
                    <a:lnTo>
                      <a:pt x="3640" y="2455"/>
                    </a:lnTo>
                    <a:lnTo>
                      <a:pt x="3647" y="2455"/>
                    </a:lnTo>
                    <a:lnTo>
                      <a:pt x="3654" y="2455"/>
                    </a:lnTo>
                    <a:lnTo>
                      <a:pt x="3664" y="2450"/>
                    </a:lnTo>
                    <a:lnTo>
                      <a:pt x="3666" y="2452"/>
                    </a:lnTo>
                    <a:close/>
                    <a:moveTo>
                      <a:pt x="1510" y="2296"/>
                    </a:moveTo>
                    <a:lnTo>
                      <a:pt x="1513" y="2299"/>
                    </a:lnTo>
                    <a:lnTo>
                      <a:pt x="1515" y="2296"/>
                    </a:lnTo>
                    <a:lnTo>
                      <a:pt x="1522" y="2292"/>
                    </a:lnTo>
                    <a:lnTo>
                      <a:pt x="1522" y="2292"/>
                    </a:lnTo>
                    <a:lnTo>
                      <a:pt x="1522" y="2294"/>
                    </a:lnTo>
                    <a:lnTo>
                      <a:pt x="1518" y="2301"/>
                    </a:lnTo>
                    <a:lnTo>
                      <a:pt x="1520" y="2310"/>
                    </a:lnTo>
                    <a:lnTo>
                      <a:pt x="1522" y="2318"/>
                    </a:lnTo>
                    <a:lnTo>
                      <a:pt x="1522" y="2318"/>
                    </a:lnTo>
                    <a:lnTo>
                      <a:pt x="1513" y="2320"/>
                    </a:lnTo>
                    <a:lnTo>
                      <a:pt x="1506" y="2315"/>
                    </a:lnTo>
                    <a:lnTo>
                      <a:pt x="1501" y="2315"/>
                    </a:lnTo>
                    <a:lnTo>
                      <a:pt x="1496" y="2318"/>
                    </a:lnTo>
                    <a:lnTo>
                      <a:pt x="1496" y="2313"/>
                    </a:lnTo>
                    <a:lnTo>
                      <a:pt x="1499" y="2294"/>
                    </a:lnTo>
                    <a:lnTo>
                      <a:pt x="1499" y="2292"/>
                    </a:lnTo>
                    <a:lnTo>
                      <a:pt x="1506" y="2287"/>
                    </a:lnTo>
                    <a:lnTo>
                      <a:pt x="1510" y="2284"/>
                    </a:lnTo>
                    <a:lnTo>
                      <a:pt x="1513" y="2287"/>
                    </a:lnTo>
                    <a:lnTo>
                      <a:pt x="1515" y="2289"/>
                    </a:lnTo>
                    <a:lnTo>
                      <a:pt x="1513" y="2292"/>
                    </a:lnTo>
                    <a:lnTo>
                      <a:pt x="1510" y="2296"/>
                    </a:lnTo>
                    <a:close/>
                    <a:moveTo>
                      <a:pt x="1539" y="2301"/>
                    </a:moveTo>
                    <a:lnTo>
                      <a:pt x="1536" y="2310"/>
                    </a:lnTo>
                    <a:lnTo>
                      <a:pt x="1527" y="2301"/>
                    </a:lnTo>
                    <a:lnTo>
                      <a:pt x="1525" y="2299"/>
                    </a:lnTo>
                    <a:lnTo>
                      <a:pt x="1527" y="2296"/>
                    </a:lnTo>
                    <a:lnTo>
                      <a:pt x="1536" y="2296"/>
                    </a:lnTo>
                    <a:lnTo>
                      <a:pt x="1539" y="2301"/>
                    </a:lnTo>
                    <a:close/>
                    <a:moveTo>
                      <a:pt x="3709" y="2540"/>
                    </a:moveTo>
                    <a:lnTo>
                      <a:pt x="3711" y="2542"/>
                    </a:lnTo>
                    <a:lnTo>
                      <a:pt x="3711" y="2540"/>
                    </a:lnTo>
                    <a:lnTo>
                      <a:pt x="3716" y="2535"/>
                    </a:lnTo>
                    <a:lnTo>
                      <a:pt x="3721" y="2535"/>
                    </a:lnTo>
                    <a:lnTo>
                      <a:pt x="3725" y="2537"/>
                    </a:lnTo>
                    <a:lnTo>
                      <a:pt x="3728" y="2537"/>
                    </a:lnTo>
                    <a:lnTo>
                      <a:pt x="3728" y="2545"/>
                    </a:lnTo>
                    <a:lnTo>
                      <a:pt x="3728" y="2556"/>
                    </a:lnTo>
                    <a:lnTo>
                      <a:pt x="3725" y="2561"/>
                    </a:lnTo>
                    <a:lnTo>
                      <a:pt x="3723" y="2568"/>
                    </a:lnTo>
                    <a:lnTo>
                      <a:pt x="3713" y="2566"/>
                    </a:lnTo>
                    <a:lnTo>
                      <a:pt x="3706" y="2559"/>
                    </a:lnTo>
                    <a:lnTo>
                      <a:pt x="3697" y="2545"/>
                    </a:lnTo>
                    <a:lnTo>
                      <a:pt x="3690" y="2537"/>
                    </a:lnTo>
                    <a:lnTo>
                      <a:pt x="3690" y="2533"/>
                    </a:lnTo>
                    <a:lnTo>
                      <a:pt x="3687" y="2530"/>
                    </a:lnTo>
                    <a:lnTo>
                      <a:pt x="3678" y="2514"/>
                    </a:lnTo>
                    <a:lnTo>
                      <a:pt x="3673" y="2502"/>
                    </a:lnTo>
                    <a:lnTo>
                      <a:pt x="3669" y="2502"/>
                    </a:lnTo>
                    <a:lnTo>
                      <a:pt x="3661" y="2497"/>
                    </a:lnTo>
                    <a:lnTo>
                      <a:pt x="3657" y="2493"/>
                    </a:lnTo>
                    <a:lnTo>
                      <a:pt x="3659" y="2485"/>
                    </a:lnTo>
                    <a:lnTo>
                      <a:pt x="3669" y="2481"/>
                    </a:lnTo>
                    <a:lnTo>
                      <a:pt x="3685" y="2497"/>
                    </a:lnTo>
                    <a:lnTo>
                      <a:pt x="3690" y="2502"/>
                    </a:lnTo>
                    <a:lnTo>
                      <a:pt x="3695" y="2509"/>
                    </a:lnTo>
                    <a:lnTo>
                      <a:pt x="3697" y="2521"/>
                    </a:lnTo>
                    <a:lnTo>
                      <a:pt x="3699" y="2526"/>
                    </a:lnTo>
                    <a:lnTo>
                      <a:pt x="3709" y="2540"/>
                    </a:lnTo>
                    <a:close/>
                    <a:moveTo>
                      <a:pt x="1567" y="2336"/>
                    </a:moveTo>
                    <a:lnTo>
                      <a:pt x="1562" y="2339"/>
                    </a:lnTo>
                    <a:lnTo>
                      <a:pt x="1560" y="2344"/>
                    </a:lnTo>
                    <a:lnTo>
                      <a:pt x="1555" y="2344"/>
                    </a:lnTo>
                    <a:lnTo>
                      <a:pt x="1553" y="2346"/>
                    </a:lnTo>
                    <a:lnTo>
                      <a:pt x="1539" y="2358"/>
                    </a:lnTo>
                    <a:lnTo>
                      <a:pt x="1534" y="2358"/>
                    </a:lnTo>
                    <a:lnTo>
                      <a:pt x="1541" y="2348"/>
                    </a:lnTo>
                    <a:lnTo>
                      <a:pt x="1544" y="2344"/>
                    </a:lnTo>
                    <a:lnTo>
                      <a:pt x="1544" y="2341"/>
                    </a:lnTo>
                    <a:lnTo>
                      <a:pt x="1544" y="2332"/>
                    </a:lnTo>
                    <a:lnTo>
                      <a:pt x="1548" y="2334"/>
                    </a:lnTo>
                    <a:lnTo>
                      <a:pt x="1551" y="2332"/>
                    </a:lnTo>
                    <a:lnTo>
                      <a:pt x="1558" y="2325"/>
                    </a:lnTo>
                    <a:lnTo>
                      <a:pt x="1562" y="2327"/>
                    </a:lnTo>
                    <a:lnTo>
                      <a:pt x="1570" y="2318"/>
                    </a:lnTo>
                    <a:lnTo>
                      <a:pt x="1572" y="2318"/>
                    </a:lnTo>
                    <a:lnTo>
                      <a:pt x="1572" y="2320"/>
                    </a:lnTo>
                    <a:lnTo>
                      <a:pt x="1570" y="2325"/>
                    </a:lnTo>
                    <a:lnTo>
                      <a:pt x="1572" y="2332"/>
                    </a:lnTo>
                    <a:lnTo>
                      <a:pt x="1570" y="2336"/>
                    </a:lnTo>
                    <a:lnTo>
                      <a:pt x="1567" y="2336"/>
                    </a:lnTo>
                    <a:close/>
                    <a:moveTo>
                      <a:pt x="3827" y="2504"/>
                    </a:moveTo>
                    <a:lnTo>
                      <a:pt x="3836" y="2521"/>
                    </a:lnTo>
                    <a:lnTo>
                      <a:pt x="3839" y="2528"/>
                    </a:lnTo>
                    <a:lnTo>
                      <a:pt x="3829" y="2530"/>
                    </a:lnTo>
                    <a:lnTo>
                      <a:pt x="3825" y="2530"/>
                    </a:lnTo>
                    <a:lnTo>
                      <a:pt x="3820" y="2528"/>
                    </a:lnTo>
                    <a:lnTo>
                      <a:pt x="3820" y="2526"/>
                    </a:lnTo>
                    <a:lnTo>
                      <a:pt x="3822" y="2516"/>
                    </a:lnTo>
                    <a:lnTo>
                      <a:pt x="3817" y="2511"/>
                    </a:lnTo>
                    <a:lnTo>
                      <a:pt x="3813" y="2509"/>
                    </a:lnTo>
                    <a:lnTo>
                      <a:pt x="3808" y="2514"/>
                    </a:lnTo>
                    <a:lnTo>
                      <a:pt x="3808" y="2504"/>
                    </a:lnTo>
                    <a:lnTo>
                      <a:pt x="3810" y="2497"/>
                    </a:lnTo>
                    <a:lnTo>
                      <a:pt x="3808" y="2490"/>
                    </a:lnTo>
                    <a:lnTo>
                      <a:pt x="3806" y="2483"/>
                    </a:lnTo>
                    <a:lnTo>
                      <a:pt x="3808" y="2481"/>
                    </a:lnTo>
                    <a:lnTo>
                      <a:pt x="3810" y="2481"/>
                    </a:lnTo>
                    <a:lnTo>
                      <a:pt x="3820" y="2485"/>
                    </a:lnTo>
                    <a:lnTo>
                      <a:pt x="3827" y="2504"/>
                    </a:lnTo>
                    <a:close/>
                    <a:moveTo>
                      <a:pt x="1596" y="2341"/>
                    </a:moveTo>
                    <a:lnTo>
                      <a:pt x="1593" y="2351"/>
                    </a:lnTo>
                    <a:lnTo>
                      <a:pt x="1591" y="2353"/>
                    </a:lnTo>
                    <a:lnTo>
                      <a:pt x="1591" y="2348"/>
                    </a:lnTo>
                    <a:lnTo>
                      <a:pt x="1586" y="2351"/>
                    </a:lnTo>
                    <a:lnTo>
                      <a:pt x="1584" y="2348"/>
                    </a:lnTo>
                    <a:lnTo>
                      <a:pt x="1586" y="2346"/>
                    </a:lnTo>
                    <a:lnTo>
                      <a:pt x="1586" y="2341"/>
                    </a:lnTo>
                    <a:lnTo>
                      <a:pt x="1588" y="2344"/>
                    </a:lnTo>
                    <a:lnTo>
                      <a:pt x="1591" y="2336"/>
                    </a:lnTo>
                    <a:lnTo>
                      <a:pt x="1591" y="2334"/>
                    </a:lnTo>
                    <a:lnTo>
                      <a:pt x="1593" y="2329"/>
                    </a:lnTo>
                    <a:lnTo>
                      <a:pt x="1596" y="2329"/>
                    </a:lnTo>
                    <a:lnTo>
                      <a:pt x="1596" y="2341"/>
                    </a:lnTo>
                    <a:close/>
                    <a:moveTo>
                      <a:pt x="1603" y="2367"/>
                    </a:moveTo>
                    <a:lnTo>
                      <a:pt x="1600" y="2367"/>
                    </a:lnTo>
                    <a:lnTo>
                      <a:pt x="1598" y="2365"/>
                    </a:lnTo>
                    <a:lnTo>
                      <a:pt x="1598" y="2358"/>
                    </a:lnTo>
                    <a:lnTo>
                      <a:pt x="1598" y="2353"/>
                    </a:lnTo>
                    <a:lnTo>
                      <a:pt x="1603" y="2358"/>
                    </a:lnTo>
                    <a:lnTo>
                      <a:pt x="1603" y="2365"/>
                    </a:lnTo>
                    <a:lnTo>
                      <a:pt x="1603" y="2367"/>
                    </a:lnTo>
                    <a:close/>
                    <a:moveTo>
                      <a:pt x="1284" y="2287"/>
                    </a:moveTo>
                    <a:lnTo>
                      <a:pt x="1286" y="2310"/>
                    </a:lnTo>
                    <a:lnTo>
                      <a:pt x="1288" y="2315"/>
                    </a:lnTo>
                    <a:lnTo>
                      <a:pt x="1291" y="2320"/>
                    </a:lnTo>
                    <a:lnTo>
                      <a:pt x="1298" y="2325"/>
                    </a:lnTo>
                    <a:lnTo>
                      <a:pt x="1300" y="2329"/>
                    </a:lnTo>
                    <a:lnTo>
                      <a:pt x="1302" y="2334"/>
                    </a:lnTo>
                    <a:lnTo>
                      <a:pt x="1302" y="2336"/>
                    </a:lnTo>
                    <a:lnTo>
                      <a:pt x="1284" y="2322"/>
                    </a:lnTo>
                    <a:lnTo>
                      <a:pt x="1267" y="2332"/>
                    </a:lnTo>
                    <a:lnTo>
                      <a:pt x="1262" y="2332"/>
                    </a:lnTo>
                    <a:lnTo>
                      <a:pt x="1224" y="2322"/>
                    </a:lnTo>
                    <a:lnTo>
                      <a:pt x="1215" y="2322"/>
                    </a:lnTo>
                    <a:lnTo>
                      <a:pt x="1210" y="2325"/>
                    </a:lnTo>
                    <a:lnTo>
                      <a:pt x="1198" y="2334"/>
                    </a:lnTo>
                    <a:lnTo>
                      <a:pt x="1191" y="2339"/>
                    </a:lnTo>
                    <a:lnTo>
                      <a:pt x="1187" y="2339"/>
                    </a:lnTo>
                    <a:lnTo>
                      <a:pt x="1177" y="2339"/>
                    </a:lnTo>
                    <a:lnTo>
                      <a:pt x="1165" y="2336"/>
                    </a:lnTo>
                    <a:lnTo>
                      <a:pt x="1158" y="2332"/>
                    </a:lnTo>
                    <a:lnTo>
                      <a:pt x="1156" y="2325"/>
                    </a:lnTo>
                    <a:lnTo>
                      <a:pt x="1158" y="2313"/>
                    </a:lnTo>
                    <a:lnTo>
                      <a:pt x="1158" y="2310"/>
                    </a:lnTo>
                    <a:lnTo>
                      <a:pt x="1161" y="2306"/>
                    </a:lnTo>
                    <a:lnTo>
                      <a:pt x="1172" y="2301"/>
                    </a:lnTo>
                    <a:lnTo>
                      <a:pt x="1177" y="2299"/>
                    </a:lnTo>
                    <a:lnTo>
                      <a:pt x="1198" y="2277"/>
                    </a:lnTo>
                    <a:lnTo>
                      <a:pt x="1203" y="2275"/>
                    </a:lnTo>
                    <a:lnTo>
                      <a:pt x="1208" y="2275"/>
                    </a:lnTo>
                    <a:lnTo>
                      <a:pt x="1220" y="2280"/>
                    </a:lnTo>
                    <a:lnTo>
                      <a:pt x="1232" y="2275"/>
                    </a:lnTo>
                    <a:lnTo>
                      <a:pt x="1255" y="2270"/>
                    </a:lnTo>
                    <a:lnTo>
                      <a:pt x="1260" y="2270"/>
                    </a:lnTo>
                    <a:lnTo>
                      <a:pt x="1276" y="2275"/>
                    </a:lnTo>
                    <a:lnTo>
                      <a:pt x="1279" y="2277"/>
                    </a:lnTo>
                    <a:lnTo>
                      <a:pt x="1281" y="2282"/>
                    </a:lnTo>
                    <a:lnTo>
                      <a:pt x="1284" y="2287"/>
                    </a:lnTo>
                    <a:close/>
                    <a:moveTo>
                      <a:pt x="1371" y="2329"/>
                    </a:moveTo>
                    <a:lnTo>
                      <a:pt x="1369" y="2329"/>
                    </a:lnTo>
                    <a:lnTo>
                      <a:pt x="1364" y="2325"/>
                    </a:lnTo>
                    <a:lnTo>
                      <a:pt x="1364" y="2320"/>
                    </a:lnTo>
                    <a:lnTo>
                      <a:pt x="1362" y="2315"/>
                    </a:lnTo>
                    <a:lnTo>
                      <a:pt x="1376" y="2310"/>
                    </a:lnTo>
                    <a:lnTo>
                      <a:pt x="1378" y="2310"/>
                    </a:lnTo>
                    <a:lnTo>
                      <a:pt x="1378" y="2315"/>
                    </a:lnTo>
                    <a:lnTo>
                      <a:pt x="1378" y="2320"/>
                    </a:lnTo>
                    <a:lnTo>
                      <a:pt x="1373" y="2327"/>
                    </a:lnTo>
                    <a:lnTo>
                      <a:pt x="1371" y="2329"/>
                    </a:lnTo>
                    <a:close/>
                    <a:moveTo>
                      <a:pt x="1336" y="2384"/>
                    </a:moveTo>
                    <a:lnTo>
                      <a:pt x="1326" y="2384"/>
                    </a:lnTo>
                    <a:lnTo>
                      <a:pt x="1321" y="2379"/>
                    </a:lnTo>
                    <a:lnTo>
                      <a:pt x="1317" y="2372"/>
                    </a:lnTo>
                    <a:lnTo>
                      <a:pt x="1317" y="2365"/>
                    </a:lnTo>
                    <a:lnTo>
                      <a:pt x="1331" y="2374"/>
                    </a:lnTo>
                    <a:lnTo>
                      <a:pt x="1333" y="2377"/>
                    </a:lnTo>
                    <a:lnTo>
                      <a:pt x="1336" y="2384"/>
                    </a:lnTo>
                    <a:close/>
                    <a:moveTo>
                      <a:pt x="1090" y="2353"/>
                    </a:moveTo>
                    <a:lnTo>
                      <a:pt x="1087" y="2353"/>
                    </a:lnTo>
                    <a:lnTo>
                      <a:pt x="1087" y="2351"/>
                    </a:lnTo>
                    <a:lnTo>
                      <a:pt x="1087" y="2346"/>
                    </a:lnTo>
                    <a:lnTo>
                      <a:pt x="1087" y="2336"/>
                    </a:lnTo>
                    <a:lnTo>
                      <a:pt x="1094" y="2334"/>
                    </a:lnTo>
                    <a:lnTo>
                      <a:pt x="1097" y="2334"/>
                    </a:lnTo>
                    <a:lnTo>
                      <a:pt x="1097" y="2336"/>
                    </a:lnTo>
                    <a:lnTo>
                      <a:pt x="1099" y="2344"/>
                    </a:lnTo>
                    <a:lnTo>
                      <a:pt x="1101" y="2346"/>
                    </a:lnTo>
                    <a:lnTo>
                      <a:pt x="1104" y="2348"/>
                    </a:lnTo>
                    <a:lnTo>
                      <a:pt x="1099" y="2348"/>
                    </a:lnTo>
                    <a:lnTo>
                      <a:pt x="1090" y="2353"/>
                    </a:lnTo>
                    <a:close/>
                    <a:moveTo>
                      <a:pt x="1066" y="2355"/>
                    </a:moveTo>
                    <a:lnTo>
                      <a:pt x="1061" y="2358"/>
                    </a:lnTo>
                    <a:lnTo>
                      <a:pt x="1059" y="2355"/>
                    </a:lnTo>
                    <a:lnTo>
                      <a:pt x="1059" y="2355"/>
                    </a:lnTo>
                    <a:lnTo>
                      <a:pt x="1049" y="2353"/>
                    </a:lnTo>
                    <a:lnTo>
                      <a:pt x="1049" y="2353"/>
                    </a:lnTo>
                    <a:lnTo>
                      <a:pt x="1047" y="2344"/>
                    </a:lnTo>
                    <a:lnTo>
                      <a:pt x="1047" y="2339"/>
                    </a:lnTo>
                    <a:lnTo>
                      <a:pt x="1049" y="2336"/>
                    </a:lnTo>
                    <a:lnTo>
                      <a:pt x="1054" y="2334"/>
                    </a:lnTo>
                    <a:lnTo>
                      <a:pt x="1061" y="2334"/>
                    </a:lnTo>
                    <a:lnTo>
                      <a:pt x="1068" y="2336"/>
                    </a:lnTo>
                    <a:lnTo>
                      <a:pt x="1075" y="2346"/>
                    </a:lnTo>
                    <a:lnTo>
                      <a:pt x="1078" y="2353"/>
                    </a:lnTo>
                    <a:lnTo>
                      <a:pt x="1078" y="2355"/>
                    </a:lnTo>
                    <a:lnTo>
                      <a:pt x="1073" y="2355"/>
                    </a:lnTo>
                    <a:lnTo>
                      <a:pt x="1066" y="2355"/>
                    </a:lnTo>
                    <a:close/>
                    <a:moveTo>
                      <a:pt x="1000" y="2360"/>
                    </a:moveTo>
                    <a:lnTo>
                      <a:pt x="1000" y="2367"/>
                    </a:lnTo>
                    <a:lnTo>
                      <a:pt x="1007" y="2365"/>
                    </a:lnTo>
                    <a:lnTo>
                      <a:pt x="1014" y="2360"/>
                    </a:lnTo>
                    <a:lnTo>
                      <a:pt x="1019" y="2355"/>
                    </a:lnTo>
                    <a:lnTo>
                      <a:pt x="1021" y="2353"/>
                    </a:lnTo>
                    <a:lnTo>
                      <a:pt x="1023" y="2358"/>
                    </a:lnTo>
                    <a:lnTo>
                      <a:pt x="1031" y="2365"/>
                    </a:lnTo>
                    <a:lnTo>
                      <a:pt x="1021" y="2370"/>
                    </a:lnTo>
                    <a:lnTo>
                      <a:pt x="1005" y="2377"/>
                    </a:lnTo>
                    <a:lnTo>
                      <a:pt x="997" y="2384"/>
                    </a:lnTo>
                    <a:lnTo>
                      <a:pt x="995" y="2388"/>
                    </a:lnTo>
                    <a:lnTo>
                      <a:pt x="1009" y="2388"/>
                    </a:lnTo>
                    <a:lnTo>
                      <a:pt x="1012" y="2391"/>
                    </a:lnTo>
                    <a:lnTo>
                      <a:pt x="1014" y="2393"/>
                    </a:lnTo>
                    <a:lnTo>
                      <a:pt x="1009" y="2396"/>
                    </a:lnTo>
                    <a:lnTo>
                      <a:pt x="1002" y="2396"/>
                    </a:lnTo>
                    <a:lnTo>
                      <a:pt x="995" y="2400"/>
                    </a:lnTo>
                    <a:lnTo>
                      <a:pt x="976" y="2405"/>
                    </a:lnTo>
                    <a:lnTo>
                      <a:pt x="969" y="2412"/>
                    </a:lnTo>
                    <a:lnTo>
                      <a:pt x="962" y="2412"/>
                    </a:lnTo>
                    <a:lnTo>
                      <a:pt x="953" y="2410"/>
                    </a:lnTo>
                    <a:lnTo>
                      <a:pt x="936" y="2412"/>
                    </a:lnTo>
                    <a:lnTo>
                      <a:pt x="927" y="2412"/>
                    </a:lnTo>
                    <a:lnTo>
                      <a:pt x="922" y="2414"/>
                    </a:lnTo>
                    <a:lnTo>
                      <a:pt x="919" y="2414"/>
                    </a:lnTo>
                    <a:lnTo>
                      <a:pt x="915" y="2414"/>
                    </a:lnTo>
                    <a:lnTo>
                      <a:pt x="912" y="2414"/>
                    </a:lnTo>
                    <a:lnTo>
                      <a:pt x="905" y="2419"/>
                    </a:lnTo>
                    <a:lnTo>
                      <a:pt x="903" y="2419"/>
                    </a:lnTo>
                    <a:lnTo>
                      <a:pt x="896" y="2417"/>
                    </a:lnTo>
                    <a:lnTo>
                      <a:pt x="893" y="2419"/>
                    </a:lnTo>
                    <a:lnTo>
                      <a:pt x="889" y="2417"/>
                    </a:lnTo>
                    <a:lnTo>
                      <a:pt x="882" y="2410"/>
                    </a:lnTo>
                    <a:lnTo>
                      <a:pt x="882" y="2405"/>
                    </a:lnTo>
                    <a:lnTo>
                      <a:pt x="891" y="2403"/>
                    </a:lnTo>
                    <a:lnTo>
                      <a:pt x="898" y="2403"/>
                    </a:lnTo>
                    <a:lnTo>
                      <a:pt x="905" y="2403"/>
                    </a:lnTo>
                    <a:lnTo>
                      <a:pt x="917" y="2400"/>
                    </a:lnTo>
                    <a:lnTo>
                      <a:pt x="936" y="2398"/>
                    </a:lnTo>
                    <a:lnTo>
                      <a:pt x="943" y="2396"/>
                    </a:lnTo>
                    <a:lnTo>
                      <a:pt x="950" y="2381"/>
                    </a:lnTo>
                    <a:lnTo>
                      <a:pt x="955" y="2381"/>
                    </a:lnTo>
                    <a:lnTo>
                      <a:pt x="960" y="2377"/>
                    </a:lnTo>
                    <a:lnTo>
                      <a:pt x="969" y="2379"/>
                    </a:lnTo>
                    <a:lnTo>
                      <a:pt x="971" y="2386"/>
                    </a:lnTo>
                    <a:lnTo>
                      <a:pt x="971" y="2388"/>
                    </a:lnTo>
                    <a:lnTo>
                      <a:pt x="974" y="2388"/>
                    </a:lnTo>
                    <a:lnTo>
                      <a:pt x="976" y="2384"/>
                    </a:lnTo>
                    <a:lnTo>
                      <a:pt x="981" y="2381"/>
                    </a:lnTo>
                    <a:lnTo>
                      <a:pt x="979" y="2377"/>
                    </a:lnTo>
                    <a:lnTo>
                      <a:pt x="971" y="2372"/>
                    </a:lnTo>
                    <a:lnTo>
                      <a:pt x="967" y="2367"/>
                    </a:lnTo>
                    <a:lnTo>
                      <a:pt x="962" y="2367"/>
                    </a:lnTo>
                    <a:lnTo>
                      <a:pt x="960" y="2362"/>
                    </a:lnTo>
                    <a:lnTo>
                      <a:pt x="957" y="2358"/>
                    </a:lnTo>
                    <a:lnTo>
                      <a:pt x="957" y="2355"/>
                    </a:lnTo>
                    <a:lnTo>
                      <a:pt x="960" y="2351"/>
                    </a:lnTo>
                    <a:lnTo>
                      <a:pt x="962" y="2346"/>
                    </a:lnTo>
                    <a:lnTo>
                      <a:pt x="967" y="2344"/>
                    </a:lnTo>
                    <a:lnTo>
                      <a:pt x="974" y="2341"/>
                    </a:lnTo>
                    <a:lnTo>
                      <a:pt x="983" y="2344"/>
                    </a:lnTo>
                    <a:lnTo>
                      <a:pt x="993" y="2344"/>
                    </a:lnTo>
                    <a:lnTo>
                      <a:pt x="1000" y="2344"/>
                    </a:lnTo>
                    <a:lnTo>
                      <a:pt x="1002" y="2346"/>
                    </a:lnTo>
                    <a:lnTo>
                      <a:pt x="1000" y="2360"/>
                    </a:lnTo>
                    <a:close/>
                    <a:moveTo>
                      <a:pt x="1023" y="2393"/>
                    </a:moveTo>
                    <a:lnTo>
                      <a:pt x="1021" y="2393"/>
                    </a:lnTo>
                    <a:lnTo>
                      <a:pt x="1021" y="2388"/>
                    </a:lnTo>
                    <a:lnTo>
                      <a:pt x="1021" y="2386"/>
                    </a:lnTo>
                    <a:lnTo>
                      <a:pt x="1023" y="2384"/>
                    </a:lnTo>
                    <a:lnTo>
                      <a:pt x="1028" y="2379"/>
                    </a:lnTo>
                    <a:lnTo>
                      <a:pt x="1033" y="2379"/>
                    </a:lnTo>
                    <a:lnTo>
                      <a:pt x="1035" y="2379"/>
                    </a:lnTo>
                    <a:lnTo>
                      <a:pt x="1035" y="2381"/>
                    </a:lnTo>
                    <a:lnTo>
                      <a:pt x="1031" y="2386"/>
                    </a:lnTo>
                    <a:lnTo>
                      <a:pt x="1026" y="2388"/>
                    </a:lnTo>
                    <a:lnTo>
                      <a:pt x="1023" y="2393"/>
                    </a:lnTo>
                    <a:close/>
                    <a:moveTo>
                      <a:pt x="870" y="2398"/>
                    </a:moveTo>
                    <a:lnTo>
                      <a:pt x="841" y="2405"/>
                    </a:lnTo>
                    <a:lnTo>
                      <a:pt x="830" y="2412"/>
                    </a:lnTo>
                    <a:lnTo>
                      <a:pt x="820" y="2419"/>
                    </a:lnTo>
                    <a:lnTo>
                      <a:pt x="815" y="2424"/>
                    </a:lnTo>
                    <a:lnTo>
                      <a:pt x="811" y="2424"/>
                    </a:lnTo>
                    <a:lnTo>
                      <a:pt x="806" y="2424"/>
                    </a:lnTo>
                    <a:lnTo>
                      <a:pt x="797" y="2429"/>
                    </a:lnTo>
                    <a:lnTo>
                      <a:pt x="792" y="2429"/>
                    </a:lnTo>
                    <a:lnTo>
                      <a:pt x="761" y="2436"/>
                    </a:lnTo>
                    <a:lnTo>
                      <a:pt x="759" y="2436"/>
                    </a:lnTo>
                    <a:lnTo>
                      <a:pt x="761" y="2431"/>
                    </a:lnTo>
                    <a:lnTo>
                      <a:pt x="773" y="2429"/>
                    </a:lnTo>
                    <a:lnTo>
                      <a:pt x="778" y="2426"/>
                    </a:lnTo>
                    <a:lnTo>
                      <a:pt x="787" y="2419"/>
                    </a:lnTo>
                    <a:lnTo>
                      <a:pt x="792" y="2417"/>
                    </a:lnTo>
                    <a:lnTo>
                      <a:pt x="794" y="2412"/>
                    </a:lnTo>
                    <a:lnTo>
                      <a:pt x="799" y="2403"/>
                    </a:lnTo>
                    <a:lnTo>
                      <a:pt x="801" y="2400"/>
                    </a:lnTo>
                    <a:lnTo>
                      <a:pt x="808" y="2396"/>
                    </a:lnTo>
                    <a:lnTo>
                      <a:pt x="813" y="2393"/>
                    </a:lnTo>
                    <a:lnTo>
                      <a:pt x="818" y="2393"/>
                    </a:lnTo>
                    <a:lnTo>
                      <a:pt x="830" y="2398"/>
                    </a:lnTo>
                    <a:lnTo>
                      <a:pt x="834" y="2396"/>
                    </a:lnTo>
                    <a:lnTo>
                      <a:pt x="837" y="2393"/>
                    </a:lnTo>
                    <a:lnTo>
                      <a:pt x="834" y="2391"/>
                    </a:lnTo>
                    <a:lnTo>
                      <a:pt x="837" y="2386"/>
                    </a:lnTo>
                    <a:lnTo>
                      <a:pt x="839" y="2379"/>
                    </a:lnTo>
                    <a:lnTo>
                      <a:pt x="844" y="2374"/>
                    </a:lnTo>
                    <a:lnTo>
                      <a:pt x="851" y="2370"/>
                    </a:lnTo>
                    <a:lnTo>
                      <a:pt x="860" y="2367"/>
                    </a:lnTo>
                    <a:lnTo>
                      <a:pt x="870" y="2367"/>
                    </a:lnTo>
                    <a:lnTo>
                      <a:pt x="877" y="2370"/>
                    </a:lnTo>
                    <a:lnTo>
                      <a:pt x="889" y="2381"/>
                    </a:lnTo>
                    <a:lnTo>
                      <a:pt x="889" y="2384"/>
                    </a:lnTo>
                    <a:lnTo>
                      <a:pt x="884" y="2391"/>
                    </a:lnTo>
                    <a:lnTo>
                      <a:pt x="879" y="2396"/>
                    </a:lnTo>
                    <a:lnTo>
                      <a:pt x="870" y="2398"/>
                    </a:lnTo>
                    <a:close/>
                    <a:moveTo>
                      <a:pt x="711" y="2417"/>
                    </a:moveTo>
                    <a:lnTo>
                      <a:pt x="709" y="2422"/>
                    </a:lnTo>
                    <a:lnTo>
                      <a:pt x="707" y="2424"/>
                    </a:lnTo>
                    <a:lnTo>
                      <a:pt x="697" y="2417"/>
                    </a:lnTo>
                    <a:lnTo>
                      <a:pt x="688" y="2414"/>
                    </a:lnTo>
                    <a:lnTo>
                      <a:pt x="688" y="2412"/>
                    </a:lnTo>
                    <a:lnTo>
                      <a:pt x="690" y="2410"/>
                    </a:lnTo>
                    <a:lnTo>
                      <a:pt x="704" y="2410"/>
                    </a:lnTo>
                    <a:lnTo>
                      <a:pt x="709" y="2412"/>
                    </a:lnTo>
                    <a:lnTo>
                      <a:pt x="711" y="2414"/>
                    </a:lnTo>
                    <a:lnTo>
                      <a:pt x="711" y="2417"/>
                    </a:lnTo>
                    <a:close/>
                    <a:moveTo>
                      <a:pt x="619" y="2424"/>
                    </a:moveTo>
                    <a:lnTo>
                      <a:pt x="612" y="2426"/>
                    </a:lnTo>
                    <a:lnTo>
                      <a:pt x="612" y="2424"/>
                    </a:lnTo>
                    <a:lnTo>
                      <a:pt x="612" y="2417"/>
                    </a:lnTo>
                    <a:lnTo>
                      <a:pt x="617" y="2414"/>
                    </a:lnTo>
                    <a:lnTo>
                      <a:pt x="629" y="2410"/>
                    </a:lnTo>
                    <a:lnTo>
                      <a:pt x="633" y="2412"/>
                    </a:lnTo>
                    <a:lnTo>
                      <a:pt x="633" y="2417"/>
                    </a:lnTo>
                    <a:lnTo>
                      <a:pt x="633" y="2419"/>
                    </a:lnTo>
                    <a:lnTo>
                      <a:pt x="629" y="2422"/>
                    </a:lnTo>
                    <a:lnTo>
                      <a:pt x="626" y="2424"/>
                    </a:lnTo>
                    <a:lnTo>
                      <a:pt x="622" y="2422"/>
                    </a:lnTo>
                    <a:lnTo>
                      <a:pt x="619" y="2424"/>
                    </a:lnTo>
                    <a:close/>
                    <a:moveTo>
                      <a:pt x="284" y="2374"/>
                    </a:moveTo>
                    <a:lnTo>
                      <a:pt x="239" y="2360"/>
                    </a:lnTo>
                    <a:lnTo>
                      <a:pt x="234" y="2355"/>
                    </a:lnTo>
                    <a:lnTo>
                      <a:pt x="241" y="2355"/>
                    </a:lnTo>
                    <a:lnTo>
                      <a:pt x="248" y="2358"/>
                    </a:lnTo>
                    <a:lnTo>
                      <a:pt x="267" y="2358"/>
                    </a:lnTo>
                    <a:lnTo>
                      <a:pt x="288" y="2360"/>
                    </a:lnTo>
                    <a:lnTo>
                      <a:pt x="307" y="2360"/>
                    </a:lnTo>
                    <a:lnTo>
                      <a:pt x="321" y="2362"/>
                    </a:lnTo>
                    <a:lnTo>
                      <a:pt x="329" y="2358"/>
                    </a:lnTo>
                    <a:lnTo>
                      <a:pt x="317" y="2348"/>
                    </a:lnTo>
                    <a:lnTo>
                      <a:pt x="317" y="2346"/>
                    </a:lnTo>
                    <a:lnTo>
                      <a:pt x="324" y="2344"/>
                    </a:lnTo>
                    <a:lnTo>
                      <a:pt x="329" y="2341"/>
                    </a:lnTo>
                    <a:lnTo>
                      <a:pt x="343" y="2341"/>
                    </a:lnTo>
                    <a:lnTo>
                      <a:pt x="350" y="2351"/>
                    </a:lnTo>
                    <a:lnTo>
                      <a:pt x="350" y="2355"/>
                    </a:lnTo>
                    <a:lnTo>
                      <a:pt x="347" y="2362"/>
                    </a:lnTo>
                    <a:lnTo>
                      <a:pt x="343" y="2367"/>
                    </a:lnTo>
                    <a:lnTo>
                      <a:pt x="333" y="2365"/>
                    </a:lnTo>
                    <a:lnTo>
                      <a:pt x="331" y="2367"/>
                    </a:lnTo>
                    <a:lnTo>
                      <a:pt x="331" y="2379"/>
                    </a:lnTo>
                    <a:lnTo>
                      <a:pt x="312" y="2379"/>
                    </a:lnTo>
                    <a:lnTo>
                      <a:pt x="284" y="2374"/>
                    </a:lnTo>
                    <a:close/>
                    <a:moveTo>
                      <a:pt x="468" y="2412"/>
                    </a:moveTo>
                    <a:lnTo>
                      <a:pt x="461" y="2412"/>
                    </a:lnTo>
                    <a:lnTo>
                      <a:pt x="456" y="2407"/>
                    </a:lnTo>
                    <a:lnTo>
                      <a:pt x="461" y="2403"/>
                    </a:lnTo>
                    <a:lnTo>
                      <a:pt x="466" y="2400"/>
                    </a:lnTo>
                    <a:lnTo>
                      <a:pt x="473" y="2398"/>
                    </a:lnTo>
                    <a:lnTo>
                      <a:pt x="480" y="2403"/>
                    </a:lnTo>
                    <a:lnTo>
                      <a:pt x="482" y="2410"/>
                    </a:lnTo>
                    <a:lnTo>
                      <a:pt x="468" y="2412"/>
                    </a:lnTo>
                    <a:close/>
                    <a:moveTo>
                      <a:pt x="376" y="2396"/>
                    </a:moveTo>
                    <a:lnTo>
                      <a:pt x="390" y="2407"/>
                    </a:lnTo>
                    <a:lnTo>
                      <a:pt x="409" y="2414"/>
                    </a:lnTo>
                    <a:lnTo>
                      <a:pt x="416" y="2419"/>
                    </a:lnTo>
                    <a:lnTo>
                      <a:pt x="414" y="2419"/>
                    </a:lnTo>
                    <a:lnTo>
                      <a:pt x="402" y="2417"/>
                    </a:lnTo>
                    <a:lnTo>
                      <a:pt x="397" y="2414"/>
                    </a:lnTo>
                    <a:lnTo>
                      <a:pt x="385" y="2412"/>
                    </a:lnTo>
                    <a:lnTo>
                      <a:pt x="378" y="2410"/>
                    </a:lnTo>
                    <a:lnTo>
                      <a:pt x="362" y="2403"/>
                    </a:lnTo>
                    <a:lnTo>
                      <a:pt x="350" y="2398"/>
                    </a:lnTo>
                    <a:lnTo>
                      <a:pt x="345" y="2396"/>
                    </a:lnTo>
                    <a:lnTo>
                      <a:pt x="343" y="2393"/>
                    </a:lnTo>
                    <a:lnTo>
                      <a:pt x="340" y="2386"/>
                    </a:lnTo>
                    <a:lnTo>
                      <a:pt x="340" y="2384"/>
                    </a:lnTo>
                    <a:lnTo>
                      <a:pt x="345" y="2384"/>
                    </a:lnTo>
                    <a:lnTo>
                      <a:pt x="355" y="2393"/>
                    </a:lnTo>
                    <a:lnTo>
                      <a:pt x="357" y="2391"/>
                    </a:lnTo>
                    <a:lnTo>
                      <a:pt x="369" y="2391"/>
                    </a:lnTo>
                    <a:lnTo>
                      <a:pt x="376" y="2396"/>
                    </a:lnTo>
                    <a:close/>
                    <a:moveTo>
                      <a:pt x="177" y="2334"/>
                    </a:moveTo>
                    <a:lnTo>
                      <a:pt x="173" y="2336"/>
                    </a:lnTo>
                    <a:lnTo>
                      <a:pt x="168" y="2329"/>
                    </a:lnTo>
                    <a:lnTo>
                      <a:pt x="165" y="2325"/>
                    </a:lnTo>
                    <a:lnTo>
                      <a:pt x="168" y="2322"/>
                    </a:lnTo>
                    <a:lnTo>
                      <a:pt x="170" y="2318"/>
                    </a:lnTo>
                    <a:lnTo>
                      <a:pt x="177" y="2320"/>
                    </a:lnTo>
                    <a:lnTo>
                      <a:pt x="180" y="2322"/>
                    </a:lnTo>
                    <a:lnTo>
                      <a:pt x="182" y="2329"/>
                    </a:lnTo>
                    <a:lnTo>
                      <a:pt x="182" y="2332"/>
                    </a:lnTo>
                    <a:lnTo>
                      <a:pt x="177" y="2334"/>
                    </a:lnTo>
                    <a:close/>
                    <a:moveTo>
                      <a:pt x="125" y="2332"/>
                    </a:moveTo>
                    <a:lnTo>
                      <a:pt x="123" y="2336"/>
                    </a:lnTo>
                    <a:lnTo>
                      <a:pt x="132" y="2339"/>
                    </a:lnTo>
                    <a:lnTo>
                      <a:pt x="135" y="2341"/>
                    </a:lnTo>
                    <a:lnTo>
                      <a:pt x="130" y="2351"/>
                    </a:lnTo>
                    <a:lnTo>
                      <a:pt x="128" y="2353"/>
                    </a:lnTo>
                    <a:lnTo>
                      <a:pt x="128" y="2353"/>
                    </a:lnTo>
                    <a:lnTo>
                      <a:pt x="125" y="2348"/>
                    </a:lnTo>
                    <a:lnTo>
                      <a:pt x="118" y="2351"/>
                    </a:lnTo>
                    <a:lnTo>
                      <a:pt x="97" y="2355"/>
                    </a:lnTo>
                    <a:lnTo>
                      <a:pt x="95" y="2346"/>
                    </a:lnTo>
                    <a:lnTo>
                      <a:pt x="83" y="2351"/>
                    </a:lnTo>
                    <a:lnTo>
                      <a:pt x="99" y="2332"/>
                    </a:lnTo>
                    <a:lnTo>
                      <a:pt x="109" y="2332"/>
                    </a:lnTo>
                    <a:lnTo>
                      <a:pt x="111" y="2329"/>
                    </a:lnTo>
                    <a:lnTo>
                      <a:pt x="113" y="2322"/>
                    </a:lnTo>
                    <a:lnTo>
                      <a:pt x="123" y="2313"/>
                    </a:lnTo>
                    <a:lnTo>
                      <a:pt x="130" y="2318"/>
                    </a:lnTo>
                    <a:lnTo>
                      <a:pt x="132" y="2322"/>
                    </a:lnTo>
                    <a:lnTo>
                      <a:pt x="130" y="2327"/>
                    </a:lnTo>
                    <a:lnTo>
                      <a:pt x="125" y="2332"/>
                    </a:lnTo>
                    <a:close/>
                    <a:moveTo>
                      <a:pt x="73" y="2332"/>
                    </a:moveTo>
                    <a:lnTo>
                      <a:pt x="71" y="2332"/>
                    </a:lnTo>
                    <a:lnTo>
                      <a:pt x="66" y="2332"/>
                    </a:lnTo>
                    <a:lnTo>
                      <a:pt x="54" y="2325"/>
                    </a:lnTo>
                    <a:lnTo>
                      <a:pt x="47" y="2322"/>
                    </a:lnTo>
                    <a:lnTo>
                      <a:pt x="38" y="2320"/>
                    </a:lnTo>
                    <a:lnTo>
                      <a:pt x="31" y="2318"/>
                    </a:lnTo>
                    <a:lnTo>
                      <a:pt x="33" y="2315"/>
                    </a:lnTo>
                    <a:lnTo>
                      <a:pt x="33" y="2313"/>
                    </a:lnTo>
                    <a:lnTo>
                      <a:pt x="61" y="2318"/>
                    </a:lnTo>
                    <a:lnTo>
                      <a:pt x="71" y="2315"/>
                    </a:lnTo>
                    <a:lnTo>
                      <a:pt x="76" y="2313"/>
                    </a:lnTo>
                    <a:lnTo>
                      <a:pt x="83" y="2306"/>
                    </a:lnTo>
                    <a:lnTo>
                      <a:pt x="87" y="2306"/>
                    </a:lnTo>
                    <a:lnTo>
                      <a:pt x="87" y="2306"/>
                    </a:lnTo>
                    <a:lnTo>
                      <a:pt x="90" y="2310"/>
                    </a:lnTo>
                    <a:lnTo>
                      <a:pt x="87" y="2315"/>
                    </a:lnTo>
                    <a:lnTo>
                      <a:pt x="83" y="2318"/>
                    </a:lnTo>
                    <a:lnTo>
                      <a:pt x="80" y="2320"/>
                    </a:lnTo>
                    <a:lnTo>
                      <a:pt x="73" y="2332"/>
                    </a:lnTo>
                    <a:close/>
                    <a:moveTo>
                      <a:pt x="12" y="2313"/>
                    </a:moveTo>
                    <a:lnTo>
                      <a:pt x="9" y="2318"/>
                    </a:lnTo>
                    <a:lnTo>
                      <a:pt x="7" y="2318"/>
                    </a:lnTo>
                    <a:lnTo>
                      <a:pt x="0" y="2306"/>
                    </a:lnTo>
                    <a:lnTo>
                      <a:pt x="0" y="2301"/>
                    </a:lnTo>
                    <a:lnTo>
                      <a:pt x="7" y="2301"/>
                    </a:lnTo>
                    <a:lnTo>
                      <a:pt x="9" y="2299"/>
                    </a:lnTo>
                    <a:lnTo>
                      <a:pt x="12" y="2296"/>
                    </a:lnTo>
                    <a:lnTo>
                      <a:pt x="9" y="2289"/>
                    </a:lnTo>
                    <a:lnTo>
                      <a:pt x="2" y="2280"/>
                    </a:lnTo>
                    <a:lnTo>
                      <a:pt x="2" y="2275"/>
                    </a:lnTo>
                    <a:lnTo>
                      <a:pt x="5" y="2273"/>
                    </a:lnTo>
                    <a:lnTo>
                      <a:pt x="9" y="2273"/>
                    </a:lnTo>
                    <a:lnTo>
                      <a:pt x="21" y="2277"/>
                    </a:lnTo>
                    <a:lnTo>
                      <a:pt x="26" y="2289"/>
                    </a:lnTo>
                    <a:lnTo>
                      <a:pt x="31" y="2294"/>
                    </a:lnTo>
                    <a:lnTo>
                      <a:pt x="40" y="2301"/>
                    </a:lnTo>
                    <a:lnTo>
                      <a:pt x="33" y="2301"/>
                    </a:lnTo>
                    <a:lnTo>
                      <a:pt x="28" y="2301"/>
                    </a:lnTo>
                    <a:lnTo>
                      <a:pt x="19" y="2310"/>
                    </a:lnTo>
                    <a:lnTo>
                      <a:pt x="12" y="2313"/>
                    </a:lnTo>
                    <a:close/>
                    <a:moveTo>
                      <a:pt x="168" y="2358"/>
                    </a:moveTo>
                    <a:lnTo>
                      <a:pt x="158" y="2358"/>
                    </a:lnTo>
                    <a:lnTo>
                      <a:pt x="154" y="2348"/>
                    </a:lnTo>
                    <a:lnTo>
                      <a:pt x="156" y="2341"/>
                    </a:lnTo>
                    <a:lnTo>
                      <a:pt x="163" y="2351"/>
                    </a:lnTo>
                    <a:lnTo>
                      <a:pt x="168" y="2358"/>
                    </a:lnTo>
                    <a:close/>
                    <a:moveTo>
                      <a:pt x="144" y="2351"/>
                    </a:moveTo>
                    <a:lnTo>
                      <a:pt x="137" y="2355"/>
                    </a:lnTo>
                    <a:lnTo>
                      <a:pt x="135" y="2351"/>
                    </a:lnTo>
                    <a:lnTo>
                      <a:pt x="137" y="2341"/>
                    </a:lnTo>
                    <a:lnTo>
                      <a:pt x="142" y="2339"/>
                    </a:lnTo>
                    <a:lnTo>
                      <a:pt x="147" y="2351"/>
                    </a:lnTo>
                    <a:lnTo>
                      <a:pt x="144" y="235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5" name="Freeform 40">
                <a:extLst>
                  <a:ext uri="{FF2B5EF4-FFF2-40B4-BE49-F238E27FC236}">
                    <a16:creationId xmlns:a16="http://schemas.microsoft.com/office/drawing/2014/main" id="{8149B151-1C7D-5D04-243F-A34853FED6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56" y="2059"/>
                <a:ext cx="652" cy="1050"/>
              </a:xfrm>
              <a:custGeom>
                <a:avLst/>
                <a:gdLst>
                  <a:gd name="T0" fmla="*/ 461 w 652"/>
                  <a:gd name="T1" fmla="*/ 53 h 1050"/>
                  <a:gd name="T2" fmla="*/ 485 w 652"/>
                  <a:gd name="T3" fmla="*/ 131 h 1050"/>
                  <a:gd name="T4" fmla="*/ 508 w 652"/>
                  <a:gd name="T5" fmla="*/ 209 h 1050"/>
                  <a:gd name="T6" fmla="*/ 529 w 652"/>
                  <a:gd name="T7" fmla="*/ 289 h 1050"/>
                  <a:gd name="T8" fmla="*/ 553 w 652"/>
                  <a:gd name="T9" fmla="*/ 367 h 1050"/>
                  <a:gd name="T10" fmla="*/ 574 w 652"/>
                  <a:gd name="T11" fmla="*/ 431 h 1050"/>
                  <a:gd name="T12" fmla="*/ 624 w 652"/>
                  <a:gd name="T13" fmla="*/ 528 h 1050"/>
                  <a:gd name="T14" fmla="*/ 636 w 652"/>
                  <a:gd name="T15" fmla="*/ 554 h 1050"/>
                  <a:gd name="T16" fmla="*/ 619 w 652"/>
                  <a:gd name="T17" fmla="*/ 585 h 1050"/>
                  <a:gd name="T18" fmla="*/ 610 w 652"/>
                  <a:gd name="T19" fmla="*/ 644 h 1050"/>
                  <a:gd name="T20" fmla="*/ 626 w 652"/>
                  <a:gd name="T21" fmla="*/ 693 h 1050"/>
                  <a:gd name="T22" fmla="*/ 641 w 652"/>
                  <a:gd name="T23" fmla="*/ 802 h 1050"/>
                  <a:gd name="T24" fmla="*/ 537 w 652"/>
                  <a:gd name="T25" fmla="*/ 840 h 1050"/>
                  <a:gd name="T26" fmla="*/ 359 w 652"/>
                  <a:gd name="T27" fmla="*/ 859 h 1050"/>
                  <a:gd name="T28" fmla="*/ 184 w 652"/>
                  <a:gd name="T29" fmla="*/ 875 h 1050"/>
                  <a:gd name="T30" fmla="*/ 194 w 652"/>
                  <a:gd name="T31" fmla="*/ 918 h 1050"/>
                  <a:gd name="T32" fmla="*/ 222 w 652"/>
                  <a:gd name="T33" fmla="*/ 970 h 1050"/>
                  <a:gd name="T34" fmla="*/ 217 w 652"/>
                  <a:gd name="T35" fmla="*/ 998 h 1050"/>
                  <a:gd name="T36" fmla="*/ 194 w 652"/>
                  <a:gd name="T37" fmla="*/ 1031 h 1050"/>
                  <a:gd name="T38" fmla="*/ 142 w 652"/>
                  <a:gd name="T39" fmla="*/ 1039 h 1050"/>
                  <a:gd name="T40" fmla="*/ 147 w 652"/>
                  <a:gd name="T41" fmla="*/ 1005 h 1050"/>
                  <a:gd name="T42" fmla="*/ 132 w 652"/>
                  <a:gd name="T43" fmla="*/ 975 h 1050"/>
                  <a:gd name="T44" fmla="*/ 111 w 652"/>
                  <a:gd name="T45" fmla="*/ 951 h 1050"/>
                  <a:gd name="T46" fmla="*/ 97 w 652"/>
                  <a:gd name="T47" fmla="*/ 1020 h 1050"/>
                  <a:gd name="T48" fmla="*/ 50 w 652"/>
                  <a:gd name="T49" fmla="*/ 1022 h 1050"/>
                  <a:gd name="T50" fmla="*/ 33 w 652"/>
                  <a:gd name="T51" fmla="*/ 899 h 1050"/>
                  <a:gd name="T52" fmla="*/ 17 w 652"/>
                  <a:gd name="T53" fmla="*/ 781 h 1050"/>
                  <a:gd name="T54" fmla="*/ 7 w 652"/>
                  <a:gd name="T55" fmla="*/ 663 h 1050"/>
                  <a:gd name="T56" fmla="*/ 12 w 652"/>
                  <a:gd name="T57" fmla="*/ 544 h 1050"/>
                  <a:gd name="T58" fmla="*/ 14 w 652"/>
                  <a:gd name="T59" fmla="*/ 428 h 1050"/>
                  <a:gd name="T60" fmla="*/ 17 w 652"/>
                  <a:gd name="T61" fmla="*/ 310 h 1050"/>
                  <a:gd name="T62" fmla="*/ 19 w 652"/>
                  <a:gd name="T63" fmla="*/ 192 h 1050"/>
                  <a:gd name="T64" fmla="*/ 24 w 652"/>
                  <a:gd name="T65" fmla="*/ 74 h 1050"/>
                  <a:gd name="T66" fmla="*/ 24 w 652"/>
                  <a:gd name="T67" fmla="*/ 57 h 1050"/>
                  <a:gd name="T68" fmla="*/ 0 w 652"/>
                  <a:gd name="T69" fmla="*/ 38 h 1050"/>
                  <a:gd name="T70" fmla="*/ 59 w 652"/>
                  <a:gd name="T71" fmla="*/ 34 h 1050"/>
                  <a:gd name="T72" fmla="*/ 142 w 652"/>
                  <a:gd name="T73" fmla="*/ 29 h 1050"/>
                  <a:gd name="T74" fmla="*/ 225 w 652"/>
                  <a:gd name="T75" fmla="*/ 22 h 1050"/>
                  <a:gd name="T76" fmla="*/ 307 w 652"/>
                  <a:gd name="T77" fmla="*/ 12 h 1050"/>
                  <a:gd name="T78" fmla="*/ 390 w 652"/>
                  <a:gd name="T79" fmla="*/ 5 h 1050"/>
                  <a:gd name="T80" fmla="*/ 111 w 652"/>
                  <a:gd name="T81" fmla="*/ 1041 h 1050"/>
                  <a:gd name="T82" fmla="*/ 66 w 652"/>
                  <a:gd name="T83" fmla="*/ 1048 h 1050"/>
                  <a:gd name="T84" fmla="*/ 111 w 652"/>
                  <a:gd name="T85" fmla="*/ 1041 h 10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52" h="1050">
                    <a:moveTo>
                      <a:pt x="447" y="0"/>
                    </a:moveTo>
                    <a:lnTo>
                      <a:pt x="454" y="26"/>
                    </a:lnTo>
                    <a:lnTo>
                      <a:pt x="461" y="53"/>
                    </a:lnTo>
                    <a:lnTo>
                      <a:pt x="468" y="79"/>
                    </a:lnTo>
                    <a:lnTo>
                      <a:pt x="475" y="105"/>
                    </a:lnTo>
                    <a:lnTo>
                      <a:pt x="485" y="131"/>
                    </a:lnTo>
                    <a:lnTo>
                      <a:pt x="492" y="157"/>
                    </a:lnTo>
                    <a:lnTo>
                      <a:pt x="499" y="183"/>
                    </a:lnTo>
                    <a:lnTo>
                      <a:pt x="508" y="209"/>
                    </a:lnTo>
                    <a:lnTo>
                      <a:pt x="515" y="235"/>
                    </a:lnTo>
                    <a:lnTo>
                      <a:pt x="522" y="261"/>
                    </a:lnTo>
                    <a:lnTo>
                      <a:pt x="529" y="289"/>
                    </a:lnTo>
                    <a:lnTo>
                      <a:pt x="539" y="315"/>
                    </a:lnTo>
                    <a:lnTo>
                      <a:pt x="546" y="341"/>
                    </a:lnTo>
                    <a:lnTo>
                      <a:pt x="553" y="367"/>
                    </a:lnTo>
                    <a:lnTo>
                      <a:pt x="563" y="393"/>
                    </a:lnTo>
                    <a:lnTo>
                      <a:pt x="570" y="419"/>
                    </a:lnTo>
                    <a:lnTo>
                      <a:pt x="574" y="431"/>
                    </a:lnTo>
                    <a:lnTo>
                      <a:pt x="581" y="450"/>
                    </a:lnTo>
                    <a:lnTo>
                      <a:pt x="615" y="504"/>
                    </a:lnTo>
                    <a:lnTo>
                      <a:pt x="624" y="528"/>
                    </a:lnTo>
                    <a:lnTo>
                      <a:pt x="622" y="540"/>
                    </a:lnTo>
                    <a:lnTo>
                      <a:pt x="626" y="547"/>
                    </a:lnTo>
                    <a:lnTo>
                      <a:pt x="636" y="554"/>
                    </a:lnTo>
                    <a:lnTo>
                      <a:pt x="636" y="561"/>
                    </a:lnTo>
                    <a:lnTo>
                      <a:pt x="626" y="573"/>
                    </a:lnTo>
                    <a:lnTo>
                      <a:pt x="619" y="585"/>
                    </a:lnTo>
                    <a:lnTo>
                      <a:pt x="617" y="606"/>
                    </a:lnTo>
                    <a:lnTo>
                      <a:pt x="617" y="606"/>
                    </a:lnTo>
                    <a:lnTo>
                      <a:pt x="610" y="644"/>
                    </a:lnTo>
                    <a:lnTo>
                      <a:pt x="612" y="665"/>
                    </a:lnTo>
                    <a:lnTo>
                      <a:pt x="626" y="693"/>
                    </a:lnTo>
                    <a:lnTo>
                      <a:pt x="626" y="693"/>
                    </a:lnTo>
                    <a:lnTo>
                      <a:pt x="631" y="705"/>
                    </a:lnTo>
                    <a:lnTo>
                      <a:pt x="631" y="764"/>
                    </a:lnTo>
                    <a:lnTo>
                      <a:pt x="641" y="802"/>
                    </a:lnTo>
                    <a:lnTo>
                      <a:pt x="652" y="826"/>
                    </a:lnTo>
                    <a:lnTo>
                      <a:pt x="596" y="833"/>
                    </a:lnTo>
                    <a:lnTo>
                      <a:pt x="537" y="840"/>
                    </a:lnTo>
                    <a:lnTo>
                      <a:pt x="477" y="845"/>
                    </a:lnTo>
                    <a:lnTo>
                      <a:pt x="418" y="852"/>
                    </a:lnTo>
                    <a:lnTo>
                      <a:pt x="359" y="859"/>
                    </a:lnTo>
                    <a:lnTo>
                      <a:pt x="303" y="864"/>
                    </a:lnTo>
                    <a:lnTo>
                      <a:pt x="243" y="871"/>
                    </a:lnTo>
                    <a:lnTo>
                      <a:pt x="184" y="875"/>
                    </a:lnTo>
                    <a:lnTo>
                      <a:pt x="182" y="892"/>
                    </a:lnTo>
                    <a:lnTo>
                      <a:pt x="187" y="906"/>
                    </a:lnTo>
                    <a:lnTo>
                      <a:pt x="194" y="918"/>
                    </a:lnTo>
                    <a:lnTo>
                      <a:pt x="222" y="942"/>
                    </a:lnTo>
                    <a:lnTo>
                      <a:pt x="225" y="949"/>
                    </a:lnTo>
                    <a:lnTo>
                      <a:pt x="222" y="970"/>
                    </a:lnTo>
                    <a:lnTo>
                      <a:pt x="225" y="984"/>
                    </a:lnTo>
                    <a:lnTo>
                      <a:pt x="222" y="991"/>
                    </a:lnTo>
                    <a:lnTo>
                      <a:pt x="217" y="998"/>
                    </a:lnTo>
                    <a:lnTo>
                      <a:pt x="215" y="1005"/>
                    </a:lnTo>
                    <a:lnTo>
                      <a:pt x="210" y="1008"/>
                    </a:lnTo>
                    <a:lnTo>
                      <a:pt x="194" y="1031"/>
                    </a:lnTo>
                    <a:lnTo>
                      <a:pt x="123" y="1046"/>
                    </a:lnTo>
                    <a:lnTo>
                      <a:pt x="128" y="1041"/>
                    </a:lnTo>
                    <a:lnTo>
                      <a:pt x="142" y="1039"/>
                    </a:lnTo>
                    <a:lnTo>
                      <a:pt x="163" y="1029"/>
                    </a:lnTo>
                    <a:lnTo>
                      <a:pt x="156" y="1017"/>
                    </a:lnTo>
                    <a:lnTo>
                      <a:pt x="147" y="1005"/>
                    </a:lnTo>
                    <a:lnTo>
                      <a:pt x="139" y="1005"/>
                    </a:lnTo>
                    <a:lnTo>
                      <a:pt x="135" y="998"/>
                    </a:lnTo>
                    <a:lnTo>
                      <a:pt x="132" y="975"/>
                    </a:lnTo>
                    <a:lnTo>
                      <a:pt x="128" y="960"/>
                    </a:lnTo>
                    <a:lnTo>
                      <a:pt x="113" y="946"/>
                    </a:lnTo>
                    <a:lnTo>
                      <a:pt x="111" y="951"/>
                    </a:lnTo>
                    <a:lnTo>
                      <a:pt x="104" y="975"/>
                    </a:lnTo>
                    <a:lnTo>
                      <a:pt x="99" y="1008"/>
                    </a:lnTo>
                    <a:lnTo>
                      <a:pt x="97" y="1020"/>
                    </a:lnTo>
                    <a:lnTo>
                      <a:pt x="76" y="1022"/>
                    </a:lnTo>
                    <a:lnTo>
                      <a:pt x="59" y="1020"/>
                    </a:lnTo>
                    <a:lnTo>
                      <a:pt x="50" y="1022"/>
                    </a:lnTo>
                    <a:lnTo>
                      <a:pt x="43" y="979"/>
                    </a:lnTo>
                    <a:lnTo>
                      <a:pt x="38" y="939"/>
                    </a:lnTo>
                    <a:lnTo>
                      <a:pt x="33" y="899"/>
                    </a:lnTo>
                    <a:lnTo>
                      <a:pt x="28" y="861"/>
                    </a:lnTo>
                    <a:lnTo>
                      <a:pt x="21" y="821"/>
                    </a:lnTo>
                    <a:lnTo>
                      <a:pt x="17" y="781"/>
                    </a:lnTo>
                    <a:lnTo>
                      <a:pt x="12" y="741"/>
                    </a:lnTo>
                    <a:lnTo>
                      <a:pt x="7" y="703"/>
                    </a:lnTo>
                    <a:lnTo>
                      <a:pt x="7" y="663"/>
                    </a:lnTo>
                    <a:lnTo>
                      <a:pt x="9" y="625"/>
                    </a:lnTo>
                    <a:lnTo>
                      <a:pt x="9" y="585"/>
                    </a:lnTo>
                    <a:lnTo>
                      <a:pt x="12" y="544"/>
                    </a:lnTo>
                    <a:lnTo>
                      <a:pt x="12" y="506"/>
                    </a:lnTo>
                    <a:lnTo>
                      <a:pt x="14" y="466"/>
                    </a:lnTo>
                    <a:lnTo>
                      <a:pt x="14" y="428"/>
                    </a:lnTo>
                    <a:lnTo>
                      <a:pt x="14" y="388"/>
                    </a:lnTo>
                    <a:lnTo>
                      <a:pt x="17" y="348"/>
                    </a:lnTo>
                    <a:lnTo>
                      <a:pt x="17" y="310"/>
                    </a:lnTo>
                    <a:lnTo>
                      <a:pt x="19" y="270"/>
                    </a:lnTo>
                    <a:lnTo>
                      <a:pt x="19" y="232"/>
                    </a:lnTo>
                    <a:lnTo>
                      <a:pt x="19" y="192"/>
                    </a:lnTo>
                    <a:lnTo>
                      <a:pt x="21" y="154"/>
                    </a:lnTo>
                    <a:lnTo>
                      <a:pt x="21" y="114"/>
                    </a:lnTo>
                    <a:lnTo>
                      <a:pt x="24" y="74"/>
                    </a:lnTo>
                    <a:lnTo>
                      <a:pt x="24" y="64"/>
                    </a:lnTo>
                    <a:lnTo>
                      <a:pt x="24" y="62"/>
                    </a:lnTo>
                    <a:lnTo>
                      <a:pt x="24" y="57"/>
                    </a:lnTo>
                    <a:lnTo>
                      <a:pt x="7" y="43"/>
                    </a:lnTo>
                    <a:lnTo>
                      <a:pt x="2" y="41"/>
                    </a:lnTo>
                    <a:lnTo>
                      <a:pt x="0" y="38"/>
                    </a:lnTo>
                    <a:lnTo>
                      <a:pt x="2" y="38"/>
                    </a:lnTo>
                    <a:lnTo>
                      <a:pt x="31" y="36"/>
                    </a:lnTo>
                    <a:lnTo>
                      <a:pt x="59" y="34"/>
                    </a:lnTo>
                    <a:lnTo>
                      <a:pt x="85" y="31"/>
                    </a:lnTo>
                    <a:lnTo>
                      <a:pt x="113" y="31"/>
                    </a:lnTo>
                    <a:lnTo>
                      <a:pt x="142" y="29"/>
                    </a:lnTo>
                    <a:lnTo>
                      <a:pt x="170" y="26"/>
                    </a:lnTo>
                    <a:lnTo>
                      <a:pt x="196" y="24"/>
                    </a:lnTo>
                    <a:lnTo>
                      <a:pt x="225" y="22"/>
                    </a:lnTo>
                    <a:lnTo>
                      <a:pt x="253" y="17"/>
                    </a:lnTo>
                    <a:lnTo>
                      <a:pt x="279" y="15"/>
                    </a:lnTo>
                    <a:lnTo>
                      <a:pt x="307" y="12"/>
                    </a:lnTo>
                    <a:lnTo>
                      <a:pt x="336" y="10"/>
                    </a:lnTo>
                    <a:lnTo>
                      <a:pt x="364" y="8"/>
                    </a:lnTo>
                    <a:lnTo>
                      <a:pt x="390" y="5"/>
                    </a:lnTo>
                    <a:lnTo>
                      <a:pt x="418" y="3"/>
                    </a:lnTo>
                    <a:lnTo>
                      <a:pt x="447" y="0"/>
                    </a:lnTo>
                    <a:close/>
                    <a:moveTo>
                      <a:pt x="111" y="1041"/>
                    </a:moveTo>
                    <a:lnTo>
                      <a:pt x="95" y="1048"/>
                    </a:lnTo>
                    <a:lnTo>
                      <a:pt x="71" y="1050"/>
                    </a:lnTo>
                    <a:lnTo>
                      <a:pt x="66" y="1048"/>
                    </a:lnTo>
                    <a:lnTo>
                      <a:pt x="76" y="1046"/>
                    </a:lnTo>
                    <a:lnTo>
                      <a:pt x="104" y="1039"/>
                    </a:lnTo>
                    <a:lnTo>
                      <a:pt x="111" y="104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6" name="Freeform 43">
                <a:extLst>
                  <a:ext uri="{FF2B5EF4-FFF2-40B4-BE49-F238E27FC236}">
                    <a16:creationId xmlns:a16="http://schemas.microsoft.com/office/drawing/2014/main" id="{514AD103-3289-D78C-EFD2-9730181A8E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3" y="1814"/>
                <a:ext cx="844" cy="763"/>
              </a:xfrm>
              <a:custGeom>
                <a:avLst/>
                <a:gdLst>
                  <a:gd name="T0" fmla="*/ 844 w 844"/>
                  <a:gd name="T1" fmla="*/ 111 h 763"/>
                  <a:gd name="T2" fmla="*/ 836 w 844"/>
                  <a:gd name="T3" fmla="*/ 120 h 763"/>
                  <a:gd name="T4" fmla="*/ 832 w 844"/>
                  <a:gd name="T5" fmla="*/ 130 h 763"/>
                  <a:gd name="T6" fmla="*/ 829 w 844"/>
                  <a:gd name="T7" fmla="*/ 141 h 763"/>
                  <a:gd name="T8" fmla="*/ 808 w 844"/>
                  <a:gd name="T9" fmla="*/ 189 h 763"/>
                  <a:gd name="T10" fmla="*/ 780 w 844"/>
                  <a:gd name="T11" fmla="*/ 248 h 763"/>
                  <a:gd name="T12" fmla="*/ 758 w 844"/>
                  <a:gd name="T13" fmla="*/ 307 h 763"/>
                  <a:gd name="T14" fmla="*/ 754 w 844"/>
                  <a:gd name="T15" fmla="*/ 324 h 763"/>
                  <a:gd name="T16" fmla="*/ 735 w 844"/>
                  <a:gd name="T17" fmla="*/ 350 h 763"/>
                  <a:gd name="T18" fmla="*/ 721 w 844"/>
                  <a:gd name="T19" fmla="*/ 373 h 763"/>
                  <a:gd name="T20" fmla="*/ 709 w 844"/>
                  <a:gd name="T21" fmla="*/ 423 h 763"/>
                  <a:gd name="T22" fmla="*/ 680 w 844"/>
                  <a:gd name="T23" fmla="*/ 456 h 763"/>
                  <a:gd name="T24" fmla="*/ 657 w 844"/>
                  <a:gd name="T25" fmla="*/ 494 h 763"/>
                  <a:gd name="T26" fmla="*/ 657 w 844"/>
                  <a:gd name="T27" fmla="*/ 522 h 763"/>
                  <a:gd name="T28" fmla="*/ 633 w 844"/>
                  <a:gd name="T29" fmla="*/ 536 h 763"/>
                  <a:gd name="T30" fmla="*/ 638 w 844"/>
                  <a:gd name="T31" fmla="*/ 555 h 763"/>
                  <a:gd name="T32" fmla="*/ 628 w 844"/>
                  <a:gd name="T33" fmla="*/ 584 h 763"/>
                  <a:gd name="T34" fmla="*/ 617 w 844"/>
                  <a:gd name="T35" fmla="*/ 610 h 763"/>
                  <a:gd name="T36" fmla="*/ 612 w 844"/>
                  <a:gd name="T37" fmla="*/ 631 h 763"/>
                  <a:gd name="T38" fmla="*/ 624 w 844"/>
                  <a:gd name="T39" fmla="*/ 655 h 763"/>
                  <a:gd name="T40" fmla="*/ 631 w 844"/>
                  <a:gd name="T41" fmla="*/ 695 h 763"/>
                  <a:gd name="T42" fmla="*/ 626 w 844"/>
                  <a:gd name="T43" fmla="*/ 742 h 763"/>
                  <a:gd name="T44" fmla="*/ 529 w 844"/>
                  <a:gd name="T45" fmla="*/ 747 h 763"/>
                  <a:gd name="T46" fmla="*/ 432 w 844"/>
                  <a:gd name="T47" fmla="*/ 751 h 763"/>
                  <a:gd name="T48" fmla="*/ 338 w 844"/>
                  <a:gd name="T49" fmla="*/ 756 h 763"/>
                  <a:gd name="T50" fmla="*/ 241 w 844"/>
                  <a:gd name="T51" fmla="*/ 759 h 763"/>
                  <a:gd name="T52" fmla="*/ 146 w 844"/>
                  <a:gd name="T53" fmla="*/ 761 h 763"/>
                  <a:gd name="T54" fmla="*/ 111 w 844"/>
                  <a:gd name="T55" fmla="*/ 707 h 763"/>
                  <a:gd name="T56" fmla="*/ 101 w 844"/>
                  <a:gd name="T57" fmla="*/ 643 h 763"/>
                  <a:gd name="T58" fmla="*/ 66 w 844"/>
                  <a:gd name="T59" fmla="*/ 643 h 763"/>
                  <a:gd name="T60" fmla="*/ 52 w 844"/>
                  <a:gd name="T61" fmla="*/ 647 h 763"/>
                  <a:gd name="T62" fmla="*/ 33 w 844"/>
                  <a:gd name="T63" fmla="*/ 631 h 763"/>
                  <a:gd name="T64" fmla="*/ 33 w 844"/>
                  <a:gd name="T65" fmla="*/ 562 h 763"/>
                  <a:gd name="T66" fmla="*/ 33 w 844"/>
                  <a:gd name="T67" fmla="*/ 491 h 763"/>
                  <a:gd name="T68" fmla="*/ 33 w 844"/>
                  <a:gd name="T69" fmla="*/ 423 h 763"/>
                  <a:gd name="T70" fmla="*/ 33 w 844"/>
                  <a:gd name="T71" fmla="*/ 354 h 763"/>
                  <a:gd name="T72" fmla="*/ 35 w 844"/>
                  <a:gd name="T73" fmla="*/ 286 h 763"/>
                  <a:gd name="T74" fmla="*/ 26 w 844"/>
                  <a:gd name="T75" fmla="*/ 205 h 763"/>
                  <a:gd name="T76" fmla="*/ 11 w 844"/>
                  <a:gd name="T77" fmla="*/ 118 h 763"/>
                  <a:gd name="T78" fmla="*/ 0 w 844"/>
                  <a:gd name="T79" fmla="*/ 30 h 763"/>
                  <a:gd name="T80" fmla="*/ 141 w 844"/>
                  <a:gd name="T81" fmla="*/ 28 h 763"/>
                  <a:gd name="T82" fmla="*/ 283 w 844"/>
                  <a:gd name="T83" fmla="*/ 23 h 763"/>
                  <a:gd name="T84" fmla="*/ 425 w 844"/>
                  <a:gd name="T85" fmla="*/ 18 h 763"/>
                  <a:gd name="T86" fmla="*/ 567 w 844"/>
                  <a:gd name="T87" fmla="*/ 11 h 763"/>
                  <a:gd name="T88" fmla="*/ 709 w 844"/>
                  <a:gd name="T89" fmla="*/ 2 h 763"/>
                  <a:gd name="T90" fmla="*/ 773 w 844"/>
                  <a:gd name="T91" fmla="*/ 26 h 763"/>
                  <a:gd name="T92" fmla="*/ 761 w 844"/>
                  <a:gd name="T93" fmla="*/ 59 h 763"/>
                  <a:gd name="T94" fmla="*/ 737 w 844"/>
                  <a:gd name="T95" fmla="*/ 85 h 763"/>
                  <a:gd name="T96" fmla="*/ 782 w 844"/>
                  <a:gd name="T97" fmla="*/ 104 h 7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4" h="763">
                    <a:moveTo>
                      <a:pt x="841" y="99"/>
                    </a:moveTo>
                    <a:lnTo>
                      <a:pt x="839" y="104"/>
                    </a:lnTo>
                    <a:lnTo>
                      <a:pt x="844" y="111"/>
                    </a:lnTo>
                    <a:lnTo>
                      <a:pt x="844" y="115"/>
                    </a:lnTo>
                    <a:lnTo>
                      <a:pt x="841" y="120"/>
                    </a:lnTo>
                    <a:lnTo>
                      <a:pt x="836" y="120"/>
                    </a:lnTo>
                    <a:lnTo>
                      <a:pt x="832" y="123"/>
                    </a:lnTo>
                    <a:lnTo>
                      <a:pt x="832" y="127"/>
                    </a:lnTo>
                    <a:lnTo>
                      <a:pt x="832" y="130"/>
                    </a:lnTo>
                    <a:lnTo>
                      <a:pt x="832" y="132"/>
                    </a:lnTo>
                    <a:lnTo>
                      <a:pt x="832" y="137"/>
                    </a:lnTo>
                    <a:lnTo>
                      <a:pt x="829" y="141"/>
                    </a:lnTo>
                    <a:lnTo>
                      <a:pt x="810" y="153"/>
                    </a:lnTo>
                    <a:lnTo>
                      <a:pt x="803" y="170"/>
                    </a:lnTo>
                    <a:lnTo>
                      <a:pt x="808" y="189"/>
                    </a:lnTo>
                    <a:lnTo>
                      <a:pt x="803" y="208"/>
                    </a:lnTo>
                    <a:lnTo>
                      <a:pt x="787" y="227"/>
                    </a:lnTo>
                    <a:lnTo>
                      <a:pt x="780" y="248"/>
                    </a:lnTo>
                    <a:lnTo>
                      <a:pt x="784" y="271"/>
                    </a:lnTo>
                    <a:lnTo>
                      <a:pt x="777" y="290"/>
                    </a:lnTo>
                    <a:lnTo>
                      <a:pt x="758" y="307"/>
                    </a:lnTo>
                    <a:lnTo>
                      <a:pt x="754" y="316"/>
                    </a:lnTo>
                    <a:lnTo>
                      <a:pt x="754" y="316"/>
                    </a:lnTo>
                    <a:lnTo>
                      <a:pt x="754" y="324"/>
                    </a:lnTo>
                    <a:lnTo>
                      <a:pt x="756" y="328"/>
                    </a:lnTo>
                    <a:lnTo>
                      <a:pt x="749" y="338"/>
                    </a:lnTo>
                    <a:lnTo>
                      <a:pt x="735" y="350"/>
                    </a:lnTo>
                    <a:lnTo>
                      <a:pt x="725" y="359"/>
                    </a:lnTo>
                    <a:lnTo>
                      <a:pt x="725" y="368"/>
                    </a:lnTo>
                    <a:lnTo>
                      <a:pt x="721" y="373"/>
                    </a:lnTo>
                    <a:lnTo>
                      <a:pt x="714" y="376"/>
                    </a:lnTo>
                    <a:lnTo>
                      <a:pt x="711" y="390"/>
                    </a:lnTo>
                    <a:lnTo>
                      <a:pt x="709" y="423"/>
                    </a:lnTo>
                    <a:lnTo>
                      <a:pt x="702" y="444"/>
                    </a:lnTo>
                    <a:lnTo>
                      <a:pt x="688" y="449"/>
                    </a:lnTo>
                    <a:lnTo>
                      <a:pt x="680" y="456"/>
                    </a:lnTo>
                    <a:lnTo>
                      <a:pt x="680" y="468"/>
                    </a:lnTo>
                    <a:lnTo>
                      <a:pt x="671" y="480"/>
                    </a:lnTo>
                    <a:lnTo>
                      <a:pt x="657" y="494"/>
                    </a:lnTo>
                    <a:lnTo>
                      <a:pt x="652" y="506"/>
                    </a:lnTo>
                    <a:lnTo>
                      <a:pt x="657" y="517"/>
                    </a:lnTo>
                    <a:lnTo>
                      <a:pt x="657" y="522"/>
                    </a:lnTo>
                    <a:lnTo>
                      <a:pt x="652" y="527"/>
                    </a:lnTo>
                    <a:lnTo>
                      <a:pt x="636" y="534"/>
                    </a:lnTo>
                    <a:lnTo>
                      <a:pt x="633" y="536"/>
                    </a:lnTo>
                    <a:lnTo>
                      <a:pt x="631" y="541"/>
                    </a:lnTo>
                    <a:lnTo>
                      <a:pt x="633" y="546"/>
                    </a:lnTo>
                    <a:lnTo>
                      <a:pt x="638" y="555"/>
                    </a:lnTo>
                    <a:lnTo>
                      <a:pt x="636" y="572"/>
                    </a:lnTo>
                    <a:lnTo>
                      <a:pt x="631" y="577"/>
                    </a:lnTo>
                    <a:lnTo>
                      <a:pt x="628" y="584"/>
                    </a:lnTo>
                    <a:lnTo>
                      <a:pt x="614" y="595"/>
                    </a:lnTo>
                    <a:lnTo>
                      <a:pt x="610" y="605"/>
                    </a:lnTo>
                    <a:lnTo>
                      <a:pt x="617" y="610"/>
                    </a:lnTo>
                    <a:lnTo>
                      <a:pt x="617" y="617"/>
                    </a:lnTo>
                    <a:lnTo>
                      <a:pt x="610" y="624"/>
                    </a:lnTo>
                    <a:lnTo>
                      <a:pt x="612" y="631"/>
                    </a:lnTo>
                    <a:lnTo>
                      <a:pt x="614" y="636"/>
                    </a:lnTo>
                    <a:lnTo>
                      <a:pt x="621" y="640"/>
                    </a:lnTo>
                    <a:lnTo>
                      <a:pt x="624" y="655"/>
                    </a:lnTo>
                    <a:lnTo>
                      <a:pt x="619" y="671"/>
                    </a:lnTo>
                    <a:lnTo>
                      <a:pt x="621" y="683"/>
                    </a:lnTo>
                    <a:lnTo>
                      <a:pt x="631" y="695"/>
                    </a:lnTo>
                    <a:lnTo>
                      <a:pt x="633" y="699"/>
                    </a:lnTo>
                    <a:lnTo>
                      <a:pt x="626" y="737"/>
                    </a:lnTo>
                    <a:lnTo>
                      <a:pt x="626" y="742"/>
                    </a:lnTo>
                    <a:lnTo>
                      <a:pt x="593" y="744"/>
                    </a:lnTo>
                    <a:lnTo>
                      <a:pt x="560" y="747"/>
                    </a:lnTo>
                    <a:lnTo>
                      <a:pt x="529" y="747"/>
                    </a:lnTo>
                    <a:lnTo>
                      <a:pt x="496" y="749"/>
                    </a:lnTo>
                    <a:lnTo>
                      <a:pt x="465" y="751"/>
                    </a:lnTo>
                    <a:lnTo>
                      <a:pt x="432" y="751"/>
                    </a:lnTo>
                    <a:lnTo>
                      <a:pt x="401" y="754"/>
                    </a:lnTo>
                    <a:lnTo>
                      <a:pt x="368" y="754"/>
                    </a:lnTo>
                    <a:lnTo>
                      <a:pt x="338" y="756"/>
                    </a:lnTo>
                    <a:lnTo>
                      <a:pt x="305" y="756"/>
                    </a:lnTo>
                    <a:lnTo>
                      <a:pt x="274" y="759"/>
                    </a:lnTo>
                    <a:lnTo>
                      <a:pt x="241" y="759"/>
                    </a:lnTo>
                    <a:lnTo>
                      <a:pt x="210" y="761"/>
                    </a:lnTo>
                    <a:lnTo>
                      <a:pt x="177" y="761"/>
                    </a:lnTo>
                    <a:lnTo>
                      <a:pt x="146" y="761"/>
                    </a:lnTo>
                    <a:lnTo>
                      <a:pt x="113" y="763"/>
                    </a:lnTo>
                    <a:lnTo>
                      <a:pt x="113" y="735"/>
                    </a:lnTo>
                    <a:lnTo>
                      <a:pt x="111" y="707"/>
                    </a:lnTo>
                    <a:lnTo>
                      <a:pt x="111" y="676"/>
                    </a:lnTo>
                    <a:lnTo>
                      <a:pt x="111" y="647"/>
                    </a:lnTo>
                    <a:lnTo>
                      <a:pt x="101" y="643"/>
                    </a:lnTo>
                    <a:lnTo>
                      <a:pt x="85" y="643"/>
                    </a:lnTo>
                    <a:lnTo>
                      <a:pt x="75" y="643"/>
                    </a:lnTo>
                    <a:lnTo>
                      <a:pt x="66" y="643"/>
                    </a:lnTo>
                    <a:lnTo>
                      <a:pt x="59" y="647"/>
                    </a:lnTo>
                    <a:lnTo>
                      <a:pt x="54" y="647"/>
                    </a:lnTo>
                    <a:lnTo>
                      <a:pt x="52" y="647"/>
                    </a:lnTo>
                    <a:lnTo>
                      <a:pt x="49" y="643"/>
                    </a:lnTo>
                    <a:lnTo>
                      <a:pt x="42" y="640"/>
                    </a:lnTo>
                    <a:lnTo>
                      <a:pt x="33" y="631"/>
                    </a:lnTo>
                    <a:lnTo>
                      <a:pt x="33" y="607"/>
                    </a:lnTo>
                    <a:lnTo>
                      <a:pt x="33" y="584"/>
                    </a:lnTo>
                    <a:lnTo>
                      <a:pt x="33" y="562"/>
                    </a:lnTo>
                    <a:lnTo>
                      <a:pt x="33" y="539"/>
                    </a:lnTo>
                    <a:lnTo>
                      <a:pt x="33" y="515"/>
                    </a:lnTo>
                    <a:lnTo>
                      <a:pt x="33" y="491"/>
                    </a:lnTo>
                    <a:lnTo>
                      <a:pt x="33" y="470"/>
                    </a:lnTo>
                    <a:lnTo>
                      <a:pt x="33" y="446"/>
                    </a:lnTo>
                    <a:lnTo>
                      <a:pt x="33" y="423"/>
                    </a:lnTo>
                    <a:lnTo>
                      <a:pt x="33" y="402"/>
                    </a:lnTo>
                    <a:lnTo>
                      <a:pt x="33" y="378"/>
                    </a:lnTo>
                    <a:lnTo>
                      <a:pt x="33" y="354"/>
                    </a:lnTo>
                    <a:lnTo>
                      <a:pt x="33" y="333"/>
                    </a:lnTo>
                    <a:lnTo>
                      <a:pt x="35" y="309"/>
                    </a:lnTo>
                    <a:lnTo>
                      <a:pt x="35" y="286"/>
                    </a:lnTo>
                    <a:lnTo>
                      <a:pt x="35" y="264"/>
                    </a:lnTo>
                    <a:lnTo>
                      <a:pt x="30" y="234"/>
                    </a:lnTo>
                    <a:lnTo>
                      <a:pt x="26" y="205"/>
                    </a:lnTo>
                    <a:lnTo>
                      <a:pt x="21" y="177"/>
                    </a:lnTo>
                    <a:lnTo>
                      <a:pt x="16" y="146"/>
                    </a:lnTo>
                    <a:lnTo>
                      <a:pt x="11" y="118"/>
                    </a:lnTo>
                    <a:lnTo>
                      <a:pt x="9" y="87"/>
                    </a:lnTo>
                    <a:lnTo>
                      <a:pt x="4" y="59"/>
                    </a:lnTo>
                    <a:lnTo>
                      <a:pt x="0" y="30"/>
                    </a:lnTo>
                    <a:lnTo>
                      <a:pt x="47" y="28"/>
                    </a:lnTo>
                    <a:lnTo>
                      <a:pt x="94" y="28"/>
                    </a:lnTo>
                    <a:lnTo>
                      <a:pt x="141" y="28"/>
                    </a:lnTo>
                    <a:lnTo>
                      <a:pt x="189" y="26"/>
                    </a:lnTo>
                    <a:lnTo>
                      <a:pt x="236" y="23"/>
                    </a:lnTo>
                    <a:lnTo>
                      <a:pt x="283" y="23"/>
                    </a:lnTo>
                    <a:lnTo>
                      <a:pt x="331" y="21"/>
                    </a:lnTo>
                    <a:lnTo>
                      <a:pt x="378" y="18"/>
                    </a:lnTo>
                    <a:lnTo>
                      <a:pt x="425" y="18"/>
                    </a:lnTo>
                    <a:lnTo>
                      <a:pt x="472" y="16"/>
                    </a:lnTo>
                    <a:lnTo>
                      <a:pt x="520" y="14"/>
                    </a:lnTo>
                    <a:lnTo>
                      <a:pt x="567" y="11"/>
                    </a:lnTo>
                    <a:lnTo>
                      <a:pt x="614" y="9"/>
                    </a:lnTo>
                    <a:lnTo>
                      <a:pt x="662" y="7"/>
                    </a:lnTo>
                    <a:lnTo>
                      <a:pt x="709" y="2"/>
                    </a:lnTo>
                    <a:lnTo>
                      <a:pt x="756" y="0"/>
                    </a:lnTo>
                    <a:lnTo>
                      <a:pt x="763" y="16"/>
                    </a:lnTo>
                    <a:lnTo>
                      <a:pt x="773" y="26"/>
                    </a:lnTo>
                    <a:lnTo>
                      <a:pt x="775" y="33"/>
                    </a:lnTo>
                    <a:lnTo>
                      <a:pt x="773" y="42"/>
                    </a:lnTo>
                    <a:lnTo>
                      <a:pt x="761" y="59"/>
                    </a:lnTo>
                    <a:lnTo>
                      <a:pt x="751" y="68"/>
                    </a:lnTo>
                    <a:lnTo>
                      <a:pt x="744" y="78"/>
                    </a:lnTo>
                    <a:lnTo>
                      <a:pt x="737" y="85"/>
                    </a:lnTo>
                    <a:lnTo>
                      <a:pt x="725" y="108"/>
                    </a:lnTo>
                    <a:lnTo>
                      <a:pt x="754" y="106"/>
                    </a:lnTo>
                    <a:lnTo>
                      <a:pt x="782" y="104"/>
                    </a:lnTo>
                    <a:lnTo>
                      <a:pt x="808" y="101"/>
                    </a:lnTo>
                    <a:lnTo>
                      <a:pt x="841" y="9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7" name="Freeform 45">
                <a:extLst>
                  <a:ext uri="{FF2B5EF4-FFF2-40B4-BE49-F238E27FC236}">
                    <a16:creationId xmlns:a16="http://schemas.microsoft.com/office/drawing/2014/main" id="{E7A34CDA-938E-9591-5D4A-8041382A90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2" y="1438"/>
                <a:ext cx="1155" cy="1328"/>
              </a:xfrm>
              <a:custGeom>
                <a:avLst/>
                <a:gdLst>
                  <a:gd name="T0" fmla="*/ 1144 w 1155"/>
                  <a:gd name="T1" fmla="*/ 220 h 1328"/>
                  <a:gd name="T2" fmla="*/ 1122 w 1155"/>
                  <a:gd name="T3" fmla="*/ 366 h 1328"/>
                  <a:gd name="T4" fmla="*/ 1101 w 1155"/>
                  <a:gd name="T5" fmla="*/ 513 h 1328"/>
                  <a:gd name="T6" fmla="*/ 1080 w 1155"/>
                  <a:gd name="T7" fmla="*/ 662 h 1328"/>
                  <a:gd name="T8" fmla="*/ 1058 w 1155"/>
                  <a:gd name="T9" fmla="*/ 811 h 1328"/>
                  <a:gd name="T10" fmla="*/ 1037 w 1155"/>
                  <a:gd name="T11" fmla="*/ 957 h 1328"/>
                  <a:gd name="T12" fmla="*/ 1016 w 1155"/>
                  <a:gd name="T13" fmla="*/ 1106 h 1328"/>
                  <a:gd name="T14" fmla="*/ 995 w 1155"/>
                  <a:gd name="T15" fmla="*/ 1255 h 1328"/>
                  <a:gd name="T16" fmla="*/ 943 w 1155"/>
                  <a:gd name="T17" fmla="*/ 1324 h 1328"/>
                  <a:gd name="T18" fmla="*/ 815 w 1155"/>
                  <a:gd name="T19" fmla="*/ 1305 h 1328"/>
                  <a:gd name="T20" fmla="*/ 687 w 1155"/>
                  <a:gd name="T21" fmla="*/ 1284 h 1328"/>
                  <a:gd name="T22" fmla="*/ 546 w 1155"/>
                  <a:gd name="T23" fmla="*/ 1229 h 1328"/>
                  <a:gd name="T24" fmla="*/ 387 w 1155"/>
                  <a:gd name="T25" fmla="*/ 1137 h 1328"/>
                  <a:gd name="T26" fmla="*/ 231 w 1155"/>
                  <a:gd name="T27" fmla="*/ 1042 h 1328"/>
                  <a:gd name="T28" fmla="*/ 75 w 1155"/>
                  <a:gd name="T29" fmla="*/ 948 h 1328"/>
                  <a:gd name="T30" fmla="*/ 9 w 1155"/>
                  <a:gd name="T31" fmla="*/ 891 h 1328"/>
                  <a:gd name="T32" fmla="*/ 28 w 1155"/>
                  <a:gd name="T33" fmla="*/ 860 h 1328"/>
                  <a:gd name="T34" fmla="*/ 54 w 1155"/>
                  <a:gd name="T35" fmla="*/ 863 h 1328"/>
                  <a:gd name="T36" fmla="*/ 75 w 1155"/>
                  <a:gd name="T37" fmla="*/ 844 h 1328"/>
                  <a:gd name="T38" fmla="*/ 80 w 1155"/>
                  <a:gd name="T39" fmla="*/ 815 h 1328"/>
                  <a:gd name="T40" fmla="*/ 56 w 1155"/>
                  <a:gd name="T41" fmla="*/ 792 h 1328"/>
                  <a:gd name="T42" fmla="*/ 54 w 1155"/>
                  <a:gd name="T43" fmla="*/ 735 h 1328"/>
                  <a:gd name="T44" fmla="*/ 70 w 1155"/>
                  <a:gd name="T45" fmla="*/ 716 h 1328"/>
                  <a:gd name="T46" fmla="*/ 92 w 1155"/>
                  <a:gd name="T47" fmla="*/ 700 h 1328"/>
                  <a:gd name="T48" fmla="*/ 108 w 1155"/>
                  <a:gd name="T49" fmla="*/ 669 h 1328"/>
                  <a:gd name="T50" fmla="*/ 115 w 1155"/>
                  <a:gd name="T51" fmla="*/ 624 h 1328"/>
                  <a:gd name="T52" fmla="*/ 156 w 1155"/>
                  <a:gd name="T53" fmla="*/ 581 h 1328"/>
                  <a:gd name="T54" fmla="*/ 198 w 1155"/>
                  <a:gd name="T55" fmla="*/ 558 h 1328"/>
                  <a:gd name="T56" fmla="*/ 198 w 1155"/>
                  <a:gd name="T57" fmla="*/ 553 h 1328"/>
                  <a:gd name="T58" fmla="*/ 172 w 1155"/>
                  <a:gd name="T59" fmla="*/ 522 h 1328"/>
                  <a:gd name="T60" fmla="*/ 165 w 1155"/>
                  <a:gd name="T61" fmla="*/ 499 h 1328"/>
                  <a:gd name="T62" fmla="*/ 163 w 1155"/>
                  <a:gd name="T63" fmla="*/ 487 h 1328"/>
                  <a:gd name="T64" fmla="*/ 141 w 1155"/>
                  <a:gd name="T65" fmla="*/ 413 h 1328"/>
                  <a:gd name="T66" fmla="*/ 146 w 1155"/>
                  <a:gd name="T67" fmla="*/ 394 h 1328"/>
                  <a:gd name="T68" fmla="*/ 158 w 1155"/>
                  <a:gd name="T69" fmla="*/ 295 h 1328"/>
                  <a:gd name="T70" fmla="*/ 167 w 1155"/>
                  <a:gd name="T71" fmla="*/ 262 h 1328"/>
                  <a:gd name="T72" fmla="*/ 165 w 1155"/>
                  <a:gd name="T73" fmla="*/ 241 h 1328"/>
                  <a:gd name="T74" fmla="*/ 172 w 1155"/>
                  <a:gd name="T75" fmla="*/ 203 h 1328"/>
                  <a:gd name="T76" fmla="*/ 167 w 1155"/>
                  <a:gd name="T77" fmla="*/ 182 h 1328"/>
                  <a:gd name="T78" fmla="*/ 184 w 1155"/>
                  <a:gd name="T79" fmla="*/ 160 h 1328"/>
                  <a:gd name="T80" fmla="*/ 212 w 1155"/>
                  <a:gd name="T81" fmla="*/ 160 h 1328"/>
                  <a:gd name="T82" fmla="*/ 241 w 1155"/>
                  <a:gd name="T83" fmla="*/ 175 h 1328"/>
                  <a:gd name="T84" fmla="*/ 252 w 1155"/>
                  <a:gd name="T85" fmla="*/ 196 h 1328"/>
                  <a:gd name="T86" fmla="*/ 274 w 1155"/>
                  <a:gd name="T87" fmla="*/ 189 h 1328"/>
                  <a:gd name="T88" fmla="*/ 290 w 1155"/>
                  <a:gd name="T89" fmla="*/ 170 h 1328"/>
                  <a:gd name="T90" fmla="*/ 326 w 1155"/>
                  <a:gd name="T91" fmla="*/ 0 h 1328"/>
                  <a:gd name="T92" fmla="*/ 427 w 1155"/>
                  <a:gd name="T93" fmla="*/ 21 h 1328"/>
                  <a:gd name="T94" fmla="*/ 531 w 1155"/>
                  <a:gd name="T95" fmla="*/ 42 h 1328"/>
                  <a:gd name="T96" fmla="*/ 635 w 1155"/>
                  <a:gd name="T97" fmla="*/ 61 h 1328"/>
                  <a:gd name="T98" fmla="*/ 739 w 1155"/>
                  <a:gd name="T99" fmla="*/ 78 h 1328"/>
                  <a:gd name="T100" fmla="*/ 843 w 1155"/>
                  <a:gd name="T101" fmla="*/ 97 h 1328"/>
                  <a:gd name="T102" fmla="*/ 947 w 1155"/>
                  <a:gd name="T103" fmla="*/ 113 h 1328"/>
                  <a:gd name="T104" fmla="*/ 1051 w 1155"/>
                  <a:gd name="T105" fmla="*/ 130 h 1328"/>
                  <a:gd name="T106" fmla="*/ 1155 w 1155"/>
                  <a:gd name="T107" fmla="*/ 144 h 1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55" h="1328">
                    <a:moveTo>
                      <a:pt x="1155" y="144"/>
                    </a:moveTo>
                    <a:lnTo>
                      <a:pt x="1144" y="220"/>
                    </a:lnTo>
                    <a:lnTo>
                      <a:pt x="1134" y="293"/>
                    </a:lnTo>
                    <a:lnTo>
                      <a:pt x="1122" y="366"/>
                    </a:lnTo>
                    <a:lnTo>
                      <a:pt x="1110" y="439"/>
                    </a:lnTo>
                    <a:lnTo>
                      <a:pt x="1101" y="513"/>
                    </a:lnTo>
                    <a:lnTo>
                      <a:pt x="1089" y="588"/>
                    </a:lnTo>
                    <a:lnTo>
                      <a:pt x="1080" y="662"/>
                    </a:lnTo>
                    <a:lnTo>
                      <a:pt x="1068" y="735"/>
                    </a:lnTo>
                    <a:lnTo>
                      <a:pt x="1058" y="811"/>
                    </a:lnTo>
                    <a:lnTo>
                      <a:pt x="1047" y="884"/>
                    </a:lnTo>
                    <a:lnTo>
                      <a:pt x="1037" y="957"/>
                    </a:lnTo>
                    <a:lnTo>
                      <a:pt x="1025" y="1031"/>
                    </a:lnTo>
                    <a:lnTo>
                      <a:pt x="1016" y="1106"/>
                    </a:lnTo>
                    <a:lnTo>
                      <a:pt x="1004" y="1180"/>
                    </a:lnTo>
                    <a:lnTo>
                      <a:pt x="995" y="1255"/>
                    </a:lnTo>
                    <a:lnTo>
                      <a:pt x="983" y="1328"/>
                    </a:lnTo>
                    <a:lnTo>
                      <a:pt x="943" y="1324"/>
                    </a:lnTo>
                    <a:lnTo>
                      <a:pt x="879" y="1314"/>
                    </a:lnTo>
                    <a:lnTo>
                      <a:pt x="815" y="1305"/>
                    </a:lnTo>
                    <a:lnTo>
                      <a:pt x="751" y="1293"/>
                    </a:lnTo>
                    <a:lnTo>
                      <a:pt x="687" y="1284"/>
                    </a:lnTo>
                    <a:lnTo>
                      <a:pt x="626" y="1274"/>
                    </a:lnTo>
                    <a:lnTo>
                      <a:pt x="546" y="1229"/>
                    </a:lnTo>
                    <a:lnTo>
                      <a:pt x="465" y="1182"/>
                    </a:lnTo>
                    <a:lnTo>
                      <a:pt x="387" y="1137"/>
                    </a:lnTo>
                    <a:lnTo>
                      <a:pt x="309" y="1090"/>
                    </a:lnTo>
                    <a:lnTo>
                      <a:pt x="231" y="1042"/>
                    </a:lnTo>
                    <a:lnTo>
                      <a:pt x="153" y="995"/>
                    </a:lnTo>
                    <a:lnTo>
                      <a:pt x="75" y="948"/>
                    </a:lnTo>
                    <a:lnTo>
                      <a:pt x="0" y="900"/>
                    </a:lnTo>
                    <a:lnTo>
                      <a:pt x="9" y="891"/>
                    </a:lnTo>
                    <a:lnTo>
                      <a:pt x="28" y="863"/>
                    </a:lnTo>
                    <a:lnTo>
                      <a:pt x="28" y="860"/>
                    </a:lnTo>
                    <a:lnTo>
                      <a:pt x="28" y="860"/>
                    </a:lnTo>
                    <a:lnTo>
                      <a:pt x="54" y="863"/>
                    </a:lnTo>
                    <a:lnTo>
                      <a:pt x="66" y="858"/>
                    </a:lnTo>
                    <a:lnTo>
                      <a:pt x="75" y="844"/>
                    </a:lnTo>
                    <a:lnTo>
                      <a:pt x="80" y="830"/>
                    </a:lnTo>
                    <a:lnTo>
                      <a:pt x="80" y="815"/>
                    </a:lnTo>
                    <a:lnTo>
                      <a:pt x="70" y="801"/>
                    </a:lnTo>
                    <a:lnTo>
                      <a:pt x="56" y="792"/>
                    </a:lnTo>
                    <a:lnTo>
                      <a:pt x="52" y="768"/>
                    </a:lnTo>
                    <a:lnTo>
                      <a:pt x="54" y="735"/>
                    </a:lnTo>
                    <a:lnTo>
                      <a:pt x="61" y="718"/>
                    </a:lnTo>
                    <a:lnTo>
                      <a:pt x="70" y="716"/>
                    </a:lnTo>
                    <a:lnTo>
                      <a:pt x="80" y="711"/>
                    </a:lnTo>
                    <a:lnTo>
                      <a:pt x="92" y="700"/>
                    </a:lnTo>
                    <a:lnTo>
                      <a:pt x="101" y="685"/>
                    </a:lnTo>
                    <a:lnTo>
                      <a:pt x="108" y="669"/>
                    </a:lnTo>
                    <a:lnTo>
                      <a:pt x="113" y="650"/>
                    </a:lnTo>
                    <a:lnTo>
                      <a:pt x="115" y="624"/>
                    </a:lnTo>
                    <a:lnTo>
                      <a:pt x="137" y="598"/>
                    </a:lnTo>
                    <a:lnTo>
                      <a:pt x="156" y="581"/>
                    </a:lnTo>
                    <a:lnTo>
                      <a:pt x="189" y="565"/>
                    </a:lnTo>
                    <a:lnTo>
                      <a:pt x="198" y="558"/>
                    </a:lnTo>
                    <a:lnTo>
                      <a:pt x="198" y="553"/>
                    </a:lnTo>
                    <a:lnTo>
                      <a:pt x="198" y="553"/>
                    </a:lnTo>
                    <a:lnTo>
                      <a:pt x="196" y="543"/>
                    </a:lnTo>
                    <a:lnTo>
                      <a:pt x="172" y="522"/>
                    </a:lnTo>
                    <a:lnTo>
                      <a:pt x="165" y="508"/>
                    </a:lnTo>
                    <a:lnTo>
                      <a:pt x="165" y="499"/>
                    </a:lnTo>
                    <a:lnTo>
                      <a:pt x="165" y="496"/>
                    </a:lnTo>
                    <a:lnTo>
                      <a:pt x="163" y="487"/>
                    </a:lnTo>
                    <a:lnTo>
                      <a:pt x="146" y="439"/>
                    </a:lnTo>
                    <a:lnTo>
                      <a:pt x="141" y="413"/>
                    </a:lnTo>
                    <a:lnTo>
                      <a:pt x="144" y="397"/>
                    </a:lnTo>
                    <a:lnTo>
                      <a:pt x="146" y="394"/>
                    </a:lnTo>
                    <a:lnTo>
                      <a:pt x="163" y="321"/>
                    </a:lnTo>
                    <a:lnTo>
                      <a:pt x="158" y="295"/>
                    </a:lnTo>
                    <a:lnTo>
                      <a:pt x="160" y="281"/>
                    </a:lnTo>
                    <a:lnTo>
                      <a:pt x="167" y="262"/>
                    </a:lnTo>
                    <a:lnTo>
                      <a:pt x="167" y="253"/>
                    </a:lnTo>
                    <a:lnTo>
                      <a:pt x="165" y="241"/>
                    </a:lnTo>
                    <a:lnTo>
                      <a:pt x="167" y="224"/>
                    </a:lnTo>
                    <a:lnTo>
                      <a:pt x="172" y="203"/>
                    </a:lnTo>
                    <a:lnTo>
                      <a:pt x="167" y="186"/>
                    </a:lnTo>
                    <a:lnTo>
                      <a:pt x="167" y="182"/>
                    </a:lnTo>
                    <a:lnTo>
                      <a:pt x="174" y="168"/>
                    </a:lnTo>
                    <a:lnTo>
                      <a:pt x="184" y="160"/>
                    </a:lnTo>
                    <a:lnTo>
                      <a:pt x="198" y="158"/>
                    </a:lnTo>
                    <a:lnTo>
                      <a:pt x="212" y="160"/>
                    </a:lnTo>
                    <a:lnTo>
                      <a:pt x="229" y="165"/>
                    </a:lnTo>
                    <a:lnTo>
                      <a:pt x="241" y="175"/>
                    </a:lnTo>
                    <a:lnTo>
                      <a:pt x="245" y="186"/>
                    </a:lnTo>
                    <a:lnTo>
                      <a:pt x="252" y="196"/>
                    </a:lnTo>
                    <a:lnTo>
                      <a:pt x="260" y="196"/>
                    </a:lnTo>
                    <a:lnTo>
                      <a:pt x="274" y="189"/>
                    </a:lnTo>
                    <a:lnTo>
                      <a:pt x="288" y="170"/>
                    </a:lnTo>
                    <a:lnTo>
                      <a:pt x="290" y="170"/>
                    </a:lnTo>
                    <a:lnTo>
                      <a:pt x="309" y="82"/>
                    </a:lnTo>
                    <a:lnTo>
                      <a:pt x="326" y="0"/>
                    </a:lnTo>
                    <a:lnTo>
                      <a:pt x="378" y="11"/>
                    </a:lnTo>
                    <a:lnTo>
                      <a:pt x="427" y="21"/>
                    </a:lnTo>
                    <a:lnTo>
                      <a:pt x="479" y="30"/>
                    </a:lnTo>
                    <a:lnTo>
                      <a:pt x="531" y="42"/>
                    </a:lnTo>
                    <a:lnTo>
                      <a:pt x="583" y="52"/>
                    </a:lnTo>
                    <a:lnTo>
                      <a:pt x="635" y="61"/>
                    </a:lnTo>
                    <a:lnTo>
                      <a:pt x="687" y="71"/>
                    </a:lnTo>
                    <a:lnTo>
                      <a:pt x="739" y="78"/>
                    </a:lnTo>
                    <a:lnTo>
                      <a:pt x="791" y="87"/>
                    </a:lnTo>
                    <a:lnTo>
                      <a:pt x="843" y="97"/>
                    </a:lnTo>
                    <a:lnTo>
                      <a:pt x="895" y="104"/>
                    </a:lnTo>
                    <a:lnTo>
                      <a:pt x="947" y="113"/>
                    </a:lnTo>
                    <a:lnTo>
                      <a:pt x="999" y="120"/>
                    </a:lnTo>
                    <a:lnTo>
                      <a:pt x="1051" y="130"/>
                    </a:lnTo>
                    <a:lnTo>
                      <a:pt x="1103" y="137"/>
                    </a:lnTo>
                    <a:lnTo>
                      <a:pt x="1155" y="1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8" name="Freeform 46">
                <a:extLst>
                  <a:ext uri="{FF2B5EF4-FFF2-40B4-BE49-F238E27FC236}">
                    <a16:creationId xmlns:a16="http://schemas.microsoft.com/office/drawing/2014/main" id="{8B24EA67-4527-657C-A4B8-4A465DAA3E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0" y="7"/>
                <a:ext cx="1340" cy="2294"/>
              </a:xfrm>
              <a:custGeom>
                <a:avLst/>
                <a:gdLst>
                  <a:gd name="T0" fmla="*/ 723 w 1340"/>
                  <a:gd name="T1" fmla="*/ 341 h 2294"/>
                  <a:gd name="T2" fmla="*/ 671 w 1340"/>
                  <a:gd name="T3" fmla="*/ 530 h 2294"/>
                  <a:gd name="T4" fmla="*/ 619 w 1340"/>
                  <a:gd name="T5" fmla="*/ 721 h 2294"/>
                  <a:gd name="T6" fmla="*/ 683 w 1340"/>
                  <a:gd name="T7" fmla="*/ 925 h 2294"/>
                  <a:gd name="T8" fmla="*/ 829 w 1340"/>
                  <a:gd name="T9" fmla="*/ 1140 h 2294"/>
                  <a:gd name="T10" fmla="*/ 945 w 1340"/>
                  <a:gd name="T11" fmla="*/ 1317 h 2294"/>
                  <a:gd name="T12" fmla="*/ 1080 w 1340"/>
                  <a:gd name="T13" fmla="*/ 1523 h 2294"/>
                  <a:gd name="T14" fmla="*/ 1250 w 1340"/>
                  <a:gd name="T15" fmla="*/ 1773 h 2294"/>
                  <a:gd name="T16" fmla="*/ 1307 w 1340"/>
                  <a:gd name="T17" fmla="*/ 1927 h 2294"/>
                  <a:gd name="T18" fmla="*/ 1340 w 1340"/>
                  <a:gd name="T19" fmla="*/ 1984 h 2294"/>
                  <a:gd name="T20" fmla="*/ 1279 w 1340"/>
                  <a:gd name="T21" fmla="*/ 2029 h 2294"/>
                  <a:gd name="T22" fmla="*/ 1234 w 1340"/>
                  <a:gd name="T23" fmla="*/ 2131 h 2294"/>
                  <a:gd name="T24" fmla="*/ 1191 w 1340"/>
                  <a:gd name="T25" fmla="*/ 2199 h 2294"/>
                  <a:gd name="T26" fmla="*/ 1217 w 1340"/>
                  <a:gd name="T27" fmla="*/ 2275 h 2294"/>
                  <a:gd name="T28" fmla="*/ 1170 w 1340"/>
                  <a:gd name="T29" fmla="*/ 2294 h 2294"/>
                  <a:gd name="T30" fmla="*/ 945 w 1340"/>
                  <a:gd name="T31" fmla="*/ 2265 h 2294"/>
                  <a:gd name="T32" fmla="*/ 742 w 1340"/>
                  <a:gd name="T33" fmla="*/ 2237 h 2294"/>
                  <a:gd name="T34" fmla="*/ 737 w 1340"/>
                  <a:gd name="T35" fmla="*/ 2161 h 2294"/>
                  <a:gd name="T36" fmla="*/ 652 w 1340"/>
                  <a:gd name="T37" fmla="*/ 1979 h 2294"/>
                  <a:gd name="T38" fmla="*/ 581 w 1340"/>
                  <a:gd name="T39" fmla="*/ 1934 h 2294"/>
                  <a:gd name="T40" fmla="*/ 475 w 1340"/>
                  <a:gd name="T41" fmla="*/ 1828 h 2294"/>
                  <a:gd name="T42" fmla="*/ 395 w 1340"/>
                  <a:gd name="T43" fmla="*/ 1745 h 2294"/>
                  <a:gd name="T44" fmla="*/ 269 w 1340"/>
                  <a:gd name="T45" fmla="*/ 1695 h 2294"/>
                  <a:gd name="T46" fmla="*/ 265 w 1340"/>
                  <a:gd name="T47" fmla="*/ 1620 h 2294"/>
                  <a:gd name="T48" fmla="*/ 248 w 1340"/>
                  <a:gd name="T49" fmla="*/ 1528 h 2294"/>
                  <a:gd name="T50" fmla="*/ 224 w 1340"/>
                  <a:gd name="T51" fmla="*/ 1433 h 2294"/>
                  <a:gd name="T52" fmla="*/ 170 w 1340"/>
                  <a:gd name="T53" fmla="*/ 1298 h 2294"/>
                  <a:gd name="T54" fmla="*/ 184 w 1340"/>
                  <a:gd name="T55" fmla="*/ 1175 h 2294"/>
                  <a:gd name="T56" fmla="*/ 113 w 1340"/>
                  <a:gd name="T57" fmla="*/ 1050 h 2294"/>
                  <a:gd name="T58" fmla="*/ 142 w 1340"/>
                  <a:gd name="T59" fmla="*/ 929 h 2294"/>
                  <a:gd name="T60" fmla="*/ 161 w 1340"/>
                  <a:gd name="T61" fmla="*/ 986 h 2294"/>
                  <a:gd name="T62" fmla="*/ 177 w 1340"/>
                  <a:gd name="T63" fmla="*/ 996 h 2294"/>
                  <a:gd name="T64" fmla="*/ 161 w 1340"/>
                  <a:gd name="T65" fmla="*/ 908 h 2294"/>
                  <a:gd name="T66" fmla="*/ 272 w 1340"/>
                  <a:gd name="T67" fmla="*/ 915 h 2294"/>
                  <a:gd name="T68" fmla="*/ 279 w 1340"/>
                  <a:gd name="T69" fmla="*/ 908 h 2294"/>
                  <a:gd name="T70" fmla="*/ 227 w 1340"/>
                  <a:gd name="T71" fmla="*/ 882 h 2294"/>
                  <a:gd name="T72" fmla="*/ 153 w 1340"/>
                  <a:gd name="T73" fmla="*/ 866 h 2294"/>
                  <a:gd name="T74" fmla="*/ 109 w 1340"/>
                  <a:gd name="T75" fmla="*/ 896 h 2294"/>
                  <a:gd name="T76" fmla="*/ 66 w 1340"/>
                  <a:gd name="T77" fmla="*/ 858 h 2294"/>
                  <a:gd name="T78" fmla="*/ 85 w 1340"/>
                  <a:gd name="T79" fmla="*/ 806 h 2294"/>
                  <a:gd name="T80" fmla="*/ 12 w 1340"/>
                  <a:gd name="T81" fmla="*/ 646 h 2294"/>
                  <a:gd name="T82" fmla="*/ 45 w 1340"/>
                  <a:gd name="T83" fmla="*/ 464 h 2294"/>
                  <a:gd name="T84" fmla="*/ 7 w 1340"/>
                  <a:gd name="T85" fmla="*/ 296 h 2294"/>
                  <a:gd name="T86" fmla="*/ 40 w 1340"/>
                  <a:gd name="T87" fmla="*/ 258 h 2294"/>
                  <a:gd name="T88" fmla="*/ 49 w 1340"/>
                  <a:gd name="T89" fmla="*/ 241 h 2294"/>
                  <a:gd name="T90" fmla="*/ 116 w 1340"/>
                  <a:gd name="T91" fmla="*/ 116 h 2294"/>
                  <a:gd name="T92" fmla="*/ 127 w 1340"/>
                  <a:gd name="T93" fmla="*/ 2 h 2294"/>
                  <a:gd name="T94" fmla="*/ 286 w 1340"/>
                  <a:gd name="T95" fmla="*/ 50 h 2294"/>
                  <a:gd name="T96" fmla="*/ 484 w 1340"/>
                  <a:gd name="T97" fmla="*/ 109 h 2294"/>
                  <a:gd name="T98" fmla="*/ 683 w 1340"/>
                  <a:gd name="T99" fmla="*/ 166 h 2294"/>
                  <a:gd name="T100" fmla="*/ 399 w 1340"/>
                  <a:gd name="T101" fmla="*/ 1821 h 2294"/>
                  <a:gd name="T102" fmla="*/ 345 w 1340"/>
                  <a:gd name="T103" fmla="*/ 1811 h 2294"/>
                  <a:gd name="T104" fmla="*/ 250 w 1340"/>
                  <a:gd name="T105" fmla="*/ 1785 h 2294"/>
                  <a:gd name="T106" fmla="*/ 312 w 1340"/>
                  <a:gd name="T107" fmla="*/ 1825 h 2294"/>
                  <a:gd name="T108" fmla="*/ 324 w 1340"/>
                  <a:gd name="T109" fmla="*/ 1816 h 2294"/>
                  <a:gd name="T110" fmla="*/ 567 w 1340"/>
                  <a:gd name="T111" fmla="*/ 2022 h 2294"/>
                  <a:gd name="T112" fmla="*/ 539 w 1340"/>
                  <a:gd name="T113" fmla="*/ 1991 h 2294"/>
                  <a:gd name="T114" fmla="*/ 574 w 1340"/>
                  <a:gd name="T115" fmla="*/ 2010 h 2294"/>
                  <a:gd name="T116" fmla="*/ 366 w 1340"/>
                  <a:gd name="T117" fmla="*/ 1979 h 2294"/>
                  <a:gd name="T118" fmla="*/ 534 w 1340"/>
                  <a:gd name="T119" fmla="*/ 2123 h 2294"/>
                  <a:gd name="T120" fmla="*/ 525 w 1340"/>
                  <a:gd name="T121" fmla="*/ 2090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40" h="2294">
                    <a:moveTo>
                      <a:pt x="763" y="187"/>
                    </a:moveTo>
                    <a:lnTo>
                      <a:pt x="754" y="225"/>
                    </a:lnTo>
                    <a:lnTo>
                      <a:pt x="742" y="263"/>
                    </a:lnTo>
                    <a:lnTo>
                      <a:pt x="733" y="300"/>
                    </a:lnTo>
                    <a:lnTo>
                      <a:pt x="723" y="341"/>
                    </a:lnTo>
                    <a:lnTo>
                      <a:pt x="711" y="378"/>
                    </a:lnTo>
                    <a:lnTo>
                      <a:pt x="702" y="416"/>
                    </a:lnTo>
                    <a:lnTo>
                      <a:pt x="690" y="454"/>
                    </a:lnTo>
                    <a:lnTo>
                      <a:pt x="681" y="492"/>
                    </a:lnTo>
                    <a:lnTo>
                      <a:pt x="671" y="530"/>
                    </a:lnTo>
                    <a:lnTo>
                      <a:pt x="659" y="568"/>
                    </a:lnTo>
                    <a:lnTo>
                      <a:pt x="650" y="605"/>
                    </a:lnTo>
                    <a:lnTo>
                      <a:pt x="640" y="643"/>
                    </a:lnTo>
                    <a:lnTo>
                      <a:pt x="629" y="681"/>
                    </a:lnTo>
                    <a:lnTo>
                      <a:pt x="619" y="721"/>
                    </a:lnTo>
                    <a:lnTo>
                      <a:pt x="610" y="759"/>
                    </a:lnTo>
                    <a:lnTo>
                      <a:pt x="598" y="797"/>
                    </a:lnTo>
                    <a:lnTo>
                      <a:pt x="626" y="840"/>
                    </a:lnTo>
                    <a:lnTo>
                      <a:pt x="655" y="882"/>
                    </a:lnTo>
                    <a:lnTo>
                      <a:pt x="683" y="925"/>
                    </a:lnTo>
                    <a:lnTo>
                      <a:pt x="711" y="970"/>
                    </a:lnTo>
                    <a:lnTo>
                      <a:pt x="742" y="1012"/>
                    </a:lnTo>
                    <a:lnTo>
                      <a:pt x="770" y="1055"/>
                    </a:lnTo>
                    <a:lnTo>
                      <a:pt x="801" y="1097"/>
                    </a:lnTo>
                    <a:lnTo>
                      <a:pt x="829" y="1140"/>
                    </a:lnTo>
                    <a:lnTo>
                      <a:pt x="853" y="1175"/>
                    </a:lnTo>
                    <a:lnTo>
                      <a:pt x="874" y="1211"/>
                    </a:lnTo>
                    <a:lnTo>
                      <a:pt x="898" y="1246"/>
                    </a:lnTo>
                    <a:lnTo>
                      <a:pt x="922" y="1282"/>
                    </a:lnTo>
                    <a:lnTo>
                      <a:pt x="945" y="1317"/>
                    </a:lnTo>
                    <a:lnTo>
                      <a:pt x="969" y="1353"/>
                    </a:lnTo>
                    <a:lnTo>
                      <a:pt x="993" y="1388"/>
                    </a:lnTo>
                    <a:lnTo>
                      <a:pt x="1016" y="1424"/>
                    </a:lnTo>
                    <a:lnTo>
                      <a:pt x="1047" y="1473"/>
                    </a:lnTo>
                    <a:lnTo>
                      <a:pt x="1080" y="1523"/>
                    </a:lnTo>
                    <a:lnTo>
                      <a:pt x="1113" y="1575"/>
                    </a:lnTo>
                    <a:lnTo>
                      <a:pt x="1149" y="1625"/>
                    </a:lnTo>
                    <a:lnTo>
                      <a:pt x="1182" y="1674"/>
                    </a:lnTo>
                    <a:lnTo>
                      <a:pt x="1215" y="1724"/>
                    </a:lnTo>
                    <a:lnTo>
                      <a:pt x="1250" y="1773"/>
                    </a:lnTo>
                    <a:lnTo>
                      <a:pt x="1286" y="1828"/>
                    </a:lnTo>
                    <a:lnTo>
                      <a:pt x="1283" y="1844"/>
                    </a:lnTo>
                    <a:lnTo>
                      <a:pt x="1286" y="1870"/>
                    </a:lnTo>
                    <a:lnTo>
                      <a:pt x="1305" y="1918"/>
                    </a:lnTo>
                    <a:lnTo>
                      <a:pt x="1307" y="1927"/>
                    </a:lnTo>
                    <a:lnTo>
                      <a:pt x="1307" y="1930"/>
                    </a:lnTo>
                    <a:lnTo>
                      <a:pt x="1305" y="1939"/>
                    </a:lnTo>
                    <a:lnTo>
                      <a:pt x="1314" y="1953"/>
                    </a:lnTo>
                    <a:lnTo>
                      <a:pt x="1335" y="1974"/>
                    </a:lnTo>
                    <a:lnTo>
                      <a:pt x="1340" y="1984"/>
                    </a:lnTo>
                    <a:lnTo>
                      <a:pt x="1340" y="1984"/>
                    </a:lnTo>
                    <a:lnTo>
                      <a:pt x="1340" y="1989"/>
                    </a:lnTo>
                    <a:lnTo>
                      <a:pt x="1331" y="1996"/>
                    </a:lnTo>
                    <a:lnTo>
                      <a:pt x="1298" y="2012"/>
                    </a:lnTo>
                    <a:lnTo>
                      <a:pt x="1279" y="2029"/>
                    </a:lnTo>
                    <a:lnTo>
                      <a:pt x="1257" y="2055"/>
                    </a:lnTo>
                    <a:lnTo>
                      <a:pt x="1255" y="2081"/>
                    </a:lnTo>
                    <a:lnTo>
                      <a:pt x="1250" y="2100"/>
                    </a:lnTo>
                    <a:lnTo>
                      <a:pt x="1243" y="2116"/>
                    </a:lnTo>
                    <a:lnTo>
                      <a:pt x="1234" y="2131"/>
                    </a:lnTo>
                    <a:lnTo>
                      <a:pt x="1222" y="2142"/>
                    </a:lnTo>
                    <a:lnTo>
                      <a:pt x="1212" y="2147"/>
                    </a:lnTo>
                    <a:lnTo>
                      <a:pt x="1203" y="2149"/>
                    </a:lnTo>
                    <a:lnTo>
                      <a:pt x="1196" y="2166"/>
                    </a:lnTo>
                    <a:lnTo>
                      <a:pt x="1191" y="2199"/>
                    </a:lnTo>
                    <a:lnTo>
                      <a:pt x="1198" y="2223"/>
                    </a:lnTo>
                    <a:lnTo>
                      <a:pt x="1212" y="2232"/>
                    </a:lnTo>
                    <a:lnTo>
                      <a:pt x="1222" y="2246"/>
                    </a:lnTo>
                    <a:lnTo>
                      <a:pt x="1222" y="2261"/>
                    </a:lnTo>
                    <a:lnTo>
                      <a:pt x="1217" y="2275"/>
                    </a:lnTo>
                    <a:lnTo>
                      <a:pt x="1208" y="2289"/>
                    </a:lnTo>
                    <a:lnTo>
                      <a:pt x="1196" y="2294"/>
                    </a:lnTo>
                    <a:lnTo>
                      <a:pt x="1170" y="2291"/>
                    </a:lnTo>
                    <a:lnTo>
                      <a:pt x="1170" y="2291"/>
                    </a:lnTo>
                    <a:lnTo>
                      <a:pt x="1170" y="2294"/>
                    </a:lnTo>
                    <a:lnTo>
                      <a:pt x="1149" y="2291"/>
                    </a:lnTo>
                    <a:lnTo>
                      <a:pt x="1099" y="2284"/>
                    </a:lnTo>
                    <a:lnTo>
                      <a:pt x="1047" y="2279"/>
                    </a:lnTo>
                    <a:lnTo>
                      <a:pt x="995" y="2272"/>
                    </a:lnTo>
                    <a:lnTo>
                      <a:pt x="945" y="2265"/>
                    </a:lnTo>
                    <a:lnTo>
                      <a:pt x="893" y="2258"/>
                    </a:lnTo>
                    <a:lnTo>
                      <a:pt x="844" y="2251"/>
                    </a:lnTo>
                    <a:lnTo>
                      <a:pt x="792" y="2244"/>
                    </a:lnTo>
                    <a:lnTo>
                      <a:pt x="742" y="2237"/>
                    </a:lnTo>
                    <a:lnTo>
                      <a:pt x="742" y="2237"/>
                    </a:lnTo>
                    <a:lnTo>
                      <a:pt x="747" y="2213"/>
                    </a:lnTo>
                    <a:lnTo>
                      <a:pt x="740" y="2204"/>
                    </a:lnTo>
                    <a:lnTo>
                      <a:pt x="728" y="2206"/>
                    </a:lnTo>
                    <a:lnTo>
                      <a:pt x="730" y="2175"/>
                    </a:lnTo>
                    <a:lnTo>
                      <a:pt x="737" y="2161"/>
                    </a:lnTo>
                    <a:lnTo>
                      <a:pt x="737" y="2149"/>
                    </a:lnTo>
                    <a:lnTo>
                      <a:pt x="737" y="2114"/>
                    </a:lnTo>
                    <a:lnTo>
                      <a:pt x="721" y="2067"/>
                    </a:lnTo>
                    <a:lnTo>
                      <a:pt x="678" y="2003"/>
                    </a:lnTo>
                    <a:lnTo>
                      <a:pt x="652" y="1979"/>
                    </a:lnTo>
                    <a:lnTo>
                      <a:pt x="636" y="1953"/>
                    </a:lnTo>
                    <a:lnTo>
                      <a:pt x="624" y="1944"/>
                    </a:lnTo>
                    <a:lnTo>
                      <a:pt x="607" y="1939"/>
                    </a:lnTo>
                    <a:lnTo>
                      <a:pt x="600" y="1946"/>
                    </a:lnTo>
                    <a:lnTo>
                      <a:pt x="581" y="1934"/>
                    </a:lnTo>
                    <a:lnTo>
                      <a:pt x="591" y="1913"/>
                    </a:lnTo>
                    <a:lnTo>
                      <a:pt x="579" y="1875"/>
                    </a:lnTo>
                    <a:lnTo>
                      <a:pt x="565" y="1868"/>
                    </a:lnTo>
                    <a:lnTo>
                      <a:pt x="525" y="1859"/>
                    </a:lnTo>
                    <a:lnTo>
                      <a:pt x="475" y="1828"/>
                    </a:lnTo>
                    <a:lnTo>
                      <a:pt x="463" y="1814"/>
                    </a:lnTo>
                    <a:lnTo>
                      <a:pt x="463" y="1792"/>
                    </a:lnTo>
                    <a:lnTo>
                      <a:pt x="442" y="1771"/>
                    </a:lnTo>
                    <a:lnTo>
                      <a:pt x="413" y="1745"/>
                    </a:lnTo>
                    <a:lnTo>
                      <a:pt x="395" y="1745"/>
                    </a:lnTo>
                    <a:lnTo>
                      <a:pt x="371" y="1736"/>
                    </a:lnTo>
                    <a:lnTo>
                      <a:pt x="343" y="1714"/>
                    </a:lnTo>
                    <a:lnTo>
                      <a:pt x="321" y="1707"/>
                    </a:lnTo>
                    <a:lnTo>
                      <a:pt x="283" y="1700"/>
                    </a:lnTo>
                    <a:lnTo>
                      <a:pt x="269" y="1695"/>
                    </a:lnTo>
                    <a:lnTo>
                      <a:pt x="260" y="1677"/>
                    </a:lnTo>
                    <a:lnTo>
                      <a:pt x="248" y="1665"/>
                    </a:lnTo>
                    <a:lnTo>
                      <a:pt x="255" y="1648"/>
                    </a:lnTo>
                    <a:lnTo>
                      <a:pt x="260" y="1632"/>
                    </a:lnTo>
                    <a:lnTo>
                      <a:pt x="265" y="1620"/>
                    </a:lnTo>
                    <a:lnTo>
                      <a:pt x="267" y="1589"/>
                    </a:lnTo>
                    <a:lnTo>
                      <a:pt x="279" y="1565"/>
                    </a:lnTo>
                    <a:lnTo>
                      <a:pt x="276" y="1554"/>
                    </a:lnTo>
                    <a:lnTo>
                      <a:pt x="269" y="1544"/>
                    </a:lnTo>
                    <a:lnTo>
                      <a:pt x="248" y="1528"/>
                    </a:lnTo>
                    <a:lnTo>
                      <a:pt x="248" y="1513"/>
                    </a:lnTo>
                    <a:lnTo>
                      <a:pt x="257" y="1494"/>
                    </a:lnTo>
                    <a:lnTo>
                      <a:pt x="253" y="1483"/>
                    </a:lnTo>
                    <a:lnTo>
                      <a:pt x="236" y="1464"/>
                    </a:lnTo>
                    <a:lnTo>
                      <a:pt x="224" y="1433"/>
                    </a:lnTo>
                    <a:lnTo>
                      <a:pt x="205" y="1412"/>
                    </a:lnTo>
                    <a:lnTo>
                      <a:pt x="201" y="1386"/>
                    </a:lnTo>
                    <a:lnTo>
                      <a:pt x="191" y="1367"/>
                    </a:lnTo>
                    <a:lnTo>
                      <a:pt x="189" y="1353"/>
                    </a:lnTo>
                    <a:lnTo>
                      <a:pt x="170" y="1298"/>
                    </a:lnTo>
                    <a:lnTo>
                      <a:pt x="146" y="1253"/>
                    </a:lnTo>
                    <a:lnTo>
                      <a:pt x="146" y="1230"/>
                    </a:lnTo>
                    <a:lnTo>
                      <a:pt x="153" y="1201"/>
                    </a:lnTo>
                    <a:lnTo>
                      <a:pt x="172" y="1189"/>
                    </a:lnTo>
                    <a:lnTo>
                      <a:pt x="184" y="1175"/>
                    </a:lnTo>
                    <a:lnTo>
                      <a:pt x="187" y="1161"/>
                    </a:lnTo>
                    <a:lnTo>
                      <a:pt x="187" y="1152"/>
                    </a:lnTo>
                    <a:lnTo>
                      <a:pt x="182" y="1130"/>
                    </a:lnTo>
                    <a:lnTo>
                      <a:pt x="137" y="1104"/>
                    </a:lnTo>
                    <a:lnTo>
                      <a:pt x="113" y="1050"/>
                    </a:lnTo>
                    <a:lnTo>
                      <a:pt x="120" y="1017"/>
                    </a:lnTo>
                    <a:lnTo>
                      <a:pt x="116" y="977"/>
                    </a:lnTo>
                    <a:lnTo>
                      <a:pt x="123" y="955"/>
                    </a:lnTo>
                    <a:lnTo>
                      <a:pt x="127" y="929"/>
                    </a:lnTo>
                    <a:lnTo>
                      <a:pt x="142" y="929"/>
                    </a:lnTo>
                    <a:lnTo>
                      <a:pt x="151" y="934"/>
                    </a:lnTo>
                    <a:lnTo>
                      <a:pt x="146" y="944"/>
                    </a:lnTo>
                    <a:lnTo>
                      <a:pt x="144" y="960"/>
                    </a:lnTo>
                    <a:lnTo>
                      <a:pt x="151" y="977"/>
                    </a:lnTo>
                    <a:lnTo>
                      <a:pt x="161" y="986"/>
                    </a:lnTo>
                    <a:lnTo>
                      <a:pt x="168" y="1003"/>
                    </a:lnTo>
                    <a:lnTo>
                      <a:pt x="175" y="1007"/>
                    </a:lnTo>
                    <a:lnTo>
                      <a:pt x="182" y="1010"/>
                    </a:lnTo>
                    <a:lnTo>
                      <a:pt x="179" y="1003"/>
                    </a:lnTo>
                    <a:lnTo>
                      <a:pt x="177" y="996"/>
                    </a:lnTo>
                    <a:lnTo>
                      <a:pt x="177" y="977"/>
                    </a:lnTo>
                    <a:lnTo>
                      <a:pt x="172" y="953"/>
                    </a:lnTo>
                    <a:lnTo>
                      <a:pt x="165" y="936"/>
                    </a:lnTo>
                    <a:lnTo>
                      <a:pt x="165" y="915"/>
                    </a:lnTo>
                    <a:lnTo>
                      <a:pt x="161" y="908"/>
                    </a:lnTo>
                    <a:lnTo>
                      <a:pt x="161" y="899"/>
                    </a:lnTo>
                    <a:lnTo>
                      <a:pt x="175" y="892"/>
                    </a:lnTo>
                    <a:lnTo>
                      <a:pt x="191" y="892"/>
                    </a:lnTo>
                    <a:lnTo>
                      <a:pt x="213" y="894"/>
                    </a:lnTo>
                    <a:lnTo>
                      <a:pt x="272" y="915"/>
                    </a:lnTo>
                    <a:lnTo>
                      <a:pt x="286" y="913"/>
                    </a:lnTo>
                    <a:lnTo>
                      <a:pt x="295" y="918"/>
                    </a:lnTo>
                    <a:lnTo>
                      <a:pt x="302" y="920"/>
                    </a:lnTo>
                    <a:lnTo>
                      <a:pt x="288" y="910"/>
                    </a:lnTo>
                    <a:lnTo>
                      <a:pt x="279" y="908"/>
                    </a:lnTo>
                    <a:lnTo>
                      <a:pt x="269" y="906"/>
                    </a:lnTo>
                    <a:lnTo>
                      <a:pt x="248" y="899"/>
                    </a:lnTo>
                    <a:lnTo>
                      <a:pt x="239" y="894"/>
                    </a:lnTo>
                    <a:lnTo>
                      <a:pt x="231" y="884"/>
                    </a:lnTo>
                    <a:lnTo>
                      <a:pt x="227" y="882"/>
                    </a:lnTo>
                    <a:lnTo>
                      <a:pt x="203" y="889"/>
                    </a:lnTo>
                    <a:lnTo>
                      <a:pt x="196" y="884"/>
                    </a:lnTo>
                    <a:lnTo>
                      <a:pt x="179" y="866"/>
                    </a:lnTo>
                    <a:lnTo>
                      <a:pt x="170" y="861"/>
                    </a:lnTo>
                    <a:lnTo>
                      <a:pt x="153" y="866"/>
                    </a:lnTo>
                    <a:lnTo>
                      <a:pt x="142" y="896"/>
                    </a:lnTo>
                    <a:lnTo>
                      <a:pt x="139" y="920"/>
                    </a:lnTo>
                    <a:lnTo>
                      <a:pt x="130" y="920"/>
                    </a:lnTo>
                    <a:lnTo>
                      <a:pt x="123" y="908"/>
                    </a:lnTo>
                    <a:lnTo>
                      <a:pt x="109" y="896"/>
                    </a:lnTo>
                    <a:lnTo>
                      <a:pt x="99" y="884"/>
                    </a:lnTo>
                    <a:lnTo>
                      <a:pt x="87" y="863"/>
                    </a:lnTo>
                    <a:lnTo>
                      <a:pt x="78" y="854"/>
                    </a:lnTo>
                    <a:lnTo>
                      <a:pt x="64" y="863"/>
                    </a:lnTo>
                    <a:lnTo>
                      <a:pt x="66" y="858"/>
                    </a:lnTo>
                    <a:lnTo>
                      <a:pt x="75" y="844"/>
                    </a:lnTo>
                    <a:lnTo>
                      <a:pt x="83" y="816"/>
                    </a:lnTo>
                    <a:lnTo>
                      <a:pt x="92" y="842"/>
                    </a:lnTo>
                    <a:lnTo>
                      <a:pt x="92" y="825"/>
                    </a:lnTo>
                    <a:lnTo>
                      <a:pt x="85" y="806"/>
                    </a:lnTo>
                    <a:lnTo>
                      <a:pt x="75" y="797"/>
                    </a:lnTo>
                    <a:lnTo>
                      <a:pt x="73" y="766"/>
                    </a:lnTo>
                    <a:lnTo>
                      <a:pt x="52" y="740"/>
                    </a:lnTo>
                    <a:lnTo>
                      <a:pt x="40" y="705"/>
                    </a:lnTo>
                    <a:lnTo>
                      <a:pt x="12" y="646"/>
                    </a:lnTo>
                    <a:lnTo>
                      <a:pt x="21" y="603"/>
                    </a:lnTo>
                    <a:lnTo>
                      <a:pt x="21" y="546"/>
                    </a:lnTo>
                    <a:lnTo>
                      <a:pt x="38" y="520"/>
                    </a:lnTo>
                    <a:lnTo>
                      <a:pt x="42" y="499"/>
                    </a:lnTo>
                    <a:lnTo>
                      <a:pt x="45" y="464"/>
                    </a:lnTo>
                    <a:lnTo>
                      <a:pt x="42" y="445"/>
                    </a:lnTo>
                    <a:lnTo>
                      <a:pt x="23" y="388"/>
                    </a:lnTo>
                    <a:lnTo>
                      <a:pt x="0" y="345"/>
                    </a:lnTo>
                    <a:lnTo>
                      <a:pt x="2" y="319"/>
                    </a:lnTo>
                    <a:lnTo>
                      <a:pt x="7" y="296"/>
                    </a:lnTo>
                    <a:lnTo>
                      <a:pt x="21" y="277"/>
                    </a:lnTo>
                    <a:lnTo>
                      <a:pt x="35" y="255"/>
                    </a:lnTo>
                    <a:lnTo>
                      <a:pt x="42" y="251"/>
                    </a:lnTo>
                    <a:lnTo>
                      <a:pt x="42" y="253"/>
                    </a:lnTo>
                    <a:lnTo>
                      <a:pt x="40" y="258"/>
                    </a:lnTo>
                    <a:lnTo>
                      <a:pt x="45" y="260"/>
                    </a:lnTo>
                    <a:lnTo>
                      <a:pt x="49" y="251"/>
                    </a:lnTo>
                    <a:lnTo>
                      <a:pt x="54" y="248"/>
                    </a:lnTo>
                    <a:lnTo>
                      <a:pt x="49" y="246"/>
                    </a:lnTo>
                    <a:lnTo>
                      <a:pt x="49" y="241"/>
                    </a:lnTo>
                    <a:lnTo>
                      <a:pt x="54" y="237"/>
                    </a:lnTo>
                    <a:lnTo>
                      <a:pt x="75" y="211"/>
                    </a:lnTo>
                    <a:lnTo>
                      <a:pt x="85" y="173"/>
                    </a:lnTo>
                    <a:lnTo>
                      <a:pt x="111" y="130"/>
                    </a:lnTo>
                    <a:lnTo>
                      <a:pt x="116" y="116"/>
                    </a:lnTo>
                    <a:lnTo>
                      <a:pt x="118" y="80"/>
                    </a:lnTo>
                    <a:lnTo>
                      <a:pt x="118" y="59"/>
                    </a:lnTo>
                    <a:lnTo>
                      <a:pt x="111" y="40"/>
                    </a:lnTo>
                    <a:lnTo>
                      <a:pt x="123" y="24"/>
                    </a:lnTo>
                    <a:lnTo>
                      <a:pt x="127" y="2"/>
                    </a:lnTo>
                    <a:lnTo>
                      <a:pt x="127" y="0"/>
                    </a:lnTo>
                    <a:lnTo>
                      <a:pt x="168" y="12"/>
                    </a:lnTo>
                    <a:lnTo>
                      <a:pt x="208" y="24"/>
                    </a:lnTo>
                    <a:lnTo>
                      <a:pt x="246" y="38"/>
                    </a:lnTo>
                    <a:lnTo>
                      <a:pt x="286" y="50"/>
                    </a:lnTo>
                    <a:lnTo>
                      <a:pt x="326" y="62"/>
                    </a:lnTo>
                    <a:lnTo>
                      <a:pt x="366" y="73"/>
                    </a:lnTo>
                    <a:lnTo>
                      <a:pt x="404" y="85"/>
                    </a:lnTo>
                    <a:lnTo>
                      <a:pt x="444" y="97"/>
                    </a:lnTo>
                    <a:lnTo>
                      <a:pt x="484" y="109"/>
                    </a:lnTo>
                    <a:lnTo>
                      <a:pt x="525" y="121"/>
                    </a:lnTo>
                    <a:lnTo>
                      <a:pt x="565" y="133"/>
                    </a:lnTo>
                    <a:lnTo>
                      <a:pt x="605" y="144"/>
                    </a:lnTo>
                    <a:lnTo>
                      <a:pt x="643" y="154"/>
                    </a:lnTo>
                    <a:lnTo>
                      <a:pt x="683" y="166"/>
                    </a:lnTo>
                    <a:lnTo>
                      <a:pt x="723" y="177"/>
                    </a:lnTo>
                    <a:lnTo>
                      <a:pt x="763" y="187"/>
                    </a:lnTo>
                    <a:close/>
                    <a:moveTo>
                      <a:pt x="350" y="1802"/>
                    </a:moveTo>
                    <a:lnTo>
                      <a:pt x="380" y="1821"/>
                    </a:lnTo>
                    <a:lnTo>
                      <a:pt x="399" y="1821"/>
                    </a:lnTo>
                    <a:lnTo>
                      <a:pt x="402" y="1825"/>
                    </a:lnTo>
                    <a:lnTo>
                      <a:pt x="399" y="1830"/>
                    </a:lnTo>
                    <a:lnTo>
                      <a:pt x="354" y="1828"/>
                    </a:lnTo>
                    <a:lnTo>
                      <a:pt x="343" y="1818"/>
                    </a:lnTo>
                    <a:lnTo>
                      <a:pt x="345" y="1811"/>
                    </a:lnTo>
                    <a:lnTo>
                      <a:pt x="343" y="1802"/>
                    </a:lnTo>
                    <a:lnTo>
                      <a:pt x="350" y="1802"/>
                    </a:lnTo>
                    <a:close/>
                    <a:moveTo>
                      <a:pt x="274" y="1792"/>
                    </a:moveTo>
                    <a:lnTo>
                      <a:pt x="265" y="1790"/>
                    </a:lnTo>
                    <a:lnTo>
                      <a:pt x="250" y="1785"/>
                    </a:lnTo>
                    <a:lnTo>
                      <a:pt x="257" y="1781"/>
                    </a:lnTo>
                    <a:lnTo>
                      <a:pt x="267" y="1781"/>
                    </a:lnTo>
                    <a:lnTo>
                      <a:pt x="267" y="1783"/>
                    </a:lnTo>
                    <a:lnTo>
                      <a:pt x="274" y="1792"/>
                    </a:lnTo>
                    <a:close/>
                    <a:moveTo>
                      <a:pt x="312" y="1825"/>
                    </a:moveTo>
                    <a:lnTo>
                      <a:pt x="300" y="1825"/>
                    </a:lnTo>
                    <a:lnTo>
                      <a:pt x="291" y="1821"/>
                    </a:lnTo>
                    <a:lnTo>
                      <a:pt x="283" y="1797"/>
                    </a:lnTo>
                    <a:lnTo>
                      <a:pt x="314" y="1804"/>
                    </a:lnTo>
                    <a:lnTo>
                      <a:pt x="324" y="1816"/>
                    </a:lnTo>
                    <a:lnTo>
                      <a:pt x="326" y="1818"/>
                    </a:lnTo>
                    <a:lnTo>
                      <a:pt x="312" y="1825"/>
                    </a:lnTo>
                    <a:close/>
                    <a:moveTo>
                      <a:pt x="574" y="2010"/>
                    </a:moveTo>
                    <a:lnTo>
                      <a:pt x="579" y="2029"/>
                    </a:lnTo>
                    <a:lnTo>
                      <a:pt x="567" y="2022"/>
                    </a:lnTo>
                    <a:lnTo>
                      <a:pt x="553" y="2019"/>
                    </a:lnTo>
                    <a:lnTo>
                      <a:pt x="551" y="2012"/>
                    </a:lnTo>
                    <a:lnTo>
                      <a:pt x="551" y="1998"/>
                    </a:lnTo>
                    <a:lnTo>
                      <a:pt x="548" y="1996"/>
                    </a:lnTo>
                    <a:lnTo>
                      <a:pt x="539" y="1991"/>
                    </a:lnTo>
                    <a:lnTo>
                      <a:pt x="539" y="1991"/>
                    </a:lnTo>
                    <a:lnTo>
                      <a:pt x="539" y="1984"/>
                    </a:lnTo>
                    <a:lnTo>
                      <a:pt x="543" y="1984"/>
                    </a:lnTo>
                    <a:lnTo>
                      <a:pt x="567" y="2003"/>
                    </a:lnTo>
                    <a:lnTo>
                      <a:pt x="574" y="2010"/>
                    </a:lnTo>
                    <a:close/>
                    <a:moveTo>
                      <a:pt x="378" y="1998"/>
                    </a:moveTo>
                    <a:lnTo>
                      <a:pt x="369" y="1996"/>
                    </a:lnTo>
                    <a:lnTo>
                      <a:pt x="359" y="1991"/>
                    </a:lnTo>
                    <a:lnTo>
                      <a:pt x="357" y="1979"/>
                    </a:lnTo>
                    <a:lnTo>
                      <a:pt x="366" y="1979"/>
                    </a:lnTo>
                    <a:lnTo>
                      <a:pt x="373" y="1984"/>
                    </a:lnTo>
                    <a:lnTo>
                      <a:pt x="378" y="1993"/>
                    </a:lnTo>
                    <a:lnTo>
                      <a:pt x="378" y="1998"/>
                    </a:lnTo>
                    <a:close/>
                    <a:moveTo>
                      <a:pt x="543" y="2126"/>
                    </a:moveTo>
                    <a:lnTo>
                      <a:pt x="534" y="2123"/>
                    </a:lnTo>
                    <a:lnTo>
                      <a:pt x="525" y="2116"/>
                    </a:lnTo>
                    <a:lnTo>
                      <a:pt x="520" y="2095"/>
                    </a:lnTo>
                    <a:lnTo>
                      <a:pt x="513" y="2076"/>
                    </a:lnTo>
                    <a:lnTo>
                      <a:pt x="520" y="2074"/>
                    </a:lnTo>
                    <a:lnTo>
                      <a:pt x="525" y="2090"/>
                    </a:lnTo>
                    <a:lnTo>
                      <a:pt x="539" y="2119"/>
                    </a:lnTo>
                    <a:lnTo>
                      <a:pt x="543" y="2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9" name="Freeform 47">
                <a:extLst>
                  <a:ext uri="{FF2B5EF4-FFF2-40B4-BE49-F238E27FC236}">
                    <a16:creationId xmlns:a16="http://schemas.microsoft.com/office/drawing/2014/main" id="{1C52685F-E7C1-A7D6-A6F1-B947CDADE6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7" y="750"/>
                <a:ext cx="1232" cy="957"/>
              </a:xfrm>
              <a:custGeom>
                <a:avLst/>
                <a:gdLst>
                  <a:gd name="T0" fmla="*/ 1215 w 1232"/>
                  <a:gd name="T1" fmla="*/ 366 h 957"/>
                  <a:gd name="T2" fmla="*/ 1211 w 1232"/>
                  <a:gd name="T3" fmla="*/ 446 h 957"/>
                  <a:gd name="T4" fmla="*/ 1206 w 1232"/>
                  <a:gd name="T5" fmla="*/ 524 h 957"/>
                  <a:gd name="T6" fmla="*/ 1201 w 1232"/>
                  <a:gd name="T7" fmla="*/ 603 h 957"/>
                  <a:gd name="T8" fmla="*/ 1196 w 1232"/>
                  <a:gd name="T9" fmla="*/ 681 h 957"/>
                  <a:gd name="T10" fmla="*/ 1192 w 1232"/>
                  <a:gd name="T11" fmla="*/ 761 h 957"/>
                  <a:gd name="T12" fmla="*/ 1185 w 1232"/>
                  <a:gd name="T13" fmla="*/ 839 h 957"/>
                  <a:gd name="T14" fmla="*/ 1180 w 1232"/>
                  <a:gd name="T15" fmla="*/ 917 h 957"/>
                  <a:gd name="T16" fmla="*/ 1137 w 1232"/>
                  <a:gd name="T17" fmla="*/ 955 h 957"/>
                  <a:gd name="T18" fmla="*/ 1055 w 1232"/>
                  <a:gd name="T19" fmla="*/ 948 h 957"/>
                  <a:gd name="T20" fmla="*/ 948 w 1232"/>
                  <a:gd name="T21" fmla="*/ 941 h 957"/>
                  <a:gd name="T22" fmla="*/ 821 w 1232"/>
                  <a:gd name="T23" fmla="*/ 929 h 957"/>
                  <a:gd name="T24" fmla="*/ 695 w 1232"/>
                  <a:gd name="T25" fmla="*/ 917 h 957"/>
                  <a:gd name="T26" fmla="*/ 568 w 1232"/>
                  <a:gd name="T27" fmla="*/ 905 h 957"/>
                  <a:gd name="T28" fmla="*/ 442 w 1232"/>
                  <a:gd name="T29" fmla="*/ 891 h 957"/>
                  <a:gd name="T30" fmla="*/ 315 w 1232"/>
                  <a:gd name="T31" fmla="*/ 874 h 957"/>
                  <a:gd name="T32" fmla="*/ 190 w 1232"/>
                  <a:gd name="T33" fmla="*/ 858 h 957"/>
                  <a:gd name="T34" fmla="*/ 62 w 1232"/>
                  <a:gd name="T35" fmla="*/ 841 h 957"/>
                  <a:gd name="T36" fmla="*/ 7 w 1232"/>
                  <a:gd name="T37" fmla="*/ 780 h 957"/>
                  <a:gd name="T38" fmla="*/ 22 w 1232"/>
                  <a:gd name="T39" fmla="*/ 676 h 957"/>
                  <a:gd name="T40" fmla="*/ 36 w 1232"/>
                  <a:gd name="T41" fmla="*/ 572 h 957"/>
                  <a:gd name="T42" fmla="*/ 52 w 1232"/>
                  <a:gd name="T43" fmla="*/ 468 h 957"/>
                  <a:gd name="T44" fmla="*/ 67 w 1232"/>
                  <a:gd name="T45" fmla="*/ 364 h 957"/>
                  <a:gd name="T46" fmla="*/ 83 w 1232"/>
                  <a:gd name="T47" fmla="*/ 260 h 957"/>
                  <a:gd name="T48" fmla="*/ 97 w 1232"/>
                  <a:gd name="T49" fmla="*/ 156 h 957"/>
                  <a:gd name="T50" fmla="*/ 111 w 1232"/>
                  <a:gd name="T51" fmla="*/ 52 h 957"/>
                  <a:gd name="T52" fmla="*/ 168 w 1232"/>
                  <a:gd name="T53" fmla="*/ 7 h 957"/>
                  <a:gd name="T54" fmla="*/ 268 w 1232"/>
                  <a:gd name="T55" fmla="*/ 21 h 957"/>
                  <a:gd name="T56" fmla="*/ 367 w 1232"/>
                  <a:gd name="T57" fmla="*/ 35 h 957"/>
                  <a:gd name="T58" fmla="*/ 466 w 1232"/>
                  <a:gd name="T59" fmla="*/ 47 h 957"/>
                  <a:gd name="T60" fmla="*/ 565 w 1232"/>
                  <a:gd name="T61" fmla="*/ 59 h 957"/>
                  <a:gd name="T62" fmla="*/ 665 w 1232"/>
                  <a:gd name="T63" fmla="*/ 68 h 957"/>
                  <a:gd name="T64" fmla="*/ 766 w 1232"/>
                  <a:gd name="T65" fmla="*/ 80 h 957"/>
                  <a:gd name="T66" fmla="*/ 866 w 1232"/>
                  <a:gd name="T67" fmla="*/ 89 h 957"/>
                  <a:gd name="T68" fmla="*/ 955 w 1232"/>
                  <a:gd name="T69" fmla="*/ 97 h 957"/>
                  <a:gd name="T70" fmla="*/ 1033 w 1232"/>
                  <a:gd name="T71" fmla="*/ 104 h 957"/>
                  <a:gd name="T72" fmla="*/ 1114 w 1232"/>
                  <a:gd name="T73" fmla="*/ 108 h 957"/>
                  <a:gd name="T74" fmla="*/ 1192 w 1232"/>
                  <a:gd name="T75" fmla="*/ 115 h 957"/>
                  <a:gd name="T76" fmla="*/ 1230 w 1232"/>
                  <a:gd name="T77" fmla="*/ 144 h 957"/>
                  <a:gd name="T78" fmla="*/ 1227 w 1232"/>
                  <a:gd name="T79" fmla="*/ 196 h 957"/>
                  <a:gd name="T80" fmla="*/ 1222 w 1232"/>
                  <a:gd name="T81" fmla="*/ 248 h 957"/>
                  <a:gd name="T82" fmla="*/ 1220 w 1232"/>
                  <a:gd name="T83" fmla="*/ 302 h 9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32" h="957">
                    <a:moveTo>
                      <a:pt x="1218" y="328"/>
                    </a:moveTo>
                    <a:lnTo>
                      <a:pt x="1215" y="366"/>
                    </a:lnTo>
                    <a:lnTo>
                      <a:pt x="1213" y="406"/>
                    </a:lnTo>
                    <a:lnTo>
                      <a:pt x="1211" y="446"/>
                    </a:lnTo>
                    <a:lnTo>
                      <a:pt x="1208" y="484"/>
                    </a:lnTo>
                    <a:lnTo>
                      <a:pt x="1206" y="524"/>
                    </a:lnTo>
                    <a:lnTo>
                      <a:pt x="1204" y="565"/>
                    </a:lnTo>
                    <a:lnTo>
                      <a:pt x="1201" y="603"/>
                    </a:lnTo>
                    <a:lnTo>
                      <a:pt x="1199" y="643"/>
                    </a:lnTo>
                    <a:lnTo>
                      <a:pt x="1196" y="681"/>
                    </a:lnTo>
                    <a:lnTo>
                      <a:pt x="1194" y="721"/>
                    </a:lnTo>
                    <a:lnTo>
                      <a:pt x="1192" y="761"/>
                    </a:lnTo>
                    <a:lnTo>
                      <a:pt x="1189" y="799"/>
                    </a:lnTo>
                    <a:lnTo>
                      <a:pt x="1185" y="839"/>
                    </a:lnTo>
                    <a:lnTo>
                      <a:pt x="1182" y="879"/>
                    </a:lnTo>
                    <a:lnTo>
                      <a:pt x="1180" y="917"/>
                    </a:lnTo>
                    <a:lnTo>
                      <a:pt x="1178" y="957"/>
                    </a:lnTo>
                    <a:lnTo>
                      <a:pt x="1137" y="955"/>
                    </a:lnTo>
                    <a:lnTo>
                      <a:pt x="1095" y="950"/>
                    </a:lnTo>
                    <a:lnTo>
                      <a:pt x="1055" y="948"/>
                    </a:lnTo>
                    <a:lnTo>
                      <a:pt x="1012" y="945"/>
                    </a:lnTo>
                    <a:lnTo>
                      <a:pt x="948" y="941"/>
                    </a:lnTo>
                    <a:lnTo>
                      <a:pt x="884" y="934"/>
                    </a:lnTo>
                    <a:lnTo>
                      <a:pt x="821" y="929"/>
                    </a:lnTo>
                    <a:lnTo>
                      <a:pt x="759" y="924"/>
                    </a:lnTo>
                    <a:lnTo>
                      <a:pt x="695" y="917"/>
                    </a:lnTo>
                    <a:lnTo>
                      <a:pt x="632" y="910"/>
                    </a:lnTo>
                    <a:lnTo>
                      <a:pt x="568" y="905"/>
                    </a:lnTo>
                    <a:lnTo>
                      <a:pt x="504" y="898"/>
                    </a:lnTo>
                    <a:lnTo>
                      <a:pt x="442" y="891"/>
                    </a:lnTo>
                    <a:lnTo>
                      <a:pt x="379" y="884"/>
                    </a:lnTo>
                    <a:lnTo>
                      <a:pt x="315" y="874"/>
                    </a:lnTo>
                    <a:lnTo>
                      <a:pt x="251" y="867"/>
                    </a:lnTo>
                    <a:lnTo>
                      <a:pt x="190" y="858"/>
                    </a:lnTo>
                    <a:lnTo>
                      <a:pt x="126" y="851"/>
                    </a:lnTo>
                    <a:lnTo>
                      <a:pt x="62" y="841"/>
                    </a:lnTo>
                    <a:lnTo>
                      <a:pt x="0" y="832"/>
                    </a:lnTo>
                    <a:lnTo>
                      <a:pt x="7" y="780"/>
                    </a:lnTo>
                    <a:lnTo>
                      <a:pt x="15" y="728"/>
                    </a:lnTo>
                    <a:lnTo>
                      <a:pt x="22" y="676"/>
                    </a:lnTo>
                    <a:lnTo>
                      <a:pt x="29" y="624"/>
                    </a:lnTo>
                    <a:lnTo>
                      <a:pt x="36" y="572"/>
                    </a:lnTo>
                    <a:lnTo>
                      <a:pt x="45" y="520"/>
                    </a:lnTo>
                    <a:lnTo>
                      <a:pt x="52" y="468"/>
                    </a:lnTo>
                    <a:lnTo>
                      <a:pt x="59" y="416"/>
                    </a:lnTo>
                    <a:lnTo>
                      <a:pt x="67" y="364"/>
                    </a:lnTo>
                    <a:lnTo>
                      <a:pt x="74" y="312"/>
                    </a:lnTo>
                    <a:lnTo>
                      <a:pt x="83" y="260"/>
                    </a:lnTo>
                    <a:lnTo>
                      <a:pt x="90" y="208"/>
                    </a:lnTo>
                    <a:lnTo>
                      <a:pt x="97" y="156"/>
                    </a:lnTo>
                    <a:lnTo>
                      <a:pt x="104" y="104"/>
                    </a:lnTo>
                    <a:lnTo>
                      <a:pt x="111" y="52"/>
                    </a:lnTo>
                    <a:lnTo>
                      <a:pt x="119" y="0"/>
                    </a:lnTo>
                    <a:lnTo>
                      <a:pt x="168" y="7"/>
                    </a:lnTo>
                    <a:lnTo>
                      <a:pt x="218" y="14"/>
                    </a:lnTo>
                    <a:lnTo>
                      <a:pt x="268" y="21"/>
                    </a:lnTo>
                    <a:lnTo>
                      <a:pt x="317" y="28"/>
                    </a:lnTo>
                    <a:lnTo>
                      <a:pt x="367" y="35"/>
                    </a:lnTo>
                    <a:lnTo>
                      <a:pt x="416" y="40"/>
                    </a:lnTo>
                    <a:lnTo>
                      <a:pt x="466" y="47"/>
                    </a:lnTo>
                    <a:lnTo>
                      <a:pt x="516" y="52"/>
                    </a:lnTo>
                    <a:lnTo>
                      <a:pt x="565" y="59"/>
                    </a:lnTo>
                    <a:lnTo>
                      <a:pt x="615" y="63"/>
                    </a:lnTo>
                    <a:lnTo>
                      <a:pt x="665" y="68"/>
                    </a:lnTo>
                    <a:lnTo>
                      <a:pt x="717" y="75"/>
                    </a:lnTo>
                    <a:lnTo>
                      <a:pt x="766" y="80"/>
                    </a:lnTo>
                    <a:lnTo>
                      <a:pt x="816" y="85"/>
                    </a:lnTo>
                    <a:lnTo>
                      <a:pt x="866" y="89"/>
                    </a:lnTo>
                    <a:lnTo>
                      <a:pt x="915" y="94"/>
                    </a:lnTo>
                    <a:lnTo>
                      <a:pt x="955" y="97"/>
                    </a:lnTo>
                    <a:lnTo>
                      <a:pt x="993" y="99"/>
                    </a:lnTo>
                    <a:lnTo>
                      <a:pt x="1033" y="104"/>
                    </a:lnTo>
                    <a:lnTo>
                      <a:pt x="1074" y="106"/>
                    </a:lnTo>
                    <a:lnTo>
                      <a:pt x="1114" y="108"/>
                    </a:lnTo>
                    <a:lnTo>
                      <a:pt x="1152" y="113"/>
                    </a:lnTo>
                    <a:lnTo>
                      <a:pt x="1192" y="115"/>
                    </a:lnTo>
                    <a:lnTo>
                      <a:pt x="1232" y="118"/>
                    </a:lnTo>
                    <a:lnTo>
                      <a:pt x="1230" y="144"/>
                    </a:lnTo>
                    <a:lnTo>
                      <a:pt x="1230" y="170"/>
                    </a:lnTo>
                    <a:lnTo>
                      <a:pt x="1227" y="196"/>
                    </a:lnTo>
                    <a:lnTo>
                      <a:pt x="1225" y="222"/>
                    </a:lnTo>
                    <a:lnTo>
                      <a:pt x="1222" y="248"/>
                    </a:lnTo>
                    <a:lnTo>
                      <a:pt x="1222" y="276"/>
                    </a:lnTo>
                    <a:lnTo>
                      <a:pt x="1220" y="302"/>
                    </a:lnTo>
                    <a:lnTo>
                      <a:pt x="1218" y="32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" name="Freeform 48">
                <a:extLst>
                  <a:ext uri="{FF2B5EF4-FFF2-40B4-BE49-F238E27FC236}">
                    <a16:creationId xmlns:a16="http://schemas.microsoft.com/office/drawing/2014/main" id="{AEECD526-3A27-73C3-4174-7D99B662CC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05" y="182"/>
                <a:ext cx="290" cy="284"/>
              </a:xfrm>
              <a:custGeom>
                <a:avLst/>
                <a:gdLst>
                  <a:gd name="T0" fmla="*/ 257 w 290"/>
                  <a:gd name="T1" fmla="*/ 2 h 284"/>
                  <a:gd name="T2" fmla="*/ 260 w 290"/>
                  <a:gd name="T3" fmla="*/ 12 h 284"/>
                  <a:gd name="T4" fmla="*/ 264 w 290"/>
                  <a:gd name="T5" fmla="*/ 28 h 284"/>
                  <a:gd name="T6" fmla="*/ 267 w 290"/>
                  <a:gd name="T7" fmla="*/ 38 h 284"/>
                  <a:gd name="T8" fmla="*/ 272 w 290"/>
                  <a:gd name="T9" fmla="*/ 54 h 284"/>
                  <a:gd name="T10" fmla="*/ 276 w 290"/>
                  <a:gd name="T11" fmla="*/ 71 h 284"/>
                  <a:gd name="T12" fmla="*/ 281 w 290"/>
                  <a:gd name="T13" fmla="*/ 88 h 284"/>
                  <a:gd name="T14" fmla="*/ 286 w 290"/>
                  <a:gd name="T15" fmla="*/ 102 h 284"/>
                  <a:gd name="T16" fmla="*/ 288 w 290"/>
                  <a:gd name="T17" fmla="*/ 109 h 284"/>
                  <a:gd name="T18" fmla="*/ 290 w 290"/>
                  <a:gd name="T19" fmla="*/ 123 h 284"/>
                  <a:gd name="T20" fmla="*/ 288 w 290"/>
                  <a:gd name="T21" fmla="*/ 128 h 284"/>
                  <a:gd name="T22" fmla="*/ 288 w 290"/>
                  <a:gd name="T23" fmla="*/ 142 h 284"/>
                  <a:gd name="T24" fmla="*/ 274 w 290"/>
                  <a:gd name="T25" fmla="*/ 144 h 284"/>
                  <a:gd name="T26" fmla="*/ 253 w 290"/>
                  <a:gd name="T27" fmla="*/ 151 h 284"/>
                  <a:gd name="T28" fmla="*/ 227 w 290"/>
                  <a:gd name="T29" fmla="*/ 168 h 284"/>
                  <a:gd name="T30" fmla="*/ 210 w 290"/>
                  <a:gd name="T31" fmla="*/ 168 h 284"/>
                  <a:gd name="T32" fmla="*/ 194 w 290"/>
                  <a:gd name="T33" fmla="*/ 180 h 284"/>
                  <a:gd name="T34" fmla="*/ 139 w 290"/>
                  <a:gd name="T35" fmla="*/ 196 h 284"/>
                  <a:gd name="T36" fmla="*/ 125 w 290"/>
                  <a:gd name="T37" fmla="*/ 196 h 284"/>
                  <a:gd name="T38" fmla="*/ 113 w 290"/>
                  <a:gd name="T39" fmla="*/ 213 h 284"/>
                  <a:gd name="T40" fmla="*/ 92 w 290"/>
                  <a:gd name="T41" fmla="*/ 227 h 284"/>
                  <a:gd name="T42" fmla="*/ 37 w 290"/>
                  <a:gd name="T43" fmla="*/ 274 h 284"/>
                  <a:gd name="T44" fmla="*/ 33 w 290"/>
                  <a:gd name="T45" fmla="*/ 284 h 284"/>
                  <a:gd name="T46" fmla="*/ 21 w 290"/>
                  <a:gd name="T47" fmla="*/ 272 h 284"/>
                  <a:gd name="T48" fmla="*/ 11 w 290"/>
                  <a:gd name="T49" fmla="*/ 263 h 284"/>
                  <a:gd name="T50" fmla="*/ 23 w 290"/>
                  <a:gd name="T51" fmla="*/ 253 h 284"/>
                  <a:gd name="T52" fmla="*/ 30 w 290"/>
                  <a:gd name="T53" fmla="*/ 244 h 284"/>
                  <a:gd name="T54" fmla="*/ 37 w 290"/>
                  <a:gd name="T55" fmla="*/ 237 h 284"/>
                  <a:gd name="T56" fmla="*/ 42 w 290"/>
                  <a:gd name="T57" fmla="*/ 232 h 284"/>
                  <a:gd name="T58" fmla="*/ 35 w 290"/>
                  <a:gd name="T59" fmla="*/ 225 h 284"/>
                  <a:gd name="T60" fmla="*/ 30 w 290"/>
                  <a:gd name="T61" fmla="*/ 218 h 284"/>
                  <a:gd name="T62" fmla="*/ 26 w 290"/>
                  <a:gd name="T63" fmla="*/ 199 h 284"/>
                  <a:gd name="T64" fmla="*/ 23 w 290"/>
                  <a:gd name="T65" fmla="*/ 177 h 284"/>
                  <a:gd name="T66" fmla="*/ 19 w 290"/>
                  <a:gd name="T67" fmla="*/ 159 h 284"/>
                  <a:gd name="T68" fmla="*/ 14 w 290"/>
                  <a:gd name="T69" fmla="*/ 140 h 284"/>
                  <a:gd name="T70" fmla="*/ 11 w 290"/>
                  <a:gd name="T71" fmla="*/ 118 h 284"/>
                  <a:gd name="T72" fmla="*/ 7 w 290"/>
                  <a:gd name="T73" fmla="*/ 99 h 284"/>
                  <a:gd name="T74" fmla="*/ 4 w 290"/>
                  <a:gd name="T75" fmla="*/ 80 h 284"/>
                  <a:gd name="T76" fmla="*/ 0 w 290"/>
                  <a:gd name="T77" fmla="*/ 59 h 284"/>
                  <a:gd name="T78" fmla="*/ 14 w 290"/>
                  <a:gd name="T79" fmla="*/ 57 h 284"/>
                  <a:gd name="T80" fmla="*/ 26 w 290"/>
                  <a:gd name="T81" fmla="*/ 54 h 284"/>
                  <a:gd name="T82" fmla="*/ 40 w 290"/>
                  <a:gd name="T83" fmla="*/ 52 h 284"/>
                  <a:gd name="T84" fmla="*/ 52 w 290"/>
                  <a:gd name="T85" fmla="*/ 50 h 284"/>
                  <a:gd name="T86" fmla="*/ 66 w 290"/>
                  <a:gd name="T87" fmla="*/ 47 h 284"/>
                  <a:gd name="T88" fmla="*/ 78 w 290"/>
                  <a:gd name="T89" fmla="*/ 43 h 284"/>
                  <a:gd name="T90" fmla="*/ 92 w 290"/>
                  <a:gd name="T91" fmla="*/ 40 h 284"/>
                  <a:gd name="T92" fmla="*/ 104 w 290"/>
                  <a:gd name="T93" fmla="*/ 38 h 284"/>
                  <a:gd name="T94" fmla="*/ 106 w 290"/>
                  <a:gd name="T95" fmla="*/ 43 h 284"/>
                  <a:gd name="T96" fmla="*/ 111 w 290"/>
                  <a:gd name="T97" fmla="*/ 40 h 284"/>
                  <a:gd name="T98" fmla="*/ 111 w 290"/>
                  <a:gd name="T99" fmla="*/ 36 h 284"/>
                  <a:gd name="T100" fmla="*/ 130 w 290"/>
                  <a:gd name="T101" fmla="*/ 31 h 284"/>
                  <a:gd name="T102" fmla="*/ 149 w 290"/>
                  <a:gd name="T103" fmla="*/ 26 h 284"/>
                  <a:gd name="T104" fmla="*/ 165 w 290"/>
                  <a:gd name="T105" fmla="*/ 21 h 284"/>
                  <a:gd name="T106" fmla="*/ 184 w 290"/>
                  <a:gd name="T107" fmla="*/ 19 h 284"/>
                  <a:gd name="T108" fmla="*/ 203 w 290"/>
                  <a:gd name="T109" fmla="*/ 14 h 284"/>
                  <a:gd name="T110" fmla="*/ 220 w 290"/>
                  <a:gd name="T111" fmla="*/ 10 h 284"/>
                  <a:gd name="T112" fmla="*/ 238 w 290"/>
                  <a:gd name="T113" fmla="*/ 5 h 284"/>
                  <a:gd name="T114" fmla="*/ 257 w 290"/>
                  <a:gd name="T115" fmla="*/ 0 h 284"/>
                  <a:gd name="T116" fmla="*/ 257 w 290"/>
                  <a:gd name="T117" fmla="*/ 2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0" h="284">
                    <a:moveTo>
                      <a:pt x="257" y="2"/>
                    </a:moveTo>
                    <a:lnTo>
                      <a:pt x="260" y="12"/>
                    </a:lnTo>
                    <a:lnTo>
                      <a:pt x="264" y="28"/>
                    </a:lnTo>
                    <a:lnTo>
                      <a:pt x="267" y="38"/>
                    </a:lnTo>
                    <a:lnTo>
                      <a:pt x="272" y="54"/>
                    </a:lnTo>
                    <a:lnTo>
                      <a:pt x="276" y="71"/>
                    </a:lnTo>
                    <a:lnTo>
                      <a:pt x="281" y="88"/>
                    </a:lnTo>
                    <a:lnTo>
                      <a:pt x="286" y="102"/>
                    </a:lnTo>
                    <a:lnTo>
                      <a:pt x="288" y="109"/>
                    </a:lnTo>
                    <a:lnTo>
                      <a:pt x="290" y="123"/>
                    </a:lnTo>
                    <a:lnTo>
                      <a:pt x="288" y="128"/>
                    </a:lnTo>
                    <a:lnTo>
                      <a:pt x="288" y="142"/>
                    </a:lnTo>
                    <a:lnTo>
                      <a:pt x="274" y="144"/>
                    </a:lnTo>
                    <a:lnTo>
                      <a:pt x="253" y="151"/>
                    </a:lnTo>
                    <a:lnTo>
                      <a:pt x="227" y="168"/>
                    </a:lnTo>
                    <a:lnTo>
                      <a:pt x="210" y="168"/>
                    </a:lnTo>
                    <a:lnTo>
                      <a:pt x="194" y="180"/>
                    </a:lnTo>
                    <a:lnTo>
                      <a:pt x="139" y="196"/>
                    </a:lnTo>
                    <a:lnTo>
                      <a:pt x="125" y="196"/>
                    </a:lnTo>
                    <a:lnTo>
                      <a:pt x="113" y="213"/>
                    </a:lnTo>
                    <a:lnTo>
                      <a:pt x="92" y="227"/>
                    </a:lnTo>
                    <a:lnTo>
                      <a:pt x="37" y="274"/>
                    </a:lnTo>
                    <a:lnTo>
                      <a:pt x="33" y="284"/>
                    </a:lnTo>
                    <a:lnTo>
                      <a:pt x="21" y="272"/>
                    </a:lnTo>
                    <a:lnTo>
                      <a:pt x="11" y="263"/>
                    </a:lnTo>
                    <a:lnTo>
                      <a:pt x="23" y="253"/>
                    </a:lnTo>
                    <a:lnTo>
                      <a:pt x="30" y="244"/>
                    </a:lnTo>
                    <a:lnTo>
                      <a:pt x="37" y="237"/>
                    </a:lnTo>
                    <a:lnTo>
                      <a:pt x="42" y="232"/>
                    </a:lnTo>
                    <a:lnTo>
                      <a:pt x="35" y="225"/>
                    </a:lnTo>
                    <a:lnTo>
                      <a:pt x="30" y="218"/>
                    </a:lnTo>
                    <a:lnTo>
                      <a:pt x="26" y="199"/>
                    </a:lnTo>
                    <a:lnTo>
                      <a:pt x="23" y="177"/>
                    </a:lnTo>
                    <a:lnTo>
                      <a:pt x="19" y="159"/>
                    </a:lnTo>
                    <a:lnTo>
                      <a:pt x="14" y="140"/>
                    </a:lnTo>
                    <a:lnTo>
                      <a:pt x="11" y="118"/>
                    </a:lnTo>
                    <a:lnTo>
                      <a:pt x="7" y="99"/>
                    </a:lnTo>
                    <a:lnTo>
                      <a:pt x="4" y="80"/>
                    </a:lnTo>
                    <a:lnTo>
                      <a:pt x="0" y="59"/>
                    </a:lnTo>
                    <a:lnTo>
                      <a:pt x="14" y="57"/>
                    </a:lnTo>
                    <a:lnTo>
                      <a:pt x="26" y="54"/>
                    </a:lnTo>
                    <a:lnTo>
                      <a:pt x="40" y="52"/>
                    </a:lnTo>
                    <a:lnTo>
                      <a:pt x="52" y="50"/>
                    </a:lnTo>
                    <a:lnTo>
                      <a:pt x="66" y="47"/>
                    </a:lnTo>
                    <a:lnTo>
                      <a:pt x="78" y="43"/>
                    </a:lnTo>
                    <a:lnTo>
                      <a:pt x="92" y="40"/>
                    </a:lnTo>
                    <a:lnTo>
                      <a:pt x="104" y="38"/>
                    </a:lnTo>
                    <a:lnTo>
                      <a:pt x="106" y="43"/>
                    </a:lnTo>
                    <a:lnTo>
                      <a:pt x="111" y="40"/>
                    </a:lnTo>
                    <a:lnTo>
                      <a:pt x="111" y="36"/>
                    </a:lnTo>
                    <a:lnTo>
                      <a:pt x="130" y="31"/>
                    </a:lnTo>
                    <a:lnTo>
                      <a:pt x="149" y="26"/>
                    </a:lnTo>
                    <a:lnTo>
                      <a:pt x="165" y="21"/>
                    </a:lnTo>
                    <a:lnTo>
                      <a:pt x="184" y="19"/>
                    </a:lnTo>
                    <a:lnTo>
                      <a:pt x="203" y="14"/>
                    </a:lnTo>
                    <a:lnTo>
                      <a:pt x="220" y="10"/>
                    </a:lnTo>
                    <a:lnTo>
                      <a:pt x="238" y="5"/>
                    </a:lnTo>
                    <a:lnTo>
                      <a:pt x="257" y="0"/>
                    </a:lnTo>
                    <a:lnTo>
                      <a:pt x="257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1" name="Freeform 49">
                <a:extLst>
                  <a:ext uri="{FF2B5EF4-FFF2-40B4-BE49-F238E27FC236}">
                    <a16:creationId xmlns:a16="http://schemas.microsoft.com/office/drawing/2014/main" id="{C7D897AF-88C4-F81B-418D-65ED9BD77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4" y="995"/>
                <a:ext cx="33" cy="41"/>
              </a:xfrm>
              <a:custGeom>
                <a:avLst/>
                <a:gdLst>
                  <a:gd name="T0" fmla="*/ 16 w 33"/>
                  <a:gd name="T1" fmla="*/ 24 h 41"/>
                  <a:gd name="T2" fmla="*/ 12 w 33"/>
                  <a:gd name="T3" fmla="*/ 19 h 41"/>
                  <a:gd name="T4" fmla="*/ 2 w 33"/>
                  <a:gd name="T5" fmla="*/ 17 h 41"/>
                  <a:gd name="T6" fmla="*/ 0 w 33"/>
                  <a:gd name="T7" fmla="*/ 17 h 41"/>
                  <a:gd name="T8" fmla="*/ 9 w 33"/>
                  <a:gd name="T9" fmla="*/ 0 h 41"/>
                  <a:gd name="T10" fmla="*/ 21 w 33"/>
                  <a:gd name="T11" fmla="*/ 10 h 41"/>
                  <a:gd name="T12" fmla="*/ 33 w 33"/>
                  <a:gd name="T13" fmla="*/ 22 h 41"/>
                  <a:gd name="T14" fmla="*/ 21 w 33"/>
                  <a:gd name="T15" fmla="*/ 41 h 41"/>
                  <a:gd name="T16" fmla="*/ 16 w 33"/>
                  <a:gd name="T17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41">
                    <a:moveTo>
                      <a:pt x="16" y="24"/>
                    </a:moveTo>
                    <a:lnTo>
                      <a:pt x="12" y="19"/>
                    </a:lnTo>
                    <a:lnTo>
                      <a:pt x="2" y="17"/>
                    </a:lnTo>
                    <a:lnTo>
                      <a:pt x="0" y="17"/>
                    </a:lnTo>
                    <a:lnTo>
                      <a:pt x="9" y="0"/>
                    </a:lnTo>
                    <a:lnTo>
                      <a:pt x="21" y="10"/>
                    </a:lnTo>
                    <a:lnTo>
                      <a:pt x="33" y="22"/>
                    </a:lnTo>
                    <a:lnTo>
                      <a:pt x="21" y="41"/>
                    </a:lnTo>
                    <a:lnTo>
                      <a:pt x="16" y="2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2" name="Freeform 50">
                <a:extLst>
                  <a:ext uri="{FF2B5EF4-FFF2-40B4-BE49-F238E27FC236}">
                    <a16:creationId xmlns:a16="http://schemas.microsoft.com/office/drawing/2014/main" id="{02E0861D-0833-4C59-3B15-328D765EB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61" y="771"/>
                <a:ext cx="180" cy="291"/>
              </a:xfrm>
              <a:custGeom>
                <a:avLst/>
                <a:gdLst>
                  <a:gd name="T0" fmla="*/ 55 w 180"/>
                  <a:gd name="T1" fmla="*/ 2 h 291"/>
                  <a:gd name="T2" fmla="*/ 50 w 180"/>
                  <a:gd name="T3" fmla="*/ 9 h 291"/>
                  <a:gd name="T4" fmla="*/ 45 w 180"/>
                  <a:gd name="T5" fmla="*/ 26 h 291"/>
                  <a:gd name="T6" fmla="*/ 36 w 180"/>
                  <a:gd name="T7" fmla="*/ 42 h 291"/>
                  <a:gd name="T8" fmla="*/ 40 w 180"/>
                  <a:gd name="T9" fmla="*/ 54 h 291"/>
                  <a:gd name="T10" fmla="*/ 43 w 180"/>
                  <a:gd name="T11" fmla="*/ 61 h 291"/>
                  <a:gd name="T12" fmla="*/ 45 w 180"/>
                  <a:gd name="T13" fmla="*/ 76 h 291"/>
                  <a:gd name="T14" fmla="*/ 57 w 180"/>
                  <a:gd name="T15" fmla="*/ 90 h 291"/>
                  <a:gd name="T16" fmla="*/ 81 w 180"/>
                  <a:gd name="T17" fmla="*/ 111 h 291"/>
                  <a:gd name="T18" fmla="*/ 92 w 180"/>
                  <a:gd name="T19" fmla="*/ 149 h 291"/>
                  <a:gd name="T20" fmla="*/ 111 w 180"/>
                  <a:gd name="T21" fmla="*/ 172 h 291"/>
                  <a:gd name="T22" fmla="*/ 140 w 180"/>
                  <a:gd name="T23" fmla="*/ 196 h 291"/>
                  <a:gd name="T24" fmla="*/ 156 w 180"/>
                  <a:gd name="T25" fmla="*/ 201 h 291"/>
                  <a:gd name="T26" fmla="*/ 159 w 180"/>
                  <a:gd name="T27" fmla="*/ 213 h 291"/>
                  <a:gd name="T28" fmla="*/ 156 w 180"/>
                  <a:gd name="T29" fmla="*/ 234 h 291"/>
                  <a:gd name="T30" fmla="*/ 149 w 180"/>
                  <a:gd name="T31" fmla="*/ 243 h 291"/>
                  <a:gd name="T32" fmla="*/ 161 w 180"/>
                  <a:gd name="T33" fmla="*/ 239 h 291"/>
                  <a:gd name="T34" fmla="*/ 168 w 180"/>
                  <a:gd name="T35" fmla="*/ 241 h 291"/>
                  <a:gd name="T36" fmla="*/ 177 w 180"/>
                  <a:gd name="T37" fmla="*/ 255 h 291"/>
                  <a:gd name="T38" fmla="*/ 180 w 180"/>
                  <a:gd name="T39" fmla="*/ 267 h 291"/>
                  <a:gd name="T40" fmla="*/ 163 w 180"/>
                  <a:gd name="T41" fmla="*/ 269 h 291"/>
                  <a:gd name="T42" fmla="*/ 128 w 180"/>
                  <a:gd name="T43" fmla="*/ 279 h 291"/>
                  <a:gd name="T44" fmla="*/ 92 w 180"/>
                  <a:gd name="T45" fmla="*/ 286 h 291"/>
                  <a:gd name="T46" fmla="*/ 76 w 180"/>
                  <a:gd name="T47" fmla="*/ 291 h 291"/>
                  <a:gd name="T48" fmla="*/ 76 w 180"/>
                  <a:gd name="T49" fmla="*/ 291 h 291"/>
                  <a:gd name="T50" fmla="*/ 73 w 180"/>
                  <a:gd name="T51" fmla="*/ 291 h 291"/>
                  <a:gd name="T52" fmla="*/ 73 w 180"/>
                  <a:gd name="T53" fmla="*/ 291 h 291"/>
                  <a:gd name="T54" fmla="*/ 73 w 180"/>
                  <a:gd name="T55" fmla="*/ 291 h 291"/>
                  <a:gd name="T56" fmla="*/ 73 w 180"/>
                  <a:gd name="T57" fmla="*/ 291 h 291"/>
                  <a:gd name="T58" fmla="*/ 73 w 180"/>
                  <a:gd name="T59" fmla="*/ 291 h 291"/>
                  <a:gd name="T60" fmla="*/ 73 w 180"/>
                  <a:gd name="T61" fmla="*/ 291 h 291"/>
                  <a:gd name="T62" fmla="*/ 71 w 180"/>
                  <a:gd name="T63" fmla="*/ 291 h 291"/>
                  <a:gd name="T64" fmla="*/ 64 w 180"/>
                  <a:gd name="T65" fmla="*/ 258 h 291"/>
                  <a:gd name="T66" fmla="*/ 55 w 180"/>
                  <a:gd name="T67" fmla="*/ 227 h 291"/>
                  <a:gd name="T68" fmla="*/ 45 w 180"/>
                  <a:gd name="T69" fmla="*/ 194 h 291"/>
                  <a:gd name="T70" fmla="*/ 36 w 180"/>
                  <a:gd name="T71" fmla="*/ 163 h 291"/>
                  <a:gd name="T72" fmla="*/ 29 w 180"/>
                  <a:gd name="T73" fmla="*/ 130 h 291"/>
                  <a:gd name="T74" fmla="*/ 19 w 180"/>
                  <a:gd name="T75" fmla="*/ 99 h 291"/>
                  <a:gd name="T76" fmla="*/ 10 w 180"/>
                  <a:gd name="T77" fmla="*/ 66 h 291"/>
                  <a:gd name="T78" fmla="*/ 0 w 180"/>
                  <a:gd name="T79" fmla="*/ 33 h 291"/>
                  <a:gd name="T80" fmla="*/ 10 w 180"/>
                  <a:gd name="T81" fmla="*/ 14 h 291"/>
                  <a:gd name="T82" fmla="*/ 12 w 180"/>
                  <a:gd name="T83" fmla="*/ 9 h 291"/>
                  <a:gd name="T84" fmla="*/ 19 w 180"/>
                  <a:gd name="T85" fmla="*/ 5 h 291"/>
                  <a:gd name="T86" fmla="*/ 38 w 180"/>
                  <a:gd name="T87" fmla="*/ 0 h 291"/>
                  <a:gd name="T88" fmla="*/ 55 w 180"/>
                  <a:gd name="T89" fmla="*/ 2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80" h="291">
                    <a:moveTo>
                      <a:pt x="55" y="2"/>
                    </a:moveTo>
                    <a:lnTo>
                      <a:pt x="50" y="9"/>
                    </a:lnTo>
                    <a:lnTo>
                      <a:pt x="45" y="26"/>
                    </a:lnTo>
                    <a:lnTo>
                      <a:pt x="36" y="42"/>
                    </a:lnTo>
                    <a:lnTo>
                      <a:pt x="40" y="54"/>
                    </a:lnTo>
                    <a:lnTo>
                      <a:pt x="43" y="61"/>
                    </a:lnTo>
                    <a:lnTo>
                      <a:pt x="45" y="76"/>
                    </a:lnTo>
                    <a:lnTo>
                      <a:pt x="57" y="90"/>
                    </a:lnTo>
                    <a:lnTo>
                      <a:pt x="81" y="111"/>
                    </a:lnTo>
                    <a:lnTo>
                      <a:pt x="92" y="149"/>
                    </a:lnTo>
                    <a:lnTo>
                      <a:pt x="111" y="172"/>
                    </a:lnTo>
                    <a:lnTo>
                      <a:pt x="140" y="196"/>
                    </a:lnTo>
                    <a:lnTo>
                      <a:pt x="156" y="201"/>
                    </a:lnTo>
                    <a:lnTo>
                      <a:pt x="159" y="213"/>
                    </a:lnTo>
                    <a:lnTo>
                      <a:pt x="156" y="234"/>
                    </a:lnTo>
                    <a:lnTo>
                      <a:pt x="149" y="243"/>
                    </a:lnTo>
                    <a:lnTo>
                      <a:pt x="161" y="239"/>
                    </a:lnTo>
                    <a:lnTo>
                      <a:pt x="168" y="241"/>
                    </a:lnTo>
                    <a:lnTo>
                      <a:pt x="177" y="255"/>
                    </a:lnTo>
                    <a:lnTo>
                      <a:pt x="180" y="267"/>
                    </a:lnTo>
                    <a:lnTo>
                      <a:pt x="163" y="269"/>
                    </a:lnTo>
                    <a:lnTo>
                      <a:pt x="128" y="279"/>
                    </a:lnTo>
                    <a:lnTo>
                      <a:pt x="92" y="286"/>
                    </a:lnTo>
                    <a:lnTo>
                      <a:pt x="76" y="291"/>
                    </a:lnTo>
                    <a:lnTo>
                      <a:pt x="76" y="291"/>
                    </a:lnTo>
                    <a:lnTo>
                      <a:pt x="73" y="291"/>
                    </a:lnTo>
                    <a:lnTo>
                      <a:pt x="73" y="291"/>
                    </a:lnTo>
                    <a:lnTo>
                      <a:pt x="73" y="291"/>
                    </a:lnTo>
                    <a:lnTo>
                      <a:pt x="73" y="291"/>
                    </a:lnTo>
                    <a:lnTo>
                      <a:pt x="73" y="291"/>
                    </a:lnTo>
                    <a:lnTo>
                      <a:pt x="73" y="291"/>
                    </a:lnTo>
                    <a:lnTo>
                      <a:pt x="71" y="291"/>
                    </a:lnTo>
                    <a:lnTo>
                      <a:pt x="64" y="258"/>
                    </a:lnTo>
                    <a:lnTo>
                      <a:pt x="55" y="227"/>
                    </a:lnTo>
                    <a:lnTo>
                      <a:pt x="45" y="194"/>
                    </a:lnTo>
                    <a:lnTo>
                      <a:pt x="36" y="163"/>
                    </a:lnTo>
                    <a:lnTo>
                      <a:pt x="29" y="130"/>
                    </a:lnTo>
                    <a:lnTo>
                      <a:pt x="19" y="99"/>
                    </a:lnTo>
                    <a:lnTo>
                      <a:pt x="10" y="66"/>
                    </a:lnTo>
                    <a:lnTo>
                      <a:pt x="0" y="33"/>
                    </a:lnTo>
                    <a:lnTo>
                      <a:pt x="10" y="14"/>
                    </a:lnTo>
                    <a:lnTo>
                      <a:pt x="12" y="9"/>
                    </a:lnTo>
                    <a:lnTo>
                      <a:pt x="19" y="5"/>
                    </a:lnTo>
                    <a:lnTo>
                      <a:pt x="38" y="0"/>
                    </a:lnTo>
                    <a:lnTo>
                      <a:pt x="55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3" name="Freeform 51">
                <a:extLst>
                  <a:ext uri="{FF2B5EF4-FFF2-40B4-BE49-F238E27FC236}">
                    <a16:creationId xmlns:a16="http://schemas.microsoft.com/office/drawing/2014/main" id="{8BFDECFF-2740-10C9-390E-6F0E13BD98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38" y="2845"/>
                <a:ext cx="1544" cy="1324"/>
              </a:xfrm>
              <a:custGeom>
                <a:avLst/>
                <a:gdLst>
                  <a:gd name="T0" fmla="*/ 1229 w 1544"/>
                  <a:gd name="T1" fmla="*/ 262 h 1324"/>
                  <a:gd name="T2" fmla="*/ 1369 w 1544"/>
                  <a:gd name="T3" fmla="*/ 494 h 1324"/>
                  <a:gd name="T4" fmla="*/ 1359 w 1544"/>
                  <a:gd name="T5" fmla="*/ 487 h 1324"/>
                  <a:gd name="T6" fmla="*/ 1333 w 1544"/>
                  <a:gd name="T7" fmla="*/ 458 h 1324"/>
                  <a:gd name="T8" fmla="*/ 1317 w 1544"/>
                  <a:gd name="T9" fmla="*/ 404 h 1324"/>
                  <a:gd name="T10" fmla="*/ 1350 w 1544"/>
                  <a:gd name="T11" fmla="*/ 498 h 1324"/>
                  <a:gd name="T12" fmla="*/ 1532 w 1544"/>
                  <a:gd name="T13" fmla="*/ 837 h 1324"/>
                  <a:gd name="T14" fmla="*/ 1529 w 1544"/>
                  <a:gd name="T15" fmla="*/ 1016 h 1324"/>
                  <a:gd name="T16" fmla="*/ 1451 w 1544"/>
                  <a:gd name="T17" fmla="*/ 1158 h 1324"/>
                  <a:gd name="T18" fmla="*/ 1369 w 1544"/>
                  <a:gd name="T19" fmla="*/ 1139 h 1324"/>
                  <a:gd name="T20" fmla="*/ 1371 w 1544"/>
                  <a:gd name="T21" fmla="*/ 1125 h 1324"/>
                  <a:gd name="T22" fmla="*/ 1210 w 1544"/>
                  <a:gd name="T23" fmla="*/ 983 h 1324"/>
                  <a:gd name="T24" fmla="*/ 1180 w 1544"/>
                  <a:gd name="T25" fmla="*/ 874 h 1324"/>
                  <a:gd name="T26" fmla="*/ 1137 w 1544"/>
                  <a:gd name="T27" fmla="*/ 832 h 1324"/>
                  <a:gd name="T28" fmla="*/ 1104 w 1544"/>
                  <a:gd name="T29" fmla="*/ 846 h 1324"/>
                  <a:gd name="T30" fmla="*/ 995 w 1544"/>
                  <a:gd name="T31" fmla="*/ 721 h 1324"/>
                  <a:gd name="T32" fmla="*/ 1042 w 1544"/>
                  <a:gd name="T33" fmla="*/ 636 h 1324"/>
                  <a:gd name="T34" fmla="*/ 988 w 1544"/>
                  <a:gd name="T35" fmla="*/ 621 h 1324"/>
                  <a:gd name="T36" fmla="*/ 988 w 1544"/>
                  <a:gd name="T37" fmla="*/ 671 h 1324"/>
                  <a:gd name="T38" fmla="*/ 974 w 1544"/>
                  <a:gd name="T39" fmla="*/ 513 h 1324"/>
                  <a:gd name="T40" fmla="*/ 740 w 1544"/>
                  <a:gd name="T41" fmla="*/ 236 h 1324"/>
                  <a:gd name="T42" fmla="*/ 615 w 1544"/>
                  <a:gd name="T43" fmla="*/ 255 h 1324"/>
                  <a:gd name="T44" fmla="*/ 501 w 1544"/>
                  <a:gd name="T45" fmla="*/ 309 h 1324"/>
                  <a:gd name="T46" fmla="*/ 433 w 1544"/>
                  <a:gd name="T47" fmla="*/ 305 h 1324"/>
                  <a:gd name="T48" fmla="*/ 371 w 1544"/>
                  <a:gd name="T49" fmla="*/ 238 h 1324"/>
                  <a:gd name="T50" fmla="*/ 366 w 1544"/>
                  <a:gd name="T51" fmla="*/ 205 h 1324"/>
                  <a:gd name="T52" fmla="*/ 274 w 1544"/>
                  <a:gd name="T53" fmla="*/ 205 h 1324"/>
                  <a:gd name="T54" fmla="*/ 255 w 1544"/>
                  <a:gd name="T55" fmla="*/ 172 h 1324"/>
                  <a:gd name="T56" fmla="*/ 128 w 1544"/>
                  <a:gd name="T57" fmla="*/ 212 h 1324"/>
                  <a:gd name="T58" fmla="*/ 118 w 1544"/>
                  <a:gd name="T59" fmla="*/ 170 h 1324"/>
                  <a:gd name="T60" fmla="*/ 76 w 1544"/>
                  <a:gd name="T61" fmla="*/ 212 h 1324"/>
                  <a:gd name="T62" fmla="*/ 33 w 1544"/>
                  <a:gd name="T63" fmla="*/ 219 h 1324"/>
                  <a:gd name="T64" fmla="*/ 40 w 1544"/>
                  <a:gd name="T65" fmla="*/ 156 h 1324"/>
                  <a:gd name="T66" fmla="*/ 118 w 1544"/>
                  <a:gd name="T67" fmla="*/ 78 h 1324"/>
                  <a:gd name="T68" fmla="*/ 470 w 1544"/>
                  <a:gd name="T69" fmla="*/ 40 h 1324"/>
                  <a:gd name="T70" fmla="*/ 577 w 1544"/>
                  <a:gd name="T71" fmla="*/ 92 h 1324"/>
                  <a:gd name="T72" fmla="*/ 752 w 1544"/>
                  <a:gd name="T73" fmla="*/ 80 h 1324"/>
                  <a:gd name="T74" fmla="*/ 927 w 1544"/>
                  <a:gd name="T75" fmla="*/ 68 h 1324"/>
                  <a:gd name="T76" fmla="*/ 1000 w 1544"/>
                  <a:gd name="T77" fmla="*/ 96 h 1324"/>
                  <a:gd name="T78" fmla="*/ 1019 w 1544"/>
                  <a:gd name="T79" fmla="*/ 37 h 1324"/>
                  <a:gd name="T80" fmla="*/ 1042 w 1544"/>
                  <a:gd name="T81" fmla="*/ 2 h 1324"/>
                  <a:gd name="T82" fmla="*/ 499 w 1544"/>
                  <a:gd name="T83" fmla="*/ 328 h 1324"/>
                  <a:gd name="T84" fmla="*/ 1480 w 1544"/>
                  <a:gd name="T85" fmla="*/ 690 h 1324"/>
                  <a:gd name="T86" fmla="*/ 1432 w 1544"/>
                  <a:gd name="T87" fmla="*/ 612 h 1324"/>
                  <a:gd name="T88" fmla="*/ 1135 w 1544"/>
                  <a:gd name="T89" fmla="*/ 881 h 1324"/>
                  <a:gd name="T90" fmla="*/ 1123 w 1544"/>
                  <a:gd name="T91" fmla="*/ 907 h 1324"/>
                  <a:gd name="T92" fmla="*/ 1492 w 1544"/>
                  <a:gd name="T93" fmla="*/ 1186 h 1324"/>
                  <a:gd name="T94" fmla="*/ 1532 w 1544"/>
                  <a:gd name="T95" fmla="*/ 1104 h 1324"/>
                  <a:gd name="T96" fmla="*/ 1482 w 1544"/>
                  <a:gd name="T97" fmla="*/ 1201 h 1324"/>
                  <a:gd name="T98" fmla="*/ 1454 w 1544"/>
                  <a:gd name="T99" fmla="*/ 1229 h 1324"/>
                  <a:gd name="T100" fmla="*/ 1399 w 1544"/>
                  <a:gd name="T101" fmla="*/ 1260 h 1324"/>
                  <a:gd name="T102" fmla="*/ 1345 w 1544"/>
                  <a:gd name="T103" fmla="*/ 1291 h 1324"/>
                  <a:gd name="T104" fmla="*/ 1352 w 1544"/>
                  <a:gd name="T105" fmla="*/ 1286 h 1324"/>
                  <a:gd name="T106" fmla="*/ 1317 w 1544"/>
                  <a:gd name="T107" fmla="*/ 1300 h 1324"/>
                  <a:gd name="T108" fmla="*/ 1276 w 1544"/>
                  <a:gd name="T109" fmla="*/ 1314 h 1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44" h="1324">
                    <a:moveTo>
                      <a:pt x="1113" y="7"/>
                    </a:moveTo>
                    <a:lnTo>
                      <a:pt x="1125" y="23"/>
                    </a:lnTo>
                    <a:lnTo>
                      <a:pt x="1151" y="99"/>
                    </a:lnTo>
                    <a:lnTo>
                      <a:pt x="1163" y="125"/>
                    </a:lnTo>
                    <a:lnTo>
                      <a:pt x="1191" y="196"/>
                    </a:lnTo>
                    <a:lnTo>
                      <a:pt x="1229" y="262"/>
                    </a:lnTo>
                    <a:lnTo>
                      <a:pt x="1281" y="340"/>
                    </a:lnTo>
                    <a:lnTo>
                      <a:pt x="1362" y="435"/>
                    </a:lnTo>
                    <a:lnTo>
                      <a:pt x="1371" y="449"/>
                    </a:lnTo>
                    <a:lnTo>
                      <a:pt x="1366" y="461"/>
                    </a:lnTo>
                    <a:lnTo>
                      <a:pt x="1366" y="475"/>
                    </a:lnTo>
                    <a:lnTo>
                      <a:pt x="1369" y="494"/>
                    </a:lnTo>
                    <a:lnTo>
                      <a:pt x="1373" y="513"/>
                    </a:lnTo>
                    <a:lnTo>
                      <a:pt x="1385" y="536"/>
                    </a:lnTo>
                    <a:lnTo>
                      <a:pt x="1406" y="569"/>
                    </a:lnTo>
                    <a:lnTo>
                      <a:pt x="1397" y="562"/>
                    </a:lnTo>
                    <a:lnTo>
                      <a:pt x="1366" y="515"/>
                    </a:lnTo>
                    <a:lnTo>
                      <a:pt x="1359" y="487"/>
                    </a:lnTo>
                    <a:lnTo>
                      <a:pt x="1354" y="442"/>
                    </a:lnTo>
                    <a:lnTo>
                      <a:pt x="1350" y="444"/>
                    </a:lnTo>
                    <a:lnTo>
                      <a:pt x="1350" y="458"/>
                    </a:lnTo>
                    <a:lnTo>
                      <a:pt x="1350" y="475"/>
                    </a:lnTo>
                    <a:lnTo>
                      <a:pt x="1345" y="482"/>
                    </a:lnTo>
                    <a:lnTo>
                      <a:pt x="1333" y="458"/>
                    </a:lnTo>
                    <a:lnTo>
                      <a:pt x="1333" y="449"/>
                    </a:lnTo>
                    <a:lnTo>
                      <a:pt x="1338" y="435"/>
                    </a:lnTo>
                    <a:lnTo>
                      <a:pt x="1336" y="430"/>
                    </a:lnTo>
                    <a:lnTo>
                      <a:pt x="1321" y="425"/>
                    </a:lnTo>
                    <a:lnTo>
                      <a:pt x="1317" y="413"/>
                    </a:lnTo>
                    <a:lnTo>
                      <a:pt x="1317" y="404"/>
                    </a:lnTo>
                    <a:lnTo>
                      <a:pt x="1310" y="399"/>
                    </a:lnTo>
                    <a:lnTo>
                      <a:pt x="1305" y="401"/>
                    </a:lnTo>
                    <a:lnTo>
                      <a:pt x="1312" y="425"/>
                    </a:lnTo>
                    <a:lnTo>
                      <a:pt x="1319" y="439"/>
                    </a:lnTo>
                    <a:lnTo>
                      <a:pt x="1333" y="477"/>
                    </a:lnTo>
                    <a:lnTo>
                      <a:pt x="1350" y="498"/>
                    </a:lnTo>
                    <a:lnTo>
                      <a:pt x="1359" y="515"/>
                    </a:lnTo>
                    <a:lnTo>
                      <a:pt x="1475" y="706"/>
                    </a:lnTo>
                    <a:lnTo>
                      <a:pt x="1499" y="730"/>
                    </a:lnTo>
                    <a:lnTo>
                      <a:pt x="1508" y="747"/>
                    </a:lnTo>
                    <a:lnTo>
                      <a:pt x="1522" y="787"/>
                    </a:lnTo>
                    <a:lnTo>
                      <a:pt x="1532" y="837"/>
                    </a:lnTo>
                    <a:lnTo>
                      <a:pt x="1536" y="931"/>
                    </a:lnTo>
                    <a:lnTo>
                      <a:pt x="1544" y="995"/>
                    </a:lnTo>
                    <a:lnTo>
                      <a:pt x="1541" y="993"/>
                    </a:lnTo>
                    <a:lnTo>
                      <a:pt x="1539" y="985"/>
                    </a:lnTo>
                    <a:lnTo>
                      <a:pt x="1536" y="985"/>
                    </a:lnTo>
                    <a:lnTo>
                      <a:pt x="1529" y="1016"/>
                    </a:lnTo>
                    <a:lnTo>
                      <a:pt x="1518" y="1047"/>
                    </a:lnTo>
                    <a:lnTo>
                      <a:pt x="1520" y="1087"/>
                    </a:lnTo>
                    <a:lnTo>
                      <a:pt x="1518" y="1108"/>
                    </a:lnTo>
                    <a:lnTo>
                      <a:pt x="1496" y="1134"/>
                    </a:lnTo>
                    <a:lnTo>
                      <a:pt x="1482" y="1137"/>
                    </a:lnTo>
                    <a:lnTo>
                      <a:pt x="1451" y="1158"/>
                    </a:lnTo>
                    <a:lnTo>
                      <a:pt x="1425" y="1158"/>
                    </a:lnTo>
                    <a:lnTo>
                      <a:pt x="1399" y="1172"/>
                    </a:lnTo>
                    <a:lnTo>
                      <a:pt x="1380" y="1175"/>
                    </a:lnTo>
                    <a:lnTo>
                      <a:pt x="1366" y="1158"/>
                    </a:lnTo>
                    <a:lnTo>
                      <a:pt x="1366" y="1149"/>
                    </a:lnTo>
                    <a:lnTo>
                      <a:pt x="1369" y="1139"/>
                    </a:lnTo>
                    <a:lnTo>
                      <a:pt x="1376" y="1134"/>
                    </a:lnTo>
                    <a:lnTo>
                      <a:pt x="1404" y="1151"/>
                    </a:lnTo>
                    <a:lnTo>
                      <a:pt x="1409" y="1142"/>
                    </a:lnTo>
                    <a:lnTo>
                      <a:pt x="1399" y="1134"/>
                    </a:lnTo>
                    <a:lnTo>
                      <a:pt x="1383" y="1130"/>
                    </a:lnTo>
                    <a:lnTo>
                      <a:pt x="1371" y="1125"/>
                    </a:lnTo>
                    <a:lnTo>
                      <a:pt x="1343" y="1082"/>
                    </a:lnTo>
                    <a:lnTo>
                      <a:pt x="1314" y="1056"/>
                    </a:lnTo>
                    <a:lnTo>
                      <a:pt x="1307" y="1035"/>
                    </a:lnTo>
                    <a:lnTo>
                      <a:pt x="1265" y="1028"/>
                    </a:lnTo>
                    <a:lnTo>
                      <a:pt x="1234" y="1014"/>
                    </a:lnTo>
                    <a:lnTo>
                      <a:pt x="1210" y="983"/>
                    </a:lnTo>
                    <a:lnTo>
                      <a:pt x="1189" y="922"/>
                    </a:lnTo>
                    <a:lnTo>
                      <a:pt x="1177" y="917"/>
                    </a:lnTo>
                    <a:lnTo>
                      <a:pt x="1170" y="915"/>
                    </a:lnTo>
                    <a:lnTo>
                      <a:pt x="1180" y="889"/>
                    </a:lnTo>
                    <a:lnTo>
                      <a:pt x="1189" y="867"/>
                    </a:lnTo>
                    <a:lnTo>
                      <a:pt x="1180" y="874"/>
                    </a:lnTo>
                    <a:lnTo>
                      <a:pt x="1172" y="881"/>
                    </a:lnTo>
                    <a:lnTo>
                      <a:pt x="1165" y="900"/>
                    </a:lnTo>
                    <a:lnTo>
                      <a:pt x="1161" y="905"/>
                    </a:lnTo>
                    <a:lnTo>
                      <a:pt x="1154" y="903"/>
                    </a:lnTo>
                    <a:lnTo>
                      <a:pt x="1142" y="872"/>
                    </a:lnTo>
                    <a:lnTo>
                      <a:pt x="1137" y="832"/>
                    </a:lnTo>
                    <a:lnTo>
                      <a:pt x="1144" y="815"/>
                    </a:lnTo>
                    <a:lnTo>
                      <a:pt x="1130" y="818"/>
                    </a:lnTo>
                    <a:lnTo>
                      <a:pt x="1113" y="825"/>
                    </a:lnTo>
                    <a:lnTo>
                      <a:pt x="1118" y="839"/>
                    </a:lnTo>
                    <a:lnTo>
                      <a:pt x="1116" y="846"/>
                    </a:lnTo>
                    <a:lnTo>
                      <a:pt x="1104" y="846"/>
                    </a:lnTo>
                    <a:lnTo>
                      <a:pt x="1094" y="844"/>
                    </a:lnTo>
                    <a:lnTo>
                      <a:pt x="1080" y="832"/>
                    </a:lnTo>
                    <a:lnTo>
                      <a:pt x="1061" y="808"/>
                    </a:lnTo>
                    <a:lnTo>
                      <a:pt x="1016" y="740"/>
                    </a:lnTo>
                    <a:lnTo>
                      <a:pt x="1007" y="730"/>
                    </a:lnTo>
                    <a:lnTo>
                      <a:pt x="995" y="721"/>
                    </a:lnTo>
                    <a:lnTo>
                      <a:pt x="1000" y="718"/>
                    </a:lnTo>
                    <a:lnTo>
                      <a:pt x="1009" y="714"/>
                    </a:lnTo>
                    <a:lnTo>
                      <a:pt x="1026" y="678"/>
                    </a:lnTo>
                    <a:lnTo>
                      <a:pt x="1040" y="657"/>
                    </a:lnTo>
                    <a:lnTo>
                      <a:pt x="1042" y="643"/>
                    </a:lnTo>
                    <a:lnTo>
                      <a:pt x="1042" y="636"/>
                    </a:lnTo>
                    <a:lnTo>
                      <a:pt x="1033" y="628"/>
                    </a:lnTo>
                    <a:lnTo>
                      <a:pt x="1024" y="638"/>
                    </a:lnTo>
                    <a:lnTo>
                      <a:pt x="1019" y="636"/>
                    </a:lnTo>
                    <a:lnTo>
                      <a:pt x="1005" y="621"/>
                    </a:lnTo>
                    <a:lnTo>
                      <a:pt x="995" y="617"/>
                    </a:lnTo>
                    <a:lnTo>
                      <a:pt x="988" y="621"/>
                    </a:lnTo>
                    <a:lnTo>
                      <a:pt x="998" y="636"/>
                    </a:lnTo>
                    <a:lnTo>
                      <a:pt x="1005" y="640"/>
                    </a:lnTo>
                    <a:lnTo>
                      <a:pt x="1005" y="659"/>
                    </a:lnTo>
                    <a:lnTo>
                      <a:pt x="1005" y="666"/>
                    </a:lnTo>
                    <a:lnTo>
                      <a:pt x="998" y="673"/>
                    </a:lnTo>
                    <a:lnTo>
                      <a:pt x="988" y="671"/>
                    </a:lnTo>
                    <a:lnTo>
                      <a:pt x="983" y="678"/>
                    </a:lnTo>
                    <a:lnTo>
                      <a:pt x="976" y="673"/>
                    </a:lnTo>
                    <a:lnTo>
                      <a:pt x="969" y="666"/>
                    </a:lnTo>
                    <a:lnTo>
                      <a:pt x="960" y="652"/>
                    </a:lnTo>
                    <a:lnTo>
                      <a:pt x="964" y="567"/>
                    </a:lnTo>
                    <a:lnTo>
                      <a:pt x="974" y="513"/>
                    </a:lnTo>
                    <a:lnTo>
                      <a:pt x="967" y="451"/>
                    </a:lnTo>
                    <a:lnTo>
                      <a:pt x="967" y="442"/>
                    </a:lnTo>
                    <a:lnTo>
                      <a:pt x="962" y="427"/>
                    </a:lnTo>
                    <a:lnTo>
                      <a:pt x="936" y="394"/>
                    </a:lnTo>
                    <a:lnTo>
                      <a:pt x="827" y="326"/>
                    </a:lnTo>
                    <a:lnTo>
                      <a:pt x="740" y="236"/>
                    </a:lnTo>
                    <a:lnTo>
                      <a:pt x="671" y="205"/>
                    </a:lnTo>
                    <a:lnTo>
                      <a:pt x="624" y="222"/>
                    </a:lnTo>
                    <a:lnTo>
                      <a:pt x="615" y="229"/>
                    </a:lnTo>
                    <a:lnTo>
                      <a:pt x="612" y="241"/>
                    </a:lnTo>
                    <a:lnTo>
                      <a:pt x="617" y="250"/>
                    </a:lnTo>
                    <a:lnTo>
                      <a:pt x="615" y="255"/>
                    </a:lnTo>
                    <a:lnTo>
                      <a:pt x="600" y="257"/>
                    </a:lnTo>
                    <a:lnTo>
                      <a:pt x="584" y="262"/>
                    </a:lnTo>
                    <a:lnTo>
                      <a:pt x="541" y="293"/>
                    </a:lnTo>
                    <a:lnTo>
                      <a:pt x="525" y="295"/>
                    </a:lnTo>
                    <a:lnTo>
                      <a:pt x="511" y="305"/>
                    </a:lnTo>
                    <a:lnTo>
                      <a:pt x="501" y="309"/>
                    </a:lnTo>
                    <a:lnTo>
                      <a:pt x="470" y="316"/>
                    </a:lnTo>
                    <a:lnTo>
                      <a:pt x="447" y="326"/>
                    </a:lnTo>
                    <a:lnTo>
                      <a:pt x="437" y="323"/>
                    </a:lnTo>
                    <a:lnTo>
                      <a:pt x="428" y="309"/>
                    </a:lnTo>
                    <a:lnTo>
                      <a:pt x="425" y="293"/>
                    </a:lnTo>
                    <a:lnTo>
                      <a:pt x="433" y="305"/>
                    </a:lnTo>
                    <a:lnTo>
                      <a:pt x="442" y="312"/>
                    </a:lnTo>
                    <a:lnTo>
                      <a:pt x="447" y="309"/>
                    </a:lnTo>
                    <a:lnTo>
                      <a:pt x="447" y="300"/>
                    </a:lnTo>
                    <a:lnTo>
                      <a:pt x="437" y="283"/>
                    </a:lnTo>
                    <a:lnTo>
                      <a:pt x="407" y="267"/>
                    </a:lnTo>
                    <a:lnTo>
                      <a:pt x="371" y="238"/>
                    </a:lnTo>
                    <a:lnTo>
                      <a:pt x="381" y="238"/>
                    </a:lnTo>
                    <a:lnTo>
                      <a:pt x="383" y="231"/>
                    </a:lnTo>
                    <a:lnTo>
                      <a:pt x="371" y="224"/>
                    </a:lnTo>
                    <a:lnTo>
                      <a:pt x="373" y="215"/>
                    </a:lnTo>
                    <a:lnTo>
                      <a:pt x="381" y="203"/>
                    </a:lnTo>
                    <a:lnTo>
                      <a:pt x="366" y="205"/>
                    </a:lnTo>
                    <a:lnTo>
                      <a:pt x="357" y="215"/>
                    </a:lnTo>
                    <a:lnTo>
                      <a:pt x="357" y="224"/>
                    </a:lnTo>
                    <a:lnTo>
                      <a:pt x="355" y="231"/>
                    </a:lnTo>
                    <a:lnTo>
                      <a:pt x="350" y="231"/>
                    </a:lnTo>
                    <a:lnTo>
                      <a:pt x="336" y="224"/>
                    </a:lnTo>
                    <a:lnTo>
                      <a:pt x="274" y="205"/>
                    </a:lnTo>
                    <a:lnTo>
                      <a:pt x="222" y="196"/>
                    </a:lnTo>
                    <a:lnTo>
                      <a:pt x="260" y="186"/>
                    </a:lnTo>
                    <a:lnTo>
                      <a:pt x="281" y="189"/>
                    </a:lnTo>
                    <a:lnTo>
                      <a:pt x="279" y="182"/>
                    </a:lnTo>
                    <a:lnTo>
                      <a:pt x="274" y="177"/>
                    </a:lnTo>
                    <a:lnTo>
                      <a:pt x="255" y="172"/>
                    </a:lnTo>
                    <a:lnTo>
                      <a:pt x="234" y="177"/>
                    </a:lnTo>
                    <a:lnTo>
                      <a:pt x="220" y="177"/>
                    </a:lnTo>
                    <a:lnTo>
                      <a:pt x="208" y="184"/>
                    </a:lnTo>
                    <a:lnTo>
                      <a:pt x="194" y="193"/>
                    </a:lnTo>
                    <a:lnTo>
                      <a:pt x="180" y="200"/>
                    </a:lnTo>
                    <a:lnTo>
                      <a:pt x="128" y="212"/>
                    </a:lnTo>
                    <a:lnTo>
                      <a:pt x="87" y="222"/>
                    </a:lnTo>
                    <a:lnTo>
                      <a:pt x="92" y="215"/>
                    </a:lnTo>
                    <a:lnTo>
                      <a:pt x="99" y="210"/>
                    </a:lnTo>
                    <a:lnTo>
                      <a:pt x="123" y="200"/>
                    </a:lnTo>
                    <a:lnTo>
                      <a:pt x="125" y="184"/>
                    </a:lnTo>
                    <a:lnTo>
                      <a:pt x="118" y="170"/>
                    </a:lnTo>
                    <a:lnTo>
                      <a:pt x="113" y="174"/>
                    </a:lnTo>
                    <a:lnTo>
                      <a:pt x="106" y="186"/>
                    </a:lnTo>
                    <a:lnTo>
                      <a:pt x="97" y="179"/>
                    </a:lnTo>
                    <a:lnTo>
                      <a:pt x="87" y="179"/>
                    </a:lnTo>
                    <a:lnTo>
                      <a:pt x="87" y="198"/>
                    </a:lnTo>
                    <a:lnTo>
                      <a:pt x="76" y="212"/>
                    </a:lnTo>
                    <a:lnTo>
                      <a:pt x="71" y="224"/>
                    </a:lnTo>
                    <a:lnTo>
                      <a:pt x="38" y="238"/>
                    </a:lnTo>
                    <a:lnTo>
                      <a:pt x="33" y="234"/>
                    </a:lnTo>
                    <a:lnTo>
                      <a:pt x="43" y="222"/>
                    </a:lnTo>
                    <a:lnTo>
                      <a:pt x="40" y="215"/>
                    </a:lnTo>
                    <a:lnTo>
                      <a:pt x="33" y="219"/>
                    </a:lnTo>
                    <a:lnTo>
                      <a:pt x="33" y="212"/>
                    </a:lnTo>
                    <a:lnTo>
                      <a:pt x="40" y="205"/>
                    </a:lnTo>
                    <a:lnTo>
                      <a:pt x="43" y="198"/>
                    </a:lnTo>
                    <a:lnTo>
                      <a:pt x="40" y="184"/>
                    </a:lnTo>
                    <a:lnTo>
                      <a:pt x="43" y="163"/>
                    </a:lnTo>
                    <a:lnTo>
                      <a:pt x="40" y="156"/>
                    </a:lnTo>
                    <a:lnTo>
                      <a:pt x="9" y="132"/>
                    </a:lnTo>
                    <a:lnTo>
                      <a:pt x="2" y="120"/>
                    </a:lnTo>
                    <a:lnTo>
                      <a:pt x="0" y="106"/>
                    </a:lnTo>
                    <a:lnTo>
                      <a:pt x="2" y="89"/>
                    </a:lnTo>
                    <a:lnTo>
                      <a:pt x="59" y="85"/>
                    </a:lnTo>
                    <a:lnTo>
                      <a:pt x="118" y="78"/>
                    </a:lnTo>
                    <a:lnTo>
                      <a:pt x="177" y="73"/>
                    </a:lnTo>
                    <a:lnTo>
                      <a:pt x="236" y="66"/>
                    </a:lnTo>
                    <a:lnTo>
                      <a:pt x="295" y="61"/>
                    </a:lnTo>
                    <a:lnTo>
                      <a:pt x="355" y="54"/>
                    </a:lnTo>
                    <a:lnTo>
                      <a:pt x="411" y="47"/>
                    </a:lnTo>
                    <a:lnTo>
                      <a:pt x="470" y="40"/>
                    </a:lnTo>
                    <a:lnTo>
                      <a:pt x="480" y="56"/>
                    </a:lnTo>
                    <a:lnTo>
                      <a:pt x="499" y="87"/>
                    </a:lnTo>
                    <a:lnTo>
                      <a:pt x="501" y="96"/>
                    </a:lnTo>
                    <a:lnTo>
                      <a:pt x="518" y="94"/>
                    </a:lnTo>
                    <a:lnTo>
                      <a:pt x="546" y="94"/>
                    </a:lnTo>
                    <a:lnTo>
                      <a:pt x="577" y="92"/>
                    </a:lnTo>
                    <a:lnTo>
                      <a:pt x="605" y="89"/>
                    </a:lnTo>
                    <a:lnTo>
                      <a:pt x="634" y="87"/>
                    </a:lnTo>
                    <a:lnTo>
                      <a:pt x="664" y="87"/>
                    </a:lnTo>
                    <a:lnTo>
                      <a:pt x="693" y="85"/>
                    </a:lnTo>
                    <a:lnTo>
                      <a:pt x="721" y="82"/>
                    </a:lnTo>
                    <a:lnTo>
                      <a:pt x="752" y="80"/>
                    </a:lnTo>
                    <a:lnTo>
                      <a:pt x="780" y="78"/>
                    </a:lnTo>
                    <a:lnTo>
                      <a:pt x="811" y="75"/>
                    </a:lnTo>
                    <a:lnTo>
                      <a:pt x="839" y="73"/>
                    </a:lnTo>
                    <a:lnTo>
                      <a:pt x="868" y="73"/>
                    </a:lnTo>
                    <a:lnTo>
                      <a:pt x="898" y="70"/>
                    </a:lnTo>
                    <a:lnTo>
                      <a:pt x="927" y="68"/>
                    </a:lnTo>
                    <a:lnTo>
                      <a:pt x="955" y="66"/>
                    </a:lnTo>
                    <a:lnTo>
                      <a:pt x="986" y="63"/>
                    </a:lnTo>
                    <a:lnTo>
                      <a:pt x="986" y="68"/>
                    </a:lnTo>
                    <a:lnTo>
                      <a:pt x="993" y="80"/>
                    </a:lnTo>
                    <a:lnTo>
                      <a:pt x="995" y="92"/>
                    </a:lnTo>
                    <a:lnTo>
                      <a:pt x="1000" y="96"/>
                    </a:lnTo>
                    <a:lnTo>
                      <a:pt x="1005" y="99"/>
                    </a:lnTo>
                    <a:lnTo>
                      <a:pt x="1014" y="99"/>
                    </a:lnTo>
                    <a:lnTo>
                      <a:pt x="1024" y="92"/>
                    </a:lnTo>
                    <a:lnTo>
                      <a:pt x="1026" y="75"/>
                    </a:lnTo>
                    <a:lnTo>
                      <a:pt x="1026" y="56"/>
                    </a:lnTo>
                    <a:lnTo>
                      <a:pt x="1019" y="37"/>
                    </a:lnTo>
                    <a:lnTo>
                      <a:pt x="1016" y="21"/>
                    </a:lnTo>
                    <a:lnTo>
                      <a:pt x="1019" y="11"/>
                    </a:lnTo>
                    <a:lnTo>
                      <a:pt x="1024" y="9"/>
                    </a:lnTo>
                    <a:lnTo>
                      <a:pt x="1028" y="2"/>
                    </a:lnTo>
                    <a:lnTo>
                      <a:pt x="1033" y="0"/>
                    </a:lnTo>
                    <a:lnTo>
                      <a:pt x="1042" y="2"/>
                    </a:lnTo>
                    <a:lnTo>
                      <a:pt x="1083" y="9"/>
                    </a:lnTo>
                    <a:lnTo>
                      <a:pt x="1113" y="7"/>
                    </a:lnTo>
                    <a:close/>
                    <a:moveTo>
                      <a:pt x="525" y="323"/>
                    </a:moveTo>
                    <a:lnTo>
                      <a:pt x="508" y="333"/>
                    </a:lnTo>
                    <a:lnTo>
                      <a:pt x="487" y="331"/>
                    </a:lnTo>
                    <a:lnTo>
                      <a:pt x="499" y="328"/>
                    </a:lnTo>
                    <a:lnTo>
                      <a:pt x="508" y="328"/>
                    </a:lnTo>
                    <a:lnTo>
                      <a:pt x="529" y="316"/>
                    </a:lnTo>
                    <a:lnTo>
                      <a:pt x="541" y="305"/>
                    </a:lnTo>
                    <a:lnTo>
                      <a:pt x="553" y="300"/>
                    </a:lnTo>
                    <a:lnTo>
                      <a:pt x="525" y="323"/>
                    </a:lnTo>
                    <a:close/>
                    <a:moveTo>
                      <a:pt x="1480" y="690"/>
                    </a:moveTo>
                    <a:lnTo>
                      <a:pt x="1484" y="706"/>
                    </a:lnTo>
                    <a:lnTo>
                      <a:pt x="1461" y="673"/>
                    </a:lnTo>
                    <a:lnTo>
                      <a:pt x="1430" y="619"/>
                    </a:lnTo>
                    <a:lnTo>
                      <a:pt x="1411" y="579"/>
                    </a:lnTo>
                    <a:lnTo>
                      <a:pt x="1421" y="588"/>
                    </a:lnTo>
                    <a:lnTo>
                      <a:pt x="1432" y="612"/>
                    </a:lnTo>
                    <a:lnTo>
                      <a:pt x="1480" y="690"/>
                    </a:lnTo>
                    <a:close/>
                    <a:moveTo>
                      <a:pt x="1144" y="903"/>
                    </a:moveTo>
                    <a:lnTo>
                      <a:pt x="1146" y="917"/>
                    </a:lnTo>
                    <a:lnTo>
                      <a:pt x="1132" y="898"/>
                    </a:lnTo>
                    <a:lnTo>
                      <a:pt x="1123" y="874"/>
                    </a:lnTo>
                    <a:lnTo>
                      <a:pt x="1135" y="881"/>
                    </a:lnTo>
                    <a:lnTo>
                      <a:pt x="1144" y="903"/>
                    </a:lnTo>
                    <a:close/>
                    <a:moveTo>
                      <a:pt x="1156" y="924"/>
                    </a:moveTo>
                    <a:lnTo>
                      <a:pt x="1151" y="931"/>
                    </a:lnTo>
                    <a:lnTo>
                      <a:pt x="1137" y="929"/>
                    </a:lnTo>
                    <a:lnTo>
                      <a:pt x="1128" y="922"/>
                    </a:lnTo>
                    <a:lnTo>
                      <a:pt x="1123" y="907"/>
                    </a:lnTo>
                    <a:lnTo>
                      <a:pt x="1137" y="922"/>
                    </a:lnTo>
                    <a:lnTo>
                      <a:pt x="1142" y="924"/>
                    </a:lnTo>
                    <a:lnTo>
                      <a:pt x="1156" y="924"/>
                    </a:lnTo>
                    <a:close/>
                    <a:moveTo>
                      <a:pt x="1520" y="1149"/>
                    </a:moveTo>
                    <a:lnTo>
                      <a:pt x="1489" y="1196"/>
                    </a:lnTo>
                    <a:lnTo>
                      <a:pt x="1492" y="1186"/>
                    </a:lnTo>
                    <a:lnTo>
                      <a:pt x="1503" y="1160"/>
                    </a:lnTo>
                    <a:lnTo>
                      <a:pt x="1506" y="1151"/>
                    </a:lnTo>
                    <a:lnTo>
                      <a:pt x="1515" y="1142"/>
                    </a:lnTo>
                    <a:lnTo>
                      <a:pt x="1522" y="1130"/>
                    </a:lnTo>
                    <a:lnTo>
                      <a:pt x="1520" y="1116"/>
                    </a:lnTo>
                    <a:lnTo>
                      <a:pt x="1532" y="1104"/>
                    </a:lnTo>
                    <a:lnTo>
                      <a:pt x="1536" y="1101"/>
                    </a:lnTo>
                    <a:lnTo>
                      <a:pt x="1520" y="1149"/>
                    </a:lnTo>
                    <a:close/>
                    <a:moveTo>
                      <a:pt x="1480" y="1210"/>
                    </a:moveTo>
                    <a:lnTo>
                      <a:pt x="1475" y="1210"/>
                    </a:lnTo>
                    <a:lnTo>
                      <a:pt x="1480" y="1201"/>
                    </a:lnTo>
                    <a:lnTo>
                      <a:pt x="1482" y="1201"/>
                    </a:lnTo>
                    <a:lnTo>
                      <a:pt x="1480" y="1210"/>
                    </a:lnTo>
                    <a:close/>
                    <a:moveTo>
                      <a:pt x="1447" y="1236"/>
                    </a:moveTo>
                    <a:lnTo>
                      <a:pt x="1442" y="1236"/>
                    </a:lnTo>
                    <a:lnTo>
                      <a:pt x="1444" y="1234"/>
                    </a:lnTo>
                    <a:lnTo>
                      <a:pt x="1451" y="1227"/>
                    </a:lnTo>
                    <a:lnTo>
                      <a:pt x="1454" y="1229"/>
                    </a:lnTo>
                    <a:lnTo>
                      <a:pt x="1454" y="1231"/>
                    </a:lnTo>
                    <a:lnTo>
                      <a:pt x="1447" y="1236"/>
                    </a:lnTo>
                    <a:close/>
                    <a:moveTo>
                      <a:pt x="1406" y="1262"/>
                    </a:moveTo>
                    <a:lnTo>
                      <a:pt x="1399" y="1269"/>
                    </a:lnTo>
                    <a:lnTo>
                      <a:pt x="1390" y="1267"/>
                    </a:lnTo>
                    <a:lnTo>
                      <a:pt x="1399" y="1260"/>
                    </a:lnTo>
                    <a:lnTo>
                      <a:pt x="1428" y="1250"/>
                    </a:lnTo>
                    <a:lnTo>
                      <a:pt x="1418" y="1257"/>
                    </a:lnTo>
                    <a:lnTo>
                      <a:pt x="1406" y="1262"/>
                    </a:lnTo>
                    <a:close/>
                    <a:moveTo>
                      <a:pt x="1352" y="1286"/>
                    </a:moveTo>
                    <a:lnTo>
                      <a:pt x="1347" y="1291"/>
                    </a:lnTo>
                    <a:lnTo>
                      <a:pt x="1345" y="1291"/>
                    </a:lnTo>
                    <a:lnTo>
                      <a:pt x="1345" y="1283"/>
                    </a:lnTo>
                    <a:lnTo>
                      <a:pt x="1333" y="1272"/>
                    </a:lnTo>
                    <a:lnTo>
                      <a:pt x="1333" y="1267"/>
                    </a:lnTo>
                    <a:lnTo>
                      <a:pt x="1354" y="1279"/>
                    </a:lnTo>
                    <a:lnTo>
                      <a:pt x="1354" y="1281"/>
                    </a:lnTo>
                    <a:lnTo>
                      <a:pt x="1352" y="1286"/>
                    </a:lnTo>
                    <a:close/>
                    <a:moveTo>
                      <a:pt x="1310" y="1305"/>
                    </a:moveTo>
                    <a:lnTo>
                      <a:pt x="1298" y="1307"/>
                    </a:lnTo>
                    <a:lnTo>
                      <a:pt x="1307" y="1298"/>
                    </a:lnTo>
                    <a:lnTo>
                      <a:pt x="1307" y="1283"/>
                    </a:lnTo>
                    <a:lnTo>
                      <a:pt x="1314" y="1293"/>
                    </a:lnTo>
                    <a:lnTo>
                      <a:pt x="1317" y="1300"/>
                    </a:lnTo>
                    <a:lnTo>
                      <a:pt x="1310" y="1305"/>
                    </a:lnTo>
                    <a:close/>
                    <a:moveTo>
                      <a:pt x="1269" y="1321"/>
                    </a:moveTo>
                    <a:lnTo>
                      <a:pt x="1265" y="1324"/>
                    </a:lnTo>
                    <a:lnTo>
                      <a:pt x="1262" y="1321"/>
                    </a:lnTo>
                    <a:lnTo>
                      <a:pt x="1272" y="1314"/>
                    </a:lnTo>
                    <a:lnTo>
                      <a:pt x="1276" y="1314"/>
                    </a:lnTo>
                    <a:lnTo>
                      <a:pt x="1276" y="1319"/>
                    </a:lnTo>
                    <a:lnTo>
                      <a:pt x="1269" y="132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4" name="Freeform 52">
                <a:extLst>
                  <a:ext uri="{FF2B5EF4-FFF2-40B4-BE49-F238E27FC236}">
                    <a16:creationId xmlns:a16="http://schemas.microsoft.com/office/drawing/2014/main" id="{F413C282-CF1A-D1AC-6BD7-857A52ABE8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03" y="2003"/>
                <a:ext cx="917" cy="941"/>
              </a:xfrm>
              <a:custGeom>
                <a:avLst/>
                <a:gdLst>
                  <a:gd name="T0" fmla="*/ 891 w 917"/>
                  <a:gd name="T1" fmla="*/ 593 h 941"/>
                  <a:gd name="T2" fmla="*/ 884 w 917"/>
                  <a:gd name="T3" fmla="*/ 605 h 941"/>
                  <a:gd name="T4" fmla="*/ 886 w 917"/>
                  <a:gd name="T5" fmla="*/ 624 h 941"/>
                  <a:gd name="T6" fmla="*/ 874 w 917"/>
                  <a:gd name="T7" fmla="*/ 643 h 941"/>
                  <a:gd name="T8" fmla="*/ 867 w 917"/>
                  <a:gd name="T9" fmla="*/ 664 h 941"/>
                  <a:gd name="T10" fmla="*/ 877 w 917"/>
                  <a:gd name="T11" fmla="*/ 671 h 941"/>
                  <a:gd name="T12" fmla="*/ 870 w 917"/>
                  <a:gd name="T13" fmla="*/ 695 h 941"/>
                  <a:gd name="T14" fmla="*/ 851 w 917"/>
                  <a:gd name="T15" fmla="*/ 719 h 941"/>
                  <a:gd name="T16" fmla="*/ 858 w 917"/>
                  <a:gd name="T17" fmla="*/ 752 h 941"/>
                  <a:gd name="T18" fmla="*/ 844 w 917"/>
                  <a:gd name="T19" fmla="*/ 763 h 941"/>
                  <a:gd name="T20" fmla="*/ 844 w 917"/>
                  <a:gd name="T21" fmla="*/ 811 h 941"/>
                  <a:gd name="T22" fmla="*/ 848 w 917"/>
                  <a:gd name="T23" fmla="*/ 849 h 941"/>
                  <a:gd name="T24" fmla="*/ 768 w 917"/>
                  <a:gd name="T25" fmla="*/ 842 h 941"/>
                  <a:gd name="T26" fmla="*/ 756 w 917"/>
                  <a:gd name="T27" fmla="*/ 853 h 941"/>
                  <a:gd name="T28" fmla="*/ 761 w 917"/>
                  <a:gd name="T29" fmla="*/ 898 h 941"/>
                  <a:gd name="T30" fmla="*/ 751 w 917"/>
                  <a:gd name="T31" fmla="*/ 941 h 941"/>
                  <a:gd name="T32" fmla="*/ 733 w 917"/>
                  <a:gd name="T33" fmla="*/ 934 h 941"/>
                  <a:gd name="T34" fmla="*/ 721 w 917"/>
                  <a:gd name="T35" fmla="*/ 905 h 941"/>
                  <a:gd name="T36" fmla="*/ 633 w 917"/>
                  <a:gd name="T37" fmla="*/ 912 h 941"/>
                  <a:gd name="T38" fmla="*/ 546 w 917"/>
                  <a:gd name="T39" fmla="*/ 917 h 941"/>
                  <a:gd name="T40" fmla="*/ 458 w 917"/>
                  <a:gd name="T41" fmla="*/ 924 h 941"/>
                  <a:gd name="T42" fmla="*/ 371 w 917"/>
                  <a:gd name="T43" fmla="*/ 929 h 941"/>
                  <a:gd name="T44" fmla="*/ 283 w 917"/>
                  <a:gd name="T45" fmla="*/ 936 h 941"/>
                  <a:gd name="T46" fmla="*/ 234 w 917"/>
                  <a:gd name="T47" fmla="*/ 929 h 941"/>
                  <a:gd name="T48" fmla="*/ 194 w 917"/>
                  <a:gd name="T49" fmla="*/ 858 h 941"/>
                  <a:gd name="T50" fmla="*/ 179 w 917"/>
                  <a:gd name="T51" fmla="*/ 749 h 941"/>
                  <a:gd name="T52" fmla="*/ 163 w 917"/>
                  <a:gd name="T53" fmla="*/ 700 h 941"/>
                  <a:gd name="T54" fmla="*/ 172 w 917"/>
                  <a:gd name="T55" fmla="*/ 641 h 941"/>
                  <a:gd name="T56" fmla="*/ 189 w 917"/>
                  <a:gd name="T57" fmla="*/ 610 h 941"/>
                  <a:gd name="T58" fmla="*/ 177 w 917"/>
                  <a:gd name="T59" fmla="*/ 586 h 941"/>
                  <a:gd name="T60" fmla="*/ 130 w 917"/>
                  <a:gd name="T61" fmla="*/ 487 h 941"/>
                  <a:gd name="T62" fmla="*/ 106 w 917"/>
                  <a:gd name="T63" fmla="*/ 423 h 941"/>
                  <a:gd name="T64" fmla="*/ 82 w 917"/>
                  <a:gd name="T65" fmla="*/ 345 h 941"/>
                  <a:gd name="T66" fmla="*/ 61 w 917"/>
                  <a:gd name="T67" fmla="*/ 265 h 941"/>
                  <a:gd name="T68" fmla="*/ 38 w 917"/>
                  <a:gd name="T69" fmla="*/ 187 h 941"/>
                  <a:gd name="T70" fmla="*/ 14 w 917"/>
                  <a:gd name="T71" fmla="*/ 109 h 941"/>
                  <a:gd name="T72" fmla="*/ 54 w 917"/>
                  <a:gd name="T73" fmla="*/ 49 h 941"/>
                  <a:gd name="T74" fmla="*/ 222 w 917"/>
                  <a:gd name="T75" fmla="*/ 30 h 941"/>
                  <a:gd name="T76" fmla="*/ 378 w 917"/>
                  <a:gd name="T77" fmla="*/ 9 h 941"/>
                  <a:gd name="T78" fmla="*/ 423 w 917"/>
                  <a:gd name="T79" fmla="*/ 16 h 941"/>
                  <a:gd name="T80" fmla="*/ 432 w 917"/>
                  <a:gd name="T81" fmla="*/ 85 h 941"/>
                  <a:gd name="T82" fmla="*/ 470 w 917"/>
                  <a:gd name="T83" fmla="*/ 106 h 941"/>
                  <a:gd name="T84" fmla="*/ 501 w 917"/>
                  <a:gd name="T85" fmla="*/ 125 h 941"/>
                  <a:gd name="T86" fmla="*/ 551 w 917"/>
                  <a:gd name="T87" fmla="*/ 194 h 941"/>
                  <a:gd name="T88" fmla="*/ 629 w 917"/>
                  <a:gd name="T89" fmla="*/ 255 h 941"/>
                  <a:gd name="T90" fmla="*/ 685 w 917"/>
                  <a:gd name="T91" fmla="*/ 305 h 941"/>
                  <a:gd name="T92" fmla="*/ 709 w 917"/>
                  <a:gd name="T93" fmla="*/ 326 h 941"/>
                  <a:gd name="T94" fmla="*/ 759 w 917"/>
                  <a:gd name="T95" fmla="*/ 364 h 941"/>
                  <a:gd name="T96" fmla="*/ 808 w 917"/>
                  <a:gd name="T97" fmla="*/ 454 h 941"/>
                  <a:gd name="T98" fmla="*/ 863 w 917"/>
                  <a:gd name="T99" fmla="*/ 515 h 941"/>
                  <a:gd name="T100" fmla="*/ 917 w 917"/>
                  <a:gd name="T101" fmla="*/ 558 h 941"/>
                  <a:gd name="T102" fmla="*/ 851 w 917"/>
                  <a:gd name="T103" fmla="*/ 830 h 941"/>
                  <a:gd name="T104" fmla="*/ 855 w 917"/>
                  <a:gd name="T105" fmla="*/ 797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17" h="941">
                    <a:moveTo>
                      <a:pt x="917" y="558"/>
                    </a:moveTo>
                    <a:lnTo>
                      <a:pt x="912" y="579"/>
                    </a:lnTo>
                    <a:lnTo>
                      <a:pt x="891" y="593"/>
                    </a:lnTo>
                    <a:lnTo>
                      <a:pt x="884" y="593"/>
                    </a:lnTo>
                    <a:lnTo>
                      <a:pt x="879" y="598"/>
                    </a:lnTo>
                    <a:lnTo>
                      <a:pt x="884" y="605"/>
                    </a:lnTo>
                    <a:lnTo>
                      <a:pt x="891" y="610"/>
                    </a:lnTo>
                    <a:lnTo>
                      <a:pt x="891" y="615"/>
                    </a:lnTo>
                    <a:lnTo>
                      <a:pt x="886" y="624"/>
                    </a:lnTo>
                    <a:lnTo>
                      <a:pt x="874" y="626"/>
                    </a:lnTo>
                    <a:lnTo>
                      <a:pt x="870" y="636"/>
                    </a:lnTo>
                    <a:lnTo>
                      <a:pt x="874" y="643"/>
                    </a:lnTo>
                    <a:lnTo>
                      <a:pt x="879" y="648"/>
                    </a:lnTo>
                    <a:lnTo>
                      <a:pt x="879" y="655"/>
                    </a:lnTo>
                    <a:lnTo>
                      <a:pt x="867" y="664"/>
                    </a:lnTo>
                    <a:lnTo>
                      <a:pt x="865" y="674"/>
                    </a:lnTo>
                    <a:lnTo>
                      <a:pt x="872" y="674"/>
                    </a:lnTo>
                    <a:lnTo>
                      <a:pt x="877" y="671"/>
                    </a:lnTo>
                    <a:lnTo>
                      <a:pt x="881" y="671"/>
                    </a:lnTo>
                    <a:lnTo>
                      <a:pt x="874" y="685"/>
                    </a:lnTo>
                    <a:lnTo>
                      <a:pt x="870" y="695"/>
                    </a:lnTo>
                    <a:lnTo>
                      <a:pt x="865" y="709"/>
                    </a:lnTo>
                    <a:lnTo>
                      <a:pt x="851" y="714"/>
                    </a:lnTo>
                    <a:lnTo>
                      <a:pt x="851" y="719"/>
                    </a:lnTo>
                    <a:lnTo>
                      <a:pt x="860" y="721"/>
                    </a:lnTo>
                    <a:lnTo>
                      <a:pt x="870" y="730"/>
                    </a:lnTo>
                    <a:lnTo>
                      <a:pt x="858" y="752"/>
                    </a:lnTo>
                    <a:lnTo>
                      <a:pt x="851" y="752"/>
                    </a:lnTo>
                    <a:lnTo>
                      <a:pt x="844" y="749"/>
                    </a:lnTo>
                    <a:lnTo>
                      <a:pt x="844" y="763"/>
                    </a:lnTo>
                    <a:lnTo>
                      <a:pt x="846" y="773"/>
                    </a:lnTo>
                    <a:lnTo>
                      <a:pt x="846" y="789"/>
                    </a:lnTo>
                    <a:lnTo>
                      <a:pt x="844" y="811"/>
                    </a:lnTo>
                    <a:lnTo>
                      <a:pt x="841" y="820"/>
                    </a:lnTo>
                    <a:lnTo>
                      <a:pt x="844" y="834"/>
                    </a:lnTo>
                    <a:lnTo>
                      <a:pt x="848" y="849"/>
                    </a:lnTo>
                    <a:lnTo>
                      <a:pt x="818" y="851"/>
                    </a:lnTo>
                    <a:lnTo>
                      <a:pt x="777" y="844"/>
                    </a:lnTo>
                    <a:lnTo>
                      <a:pt x="768" y="842"/>
                    </a:lnTo>
                    <a:lnTo>
                      <a:pt x="763" y="844"/>
                    </a:lnTo>
                    <a:lnTo>
                      <a:pt x="761" y="851"/>
                    </a:lnTo>
                    <a:lnTo>
                      <a:pt x="756" y="853"/>
                    </a:lnTo>
                    <a:lnTo>
                      <a:pt x="751" y="863"/>
                    </a:lnTo>
                    <a:lnTo>
                      <a:pt x="754" y="879"/>
                    </a:lnTo>
                    <a:lnTo>
                      <a:pt x="761" y="898"/>
                    </a:lnTo>
                    <a:lnTo>
                      <a:pt x="761" y="917"/>
                    </a:lnTo>
                    <a:lnTo>
                      <a:pt x="759" y="934"/>
                    </a:lnTo>
                    <a:lnTo>
                      <a:pt x="751" y="941"/>
                    </a:lnTo>
                    <a:lnTo>
                      <a:pt x="742" y="941"/>
                    </a:lnTo>
                    <a:lnTo>
                      <a:pt x="735" y="938"/>
                    </a:lnTo>
                    <a:lnTo>
                      <a:pt x="733" y="934"/>
                    </a:lnTo>
                    <a:lnTo>
                      <a:pt x="728" y="922"/>
                    </a:lnTo>
                    <a:lnTo>
                      <a:pt x="723" y="910"/>
                    </a:lnTo>
                    <a:lnTo>
                      <a:pt x="721" y="905"/>
                    </a:lnTo>
                    <a:lnTo>
                      <a:pt x="692" y="908"/>
                    </a:lnTo>
                    <a:lnTo>
                      <a:pt x="662" y="910"/>
                    </a:lnTo>
                    <a:lnTo>
                      <a:pt x="633" y="912"/>
                    </a:lnTo>
                    <a:lnTo>
                      <a:pt x="605" y="915"/>
                    </a:lnTo>
                    <a:lnTo>
                      <a:pt x="574" y="917"/>
                    </a:lnTo>
                    <a:lnTo>
                      <a:pt x="546" y="917"/>
                    </a:lnTo>
                    <a:lnTo>
                      <a:pt x="517" y="920"/>
                    </a:lnTo>
                    <a:lnTo>
                      <a:pt x="487" y="922"/>
                    </a:lnTo>
                    <a:lnTo>
                      <a:pt x="458" y="924"/>
                    </a:lnTo>
                    <a:lnTo>
                      <a:pt x="430" y="927"/>
                    </a:lnTo>
                    <a:lnTo>
                      <a:pt x="399" y="929"/>
                    </a:lnTo>
                    <a:lnTo>
                      <a:pt x="371" y="929"/>
                    </a:lnTo>
                    <a:lnTo>
                      <a:pt x="340" y="931"/>
                    </a:lnTo>
                    <a:lnTo>
                      <a:pt x="312" y="934"/>
                    </a:lnTo>
                    <a:lnTo>
                      <a:pt x="283" y="936"/>
                    </a:lnTo>
                    <a:lnTo>
                      <a:pt x="253" y="936"/>
                    </a:lnTo>
                    <a:lnTo>
                      <a:pt x="236" y="938"/>
                    </a:lnTo>
                    <a:lnTo>
                      <a:pt x="234" y="929"/>
                    </a:lnTo>
                    <a:lnTo>
                      <a:pt x="217" y="898"/>
                    </a:lnTo>
                    <a:lnTo>
                      <a:pt x="208" y="882"/>
                    </a:lnTo>
                    <a:lnTo>
                      <a:pt x="194" y="858"/>
                    </a:lnTo>
                    <a:lnTo>
                      <a:pt x="184" y="823"/>
                    </a:lnTo>
                    <a:lnTo>
                      <a:pt x="184" y="763"/>
                    </a:lnTo>
                    <a:lnTo>
                      <a:pt x="179" y="749"/>
                    </a:lnTo>
                    <a:lnTo>
                      <a:pt x="179" y="749"/>
                    </a:lnTo>
                    <a:lnTo>
                      <a:pt x="165" y="721"/>
                    </a:lnTo>
                    <a:lnTo>
                      <a:pt x="163" y="700"/>
                    </a:lnTo>
                    <a:lnTo>
                      <a:pt x="170" y="662"/>
                    </a:lnTo>
                    <a:lnTo>
                      <a:pt x="170" y="662"/>
                    </a:lnTo>
                    <a:lnTo>
                      <a:pt x="172" y="641"/>
                    </a:lnTo>
                    <a:lnTo>
                      <a:pt x="179" y="629"/>
                    </a:lnTo>
                    <a:lnTo>
                      <a:pt x="189" y="619"/>
                    </a:lnTo>
                    <a:lnTo>
                      <a:pt x="189" y="610"/>
                    </a:lnTo>
                    <a:lnTo>
                      <a:pt x="179" y="603"/>
                    </a:lnTo>
                    <a:lnTo>
                      <a:pt x="177" y="596"/>
                    </a:lnTo>
                    <a:lnTo>
                      <a:pt x="177" y="586"/>
                    </a:lnTo>
                    <a:lnTo>
                      <a:pt x="168" y="562"/>
                    </a:lnTo>
                    <a:lnTo>
                      <a:pt x="134" y="506"/>
                    </a:lnTo>
                    <a:lnTo>
                      <a:pt x="130" y="487"/>
                    </a:lnTo>
                    <a:lnTo>
                      <a:pt x="123" y="475"/>
                    </a:lnTo>
                    <a:lnTo>
                      <a:pt x="116" y="449"/>
                    </a:lnTo>
                    <a:lnTo>
                      <a:pt x="106" y="423"/>
                    </a:lnTo>
                    <a:lnTo>
                      <a:pt x="99" y="397"/>
                    </a:lnTo>
                    <a:lnTo>
                      <a:pt x="92" y="371"/>
                    </a:lnTo>
                    <a:lnTo>
                      <a:pt x="82" y="345"/>
                    </a:lnTo>
                    <a:lnTo>
                      <a:pt x="75" y="319"/>
                    </a:lnTo>
                    <a:lnTo>
                      <a:pt x="68" y="293"/>
                    </a:lnTo>
                    <a:lnTo>
                      <a:pt x="61" y="265"/>
                    </a:lnTo>
                    <a:lnTo>
                      <a:pt x="52" y="239"/>
                    </a:lnTo>
                    <a:lnTo>
                      <a:pt x="45" y="213"/>
                    </a:lnTo>
                    <a:lnTo>
                      <a:pt x="38" y="187"/>
                    </a:lnTo>
                    <a:lnTo>
                      <a:pt x="30" y="161"/>
                    </a:lnTo>
                    <a:lnTo>
                      <a:pt x="21" y="135"/>
                    </a:lnTo>
                    <a:lnTo>
                      <a:pt x="14" y="109"/>
                    </a:lnTo>
                    <a:lnTo>
                      <a:pt x="7" y="82"/>
                    </a:lnTo>
                    <a:lnTo>
                      <a:pt x="0" y="56"/>
                    </a:lnTo>
                    <a:lnTo>
                      <a:pt x="54" y="49"/>
                    </a:lnTo>
                    <a:lnTo>
                      <a:pt x="111" y="45"/>
                    </a:lnTo>
                    <a:lnTo>
                      <a:pt x="168" y="38"/>
                    </a:lnTo>
                    <a:lnTo>
                      <a:pt x="222" y="30"/>
                    </a:lnTo>
                    <a:lnTo>
                      <a:pt x="274" y="23"/>
                    </a:lnTo>
                    <a:lnTo>
                      <a:pt x="326" y="16"/>
                    </a:lnTo>
                    <a:lnTo>
                      <a:pt x="378" y="9"/>
                    </a:lnTo>
                    <a:lnTo>
                      <a:pt x="430" y="0"/>
                    </a:lnTo>
                    <a:lnTo>
                      <a:pt x="430" y="0"/>
                    </a:lnTo>
                    <a:lnTo>
                      <a:pt x="423" y="16"/>
                    </a:lnTo>
                    <a:lnTo>
                      <a:pt x="402" y="47"/>
                    </a:lnTo>
                    <a:lnTo>
                      <a:pt x="397" y="68"/>
                    </a:lnTo>
                    <a:lnTo>
                      <a:pt x="432" y="85"/>
                    </a:lnTo>
                    <a:lnTo>
                      <a:pt x="432" y="85"/>
                    </a:lnTo>
                    <a:lnTo>
                      <a:pt x="456" y="101"/>
                    </a:lnTo>
                    <a:lnTo>
                      <a:pt x="470" y="106"/>
                    </a:lnTo>
                    <a:lnTo>
                      <a:pt x="484" y="106"/>
                    </a:lnTo>
                    <a:lnTo>
                      <a:pt x="494" y="111"/>
                    </a:lnTo>
                    <a:lnTo>
                      <a:pt x="501" y="125"/>
                    </a:lnTo>
                    <a:lnTo>
                      <a:pt x="501" y="125"/>
                    </a:lnTo>
                    <a:lnTo>
                      <a:pt x="551" y="194"/>
                    </a:lnTo>
                    <a:lnTo>
                      <a:pt x="551" y="194"/>
                    </a:lnTo>
                    <a:lnTo>
                      <a:pt x="598" y="224"/>
                    </a:lnTo>
                    <a:lnTo>
                      <a:pt x="617" y="239"/>
                    </a:lnTo>
                    <a:lnTo>
                      <a:pt x="629" y="255"/>
                    </a:lnTo>
                    <a:lnTo>
                      <a:pt x="669" y="281"/>
                    </a:lnTo>
                    <a:lnTo>
                      <a:pt x="683" y="293"/>
                    </a:lnTo>
                    <a:lnTo>
                      <a:pt x="685" y="305"/>
                    </a:lnTo>
                    <a:lnTo>
                      <a:pt x="690" y="314"/>
                    </a:lnTo>
                    <a:lnTo>
                      <a:pt x="699" y="317"/>
                    </a:lnTo>
                    <a:lnTo>
                      <a:pt x="709" y="326"/>
                    </a:lnTo>
                    <a:lnTo>
                      <a:pt x="718" y="343"/>
                    </a:lnTo>
                    <a:lnTo>
                      <a:pt x="735" y="354"/>
                    </a:lnTo>
                    <a:lnTo>
                      <a:pt x="759" y="364"/>
                    </a:lnTo>
                    <a:lnTo>
                      <a:pt x="777" y="388"/>
                    </a:lnTo>
                    <a:lnTo>
                      <a:pt x="794" y="430"/>
                    </a:lnTo>
                    <a:lnTo>
                      <a:pt x="808" y="454"/>
                    </a:lnTo>
                    <a:lnTo>
                      <a:pt x="825" y="461"/>
                    </a:lnTo>
                    <a:lnTo>
                      <a:pt x="853" y="494"/>
                    </a:lnTo>
                    <a:lnTo>
                      <a:pt x="863" y="515"/>
                    </a:lnTo>
                    <a:lnTo>
                      <a:pt x="865" y="534"/>
                    </a:lnTo>
                    <a:lnTo>
                      <a:pt x="879" y="548"/>
                    </a:lnTo>
                    <a:lnTo>
                      <a:pt x="917" y="558"/>
                    </a:lnTo>
                    <a:close/>
                    <a:moveTo>
                      <a:pt x="855" y="797"/>
                    </a:moveTo>
                    <a:lnTo>
                      <a:pt x="855" y="849"/>
                    </a:lnTo>
                    <a:lnTo>
                      <a:pt x="851" y="830"/>
                    </a:lnTo>
                    <a:lnTo>
                      <a:pt x="846" y="813"/>
                    </a:lnTo>
                    <a:lnTo>
                      <a:pt x="851" y="801"/>
                    </a:lnTo>
                    <a:lnTo>
                      <a:pt x="855" y="79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5" name="Freeform 53">
                <a:extLst>
                  <a:ext uri="{FF2B5EF4-FFF2-40B4-BE49-F238E27FC236}">
                    <a16:creationId xmlns:a16="http://schemas.microsoft.com/office/drawing/2014/main" id="{7012001B-D7CD-D0D6-9500-446068C0D2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55" y="4081"/>
                <a:ext cx="357" cy="709"/>
              </a:xfrm>
              <a:custGeom>
                <a:avLst/>
                <a:gdLst>
                  <a:gd name="T0" fmla="*/ 80 w 357"/>
                  <a:gd name="T1" fmla="*/ 62 h 709"/>
                  <a:gd name="T2" fmla="*/ 64 w 357"/>
                  <a:gd name="T3" fmla="*/ 33 h 709"/>
                  <a:gd name="T4" fmla="*/ 101 w 357"/>
                  <a:gd name="T5" fmla="*/ 24 h 709"/>
                  <a:gd name="T6" fmla="*/ 118 w 357"/>
                  <a:gd name="T7" fmla="*/ 59 h 709"/>
                  <a:gd name="T8" fmla="*/ 97 w 357"/>
                  <a:gd name="T9" fmla="*/ 71 h 709"/>
                  <a:gd name="T10" fmla="*/ 0 w 357"/>
                  <a:gd name="T11" fmla="*/ 12 h 709"/>
                  <a:gd name="T12" fmla="*/ 19 w 357"/>
                  <a:gd name="T13" fmla="*/ 2 h 709"/>
                  <a:gd name="T14" fmla="*/ 30 w 357"/>
                  <a:gd name="T15" fmla="*/ 10 h 709"/>
                  <a:gd name="T16" fmla="*/ 9 w 357"/>
                  <a:gd name="T17" fmla="*/ 12 h 709"/>
                  <a:gd name="T18" fmla="*/ 220 w 357"/>
                  <a:gd name="T19" fmla="*/ 258 h 709"/>
                  <a:gd name="T20" fmla="*/ 215 w 357"/>
                  <a:gd name="T21" fmla="*/ 279 h 709"/>
                  <a:gd name="T22" fmla="*/ 191 w 357"/>
                  <a:gd name="T23" fmla="*/ 265 h 709"/>
                  <a:gd name="T24" fmla="*/ 186 w 357"/>
                  <a:gd name="T25" fmla="*/ 246 h 709"/>
                  <a:gd name="T26" fmla="*/ 182 w 357"/>
                  <a:gd name="T27" fmla="*/ 251 h 709"/>
                  <a:gd name="T28" fmla="*/ 170 w 357"/>
                  <a:gd name="T29" fmla="*/ 232 h 709"/>
                  <a:gd name="T30" fmla="*/ 175 w 357"/>
                  <a:gd name="T31" fmla="*/ 199 h 709"/>
                  <a:gd name="T32" fmla="*/ 217 w 357"/>
                  <a:gd name="T33" fmla="*/ 211 h 709"/>
                  <a:gd name="T34" fmla="*/ 210 w 357"/>
                  <a:gd name="T35" fmla="*/ 246 h 709"/>
                  <a:gd name="T36" fmla="*/ 269 w 357"/>
                  <a:gd name="T37" fmla="*/ 345 h 709"/>
                  <a:gd name="T38" fmla="*/ 293 w 357"/>
                  <a:gd name="T39" fmla="*/ 369 h 709"/>
                  <a:gd name="T40" fmla="*/ 272 w 357"/>
                  <a:gd name="T41" fmla="*/ 371 h 709"/>
                  <a:gd name="T42" fmla="*/ 238 w 357"/>
                  <a:gd name="T43" fmla="*/ 326 h 709"/>
                  <a:gd name="T44" fmla="*/ 250 w 357"/>
                  <a:gd name="T45" fmla="*/ 324 h 709"/>
                  <a:gd name="T46" fmla="*/ 314 w 357"/>
                  <a:gd name="T47" fmla="*/ 423 h 709"/>
                  <a:gd name="T48" fmla="*/ 331 w 357"/>
                  <a:gd name="T49" fmla="*/ 454 h 709"/>
                  <a:gd name="T50" fmla="*/ 331 w 357"/>
                  <a:gd name="T51" fmla="*/ 475 h 709"/>
                  <a:gd name="T52" fmla="*/ 290 w 357"/>
                  <a:gd name="T53" fmla="*/ 464 h 709"/>
                  <a:gd name="T54" fmla="*/ 283 w 357"/>
                  <a:gd name="T55" fmla="*/ 442 h 709"/>
                  <a:gd name="T56" fmla="*/ 276 w 357"/>
                  <a:gd name="T57" fmla="*/ 416 h 709"/>
                  <a:gd name="T58" fmla="*/ 290 w 357"/>
                  <a:gd name="T59" fmla="*/ 390 h 709"/>
                  <a:gd name="T60" fmla="*/ 300 w 357"/>
                  <a:gd name="T61" fmla="*/ 414 h 709"/>
                  <a:gd name="T62" fmla="*/ 234 w 357"/>
                  <a:gd name="T63" fmla="*/ 393 h 709"/>
                  <a:gd name="T64" fmla="*/ 253 w 357"/>
                  <a:gd name="T65" fmla="*/ 378 h 709"/>
                  <a:gd name="T66" fmla="*/ 257 w 357"/>
                  <a:gd name="T67" fmla="*/ 400 h 709"/>
                  <a:gd name="T68" fmla="*/ 222 w 357"/>
                  <a:gd name="T69" fmla="*/ 700 h 709"/>
                  <a:gd name="T70" fmla="*/ 205 w 357"/>
                  <a:gd name="T71" fmla="*/ 660 h 709"/>
                  <a:gd name="T72" fmla="*/ 243 w 357"/>
                  <a:gd name="T73" fmla="*/ 579 h 709"/>
                  <a:gd name="T74" fmla="*/ 290 w 357"/>
                  <a:gd name="T75" fmla="*/ 568 h 709"/>
                  <a:gd name="T76" fmla="*/ 312 w 357"/>
                  <a:gd name="T77" fmla="*/ 539 h 709"/>
                  <a:gd name="T78" fmla="*/ 354 w 357"/>
                  <a:gd name="T79" fmla="*/ 643 h 709"/>
                  <a:gd name="T80" fmla="*/ 350 w 357"/>
                  <a:gd name="T81" fmla="*/ 679 h 709"/>
                  <a:gd name="T82" fmla="*/ 345 w 357"/>
                  <a:gd name="T83" fmla="*/ 709 h 709"/>
                  <a:gd name="T84" fmla="*/ 243 w 357"/>
                  <a:gd name="T85" fmla="*/ 691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57" h="709">
                    <a:moveTo>
                      <a:pt x="97" y="71"/>
                    </a:moveTo>
                    <a:lnTo>
                      <a:pt x="82" y="69"/>
                    </a:lnTo>
                    <a:lnTo>
                      <a:pt x="80" y="62"/>
                    </a:lnTo>
                    <a:lnTo>
                      <a:pt x="71" y="55"/>
                    </a:lnTo>
                    <a:lnTo>
                      <a:pt x="71" y="45"/>
                    </a:lnTo>
                    <a:lnTo>
                      <a:pt x="64" y="33"/>
                    </a:lnTo>
                    <a:lnTo>
                      <a:pt x="66" y="24"/>
                    </a:lnTo>
                    <a:lnTo>
                      <a:pt x="80" y="19"/>
                    </a:lnTo>
                    <a:lnTo>
                      <a:pt x="101" y="24"/>
                    </a:lnTo>
                    <a:lnTo>
                      <a:pt x="123" y="43"/>
                    </a:lnTo>
                    <a:lnTo>
                      <a:pt x="123" y="52"/>
                    </a:lnTo>
                    <a:lnTo>
                      <a:pt x="118" y="59"/>
                    </a:lnTo>
                    <a:lnTo>
                      <a:pt x="111" y="62"/>
                    </a:lnTo>
                    <a:lnTo>
                      <a:pt x="104" y="69"/>
                    </a:lnTo>
                    <a:lnTo>
                      <a:pt x="97" y="71"/>
                    </a:lnTo>
                    <a:close/>
                    <a:moveTo>
                      <a:pt x="9" y="12"/>
                    </a:moveTo>
                    <a:lnTo>
                      <a:pt x="2" y="17"/>
                    </a:lnTo>
                    <a:lnTo>
                      <a:pt x="0" y="12"/>
                    </a:lnTo>
                    <a:lnTo>
                      <a:pt x="2" y="7"/>
                    </a:lnTo>
                    <a:lnTo>
                      <a:pt x="9" y="2"/>
                    </a:lnTo>
                    <a:lnTo>
                      <a:pt x="19" y="2"/>
                    </a:lnTo>
                    <a:lnTo>
                      <a:pt x="33" y="0"/>
                    </a:lnTo>
                    <a:lnTo>
                      <a:pt x="35" y="7"/>
                    </a:lnTo>
                    <a:lnTo>
                      <a:pt x="30" y="10"/>
                    </a:lnTo>
                    <a:lnTo>
                      <a:pt x="26" y="14"/>
                    </a:lnTo>
                    <a:lnTo>
                      <a:pt x="14" y="12"/>
                    </a:lnTo>
                    <a:lnTo>
                      <a:pt x="9" y="12"/>
                    </a:lnTo>
                    <a:close/>
                    <a:moveTo>
                      <a:pt x="212" y="251"/>
                    </a:moveTo>
                    <a:lnTo>
                      <a:pt x="215" y="253"/>
                    </a:lnTo>
                    <a:lnTo>
                      <a:pt x="220" y="258"/>
                    </a:lnTo>
                    <a:lnTo>
                      <a:pt x="215" y="267"/>
                    </a:lnTo>
                    <a:lnTo>
                      <a:pt x="215" y="277"/>
                    </a:lnTo>
                    <a:lnTo>
                      <a:pt x="215" y="279"/>
                    </a:lnTo>
                    <a:lnTo>
                      <a:pt x="208" y="279"/>
                    </a:lnTo>
                    <a:lnTo>
                      <a:pt x="196" y="272"/>
                    </a:lnTo>
                    <a:lnTo>
                      <a:pt x="191" y="265"/>
                    </a:lnTo>
                    <a:lnTo>
                      <a:pt x="191" y="255"/>
                    </a:lnTo>
                    <a:lnTo>
                      <a:pt x="184" y="251"/>
                    </a:lnTo>
                    <a:lnTo>
                      <a:pt x="186" y="246"/>
                    </a:lnTo>
                    <a:lnTo>
                      <a:pt x="186" y="244"/>
                    </a:lnTo>
                    <a:lnTo>
                      <a:pt x="182" y="241"/>
                    </a:lnTo>
                    <a:lnTo>
                      <a:pt x="182" y="251"/>
                    </a:lnTo>
                    <a:lnTo>
                      <a:pt x="170" y="244"/>
                    </a:lnTo>
                    <a:lnTo>
                      <a:pt x="168" y="239"/>
                    </a:lnTo>
                    <a:lnTo>
                      <a:pt x="170" y="232"/>
                    </a:lnTo>
                    <a:lnTo>
                      <a:pt x="170" y="211"/>
                    </a:lnTo>
                    <a:lnTo>
                      <a:pt x="175" y="206"/>
                    </a:lnTo>
                    <a:lnTo>
                      <a:pt x="175" y="199"/>
                    </a:lnTo>
                    <a:lnTo>
                      <a:pt x="191" y="208"/>
                    </a:lnTo>
                    <a:lnTo>
                      <a:pt x="210" y="208"/>
                    </a:lnTo>
                    <a:lnTo>
                      <a:pt x="217" y="211"/>
                    </a:lnTo>
                    <a:lnTo>
                      <a:pt x="215" y="237"/>
                    </a:lnTo>
                    <a:lnTo>
                      <a:pt x="210" y="241"/>
                    </a:lnTo>
                    <a:lnTo>
                      <a:pt x="210" y="246"/>
                    </a:lnTo>
                    <a:lnTo>
                      <a:pt x="212" y="251"/>
                    </a:lnTo>
                    <a:close/>
                    <a:moveTo>
                      <a:pt x="250" y="324"/>
                    </a:moveTo>
                    <a:lnTo>
                      <a:pt x="269" y="345"/>
                    </a:lnTo>
                    <a:lnTo>
                      <a:pt x="274" y="348"/>
                    </a:lnTo>
                    <a:lnTo>
                      <a:pt x="276" y="352"/>
                    </a:lnTo>
                    <a:lnTo>
                      <a:pt x="293" y="369"/>
                    </a:lnTo>
                    <a:lnTo>
                      <a:pt x="295" y="371"/>
                    </a:lnTo>
                    <a:lnTo>
                      <a:pt x="288" y="374"/>
                    </a:lnTo>
                    <a:lnTo>
                      <a:pt x="272" y="371"/>
                    </a:lnTo>
                    <a:lnTo>
                      <a:pt x="260" y="352"/>
                    </a:lnTo>
                    <a:lnTo>
                      <a:pt x="234" y="329"/>
                    </a:lnTo>
                    <a:lnTo>
                      <a:pt x="238" y="326"/>
                    </a:lnTo>
                    <a:lnTo>
                      <a:pt x="243" y="324"/>
                    </a:lnTo>
                    <a:lnTo>
                      <a:pt x="248" y="319"/>
                    </a:lnTo>
                    <a:lnTo>
                      <a:pt x="250" y="324"/>
                    </a:lnTo>
                    <a:close/>
                    <a:moveTo>
                      <a:pt x="300" y="414"/>
                    </a:moveTo>
                    <a:lnTo>
                      <a:pt x="300" y="419"/>
                    </a:lnTo>
                    <a:lnTo>
                      <a:pt x="314" y="423"/>
                    </a:lnTo>
                    <a:lnTo>
                      <a:pt x="324" y="428"/>
                    </a:lnTo>
                    <a:lnTo>
                      <a:pt x="331" y="447"/>
                    </a:lnTo>
                    <a:lnTo>
                      <a:pt x="331" y="454"/>
                    </a:lnTo>
                    <a:lnTo>
                      <a:pt x="335" y="466"/>
                    </a:lnTo>
                    <a:lnTo>
                      <a:pt x="335" y="473"/>
                    </a:lnTo>
                    <a:lnTo>
                      <a:pt x="331" y="475"/>
                    </a:lnTo>
                    <a:lnTo>
                      <a:pt x="314" y="475"/>
                    </a:lnTo>
                    <a:lnTo>
                      <a:pt x="300" y="468"/>
                    </a:lnTo>
                    <a:lnTo>
                      <a:pt x="290" y="464"/>
                    </a:lnTo>
                    <a:lnTo>
                      <a:pt x="279" y="456"/>
                    </a:lnTo>
                    <a:lnTo>
                      <a:pt x="279" y="452"/>
                    </a:lnTo>
                    <a:lnTo>
                      <a:pt x="283" y="442"/>
                    </a:lnTo>
                    <a:lnTo>
                      <a:pt x="288" y="428"/>
                    </a:lnTo>
                    <a:lnTo>
                      <a:pt x="281" y="426"/>
                    </a:lnTo>
                    <a:lnTo>
                      <a:pt x="276" y="416"/>
                    </a:lnTo>
                    <a:lnTo>
                      <a:pt x="276" y="400"/>
                    </a:lnTo>
                    <a:lnTo>
                      <a:pt x="279" y="395"/>
                    </a:lnTo>
                    <a:lnTo>
                      <a:pt x="290" y="390"/>
                    </a:lnTo>
                    <a:lnTo>
                      <a:pt x="298" y="395"/>
                    </a:lnTo>
                    <a:lnTo>
                      <a:pt x="300" y="404"/>
                    </a:lnTo>
                    <a:lnTo>
                      <a:pt x="300" y="414"/>
                    </a:lnTo>
                    <a:close/>
                    <a:moveTo>
                      <a:pt x="248" y="402"/>
                    </a:moveTo>
                    <a:lnTo>
                      <a:pt x="241" y="400"/>
                    </a:lnTo>
                    <a:lnTo>
                      <a:pt x="234" y="393"/>
                    </a:lnTo>
                    <a:lnTo>
                      <a:pt x="238" y="386"/>
                    </a:lnTo>
                    <a:lnTo>
                      <a:pt x="241" y="371"/>
                    </a:lnTo>
                    <a:lnTo>
                      <a:pt x="253" y="378"/>
                    </a:lnTo>
                    <a:lnTo>
                      <a:pt x="257" y="386"/>
                    </a:lnTo>
                    <a:lnTo>
                      <a:pt x="257" y="390"/>
                    </a:lnTo>
                    <a:lnTo>
                      <a:pt x="257" y="400"/>
                    </a:lnTo>
                    <a:lnTo>
                      <a:pt x="248" y="402"/>
                    </a:lnTo>
                    <a:close/>
                    <a:moveTo>
                      <a:pt x="229" y="698"/>
                    </a:moveTo>
                    <a:lnTo>
                      <a:pt x="222" y="700"/>
                    </a:lnTo>
                    <a:lnTo>
                      <a:pt x="215" y="695"/>
                    </a:lnTo>
                    <a:lnTo>
                      <a:pt x="203" y="667"/>
                    </a:lnTo>
                    <a:lnTo>
                      <a:pt x="205" y="660"/>
                    </a:lnTo>
                    <a:lnTo>
                      <a:pt x="229" y="631"/>
                    </a:lnTo>
                    <a:lnTo>
                      <a:pt x="238" y="603"/>
                    </a:lnTo>
                    <a:lnTo>
                      <a:pt x="243" y="579"/>
                    </a:lnTo>
                    <a:lnTo>
                      <a:pt x="257" y="575"/>
                    </a:lnTo>
                    <a:lnTo>
                      <a:pt x="272" y="575"/>
                    </a:lnTo>
                    <a:lnTo>
                      <a:pt x="290" y="568"/>
                    </a:lnTo>
                    <a:lnTo>
                      <a:pt x="295" y="546"/>
                    </a:lnTo>
                    <a:lnTo>
                      <a:pt x="305" y="537"/>
                    </a:lnTo>
                    <a:lnTo>
                      <a:pt x="312" y="539"/>
                    </a:lnTo>
                    <a:lnTo>
                      <a:pt x="324" y="568"/>
                    </a:lnTo>
                    <a:lnTo>
                      <a:pt x="354" y="620"/>
                    </a:lnTo>
                    <a:lnTo>
                      <a:pt x="354" y="643"/>
                    </a:lnTo>
                    <a:lnTo>
                      <a:pt x="347" y="657"/>
                    </a:lnTo>
                    <a:lnTo>
                      <a:pt x="354" y="667"/>
                    </a:lnTo>
                    <a:lnTo>
                      <a:pt x="350" y="679"/>
                    </a:lnTo>
                    <a:lnTo>
                      <a:pt x="354" y="695"/>
                    </a:lnTo>
                    <a:lnTo>
                      <a:pt x="357" y="705"/>
                    </a:lnTo>
                    <a:lnTo>
                      <a:pt x="345" y="709"/>
                    </a:lnTo>
                    <a:lnTo>
                      <a:pt x="312" y="707"/>
                    </a:lnTo>
                    <a:lnTo>
                      <a:pt x="281" y="693"/>
                    </a:lnTo>
                    <a:lnTo>
                      <a:pt x="243" y="691"/>
                    </a:lnTo>
                    <a:lnTo>
                      <a:pt x="229" y="69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6" name="Freeform 54">
                <a:extLst>
                  <a:ext uri="{FF2B5EF4-FFF2-40B4-BE49-F238E27FC236}">
                    <a16:creationId xmlns:a16="http://schemas.microsoft.com/office/drawing/2014/main" id="{901AD66D-04BB-6211-6AF9-27676E6F81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2" y="352"/>
                <a:ext cx="1014" cy="660"/>
              </a:xfrm>
              <a:custGeom>
                <a:avLst/>
                <a:gdLst>
                  <a:gd name="T0" fmla="*/ 957 w 1014"/>
                  <a:gd name="T1" fmla="*/ 230 h 660"/>
                  <a:gd name="T2" fmla="*/ 981 w 1014"/>
                  <a:gd name="T3" fmla="*/ 265 h 660"/>
                  <a:gd name="T4" fmla="*/ 1014 w 1014"/>
                  <a:gd name="T5" fmla="*/ 296 h 660"/>
                  <a:gd name="T6" fmla="*/ 1007 w 1014"/>
                  <a:gd name="T7" fmla="*/ 348 h 660"/>
                  <a:gd name="T8" fmla="*/ 988 w 1014"/>
                  <a:gd name="T9" fmla="*/ 388 h 660"/>
                  <a:gd name="T10" fmla="*/ 926 w 1014"/>
                  <a:gd name="T11" fmla="*/ 428 h 660"/>
                  <a:gd name="T12" fmla="*/ 877 w 1014"/>
                  <a:gd name="T13" fmla="*/ 468 h 660"/>
                  <a:gd name="T14" fmla="*/ 898 w 1014"/>
                  <a:gd name="T15" fmla="*/ 509 h 660"/>
                  <a:gd name="T16" fmla="*/ 879 w 1014"/>
                  <a:gd name="T17" fmla="*/ 580 h 660"/>
                  <a:gd name="T18" fmla="*/ 834 w 1014"/>
                  <a:gd name="T19" fmla="*/ 627 h 660"/>
                  <a:gd name="T20" fmla="*/ 829 w 1014"/>
                  <a:gd name="T21" fmla="*/ 660 h 660"/>
                  <a:gd name="T22" fmla="*/ 799 w 1014"/>
                  <a:gd name="T23" fmla="*/ 634 h 660"/>
                  <a:gd name="T24" fmla="*/ 780 w 1014"/>
                  <a:gd name="T25" fmla="*/ 610 h 660"/>
                  <a:gd name="T26" fmla="*/ 659 w 1014"/>
                  <a:gd name="T27" fmla="*/ 617 h 660"/>
                  <a:gd name="T28" fmla="*/ 539 w 1014"/>
                  <a:gd name="T29" fmla="*/ 622 h 660"/>
                  <a:gd name="T30" fmla="*/ 416 w 1014"/>
                  <a:gd name="T31" fmla="*/ 627 h 660"/>
                  <a:gd name="T32" fmla="*/ 295 w 1014"/>
                  <a:gd name="T33" fmla="*/ 629 h 660"/>
                  <a:gd name="T34" fmla="*/ 175 w 1014"/>
                  <a:gd name="T35" fmla="*/ 632 h 660"/>
                  <a:gd name="T36" fmla="*/ 118 w 1014"/>
                  <a:gd name="T37" fmla="*/ 601 h 660"/>
                  <a:gd name="T38" fmla="*/ 120 w 1014"/>
                  <a:gd name="T39" fmla="*/ 530 h 660"/>
                  <a:gd name="T40" fmla="*/ 111 w 1014"/>
                  <a:gd name="T41" fmla="*/ 497 h 660"/>
                  <a:gd name="T42" fmla="*/ 106 w 1014"/>
                  <a:gd name="T43" fmla="*/ 478 h 660"/>
                  <a:gd name="T44" fmla="*/ 106 w 1014"/>
                  <a:gd name="T45" fmla="*/ 450 h 660"/>
                  <a:gd name="T46" fmla="*/ 97 w 1014"/>
                  <a:gd name="T47" fmla="*/ 438 h 660"/>
                  <a:gd name="T48" fmla="*/ 85 w 1014"/>
                  <a:gd name="T49" fmla="*/ 419 h 660"/>
                  <a:gd name="T50" fmla="*/ 75 w 1014"/>
                  <a:gd name="T51" fmla="*/ 364 h 660"/>
                  <a:gd name="T52" fmla="*/ 64 w 1014"/>
                  <a:gd name="T53" fmla="*/ 329 h 660"/>
                  <a:gd name="T54" fmla="*/ 35 w 1014"/>
                  <a:gd name="T55" fmla="*/ 249 h 660"/>
                  <a:gd name="T56" fmla="*/ 16 w 1014"/>
                  <a:gd name="T57" fmla="*/ 213 h 660"/>
                  <a:gd name="T58" fmla="*/ 0 w 1014"/>
                  <a:gd name="T59" fmla="*/ 182 h 660"/>
                  <a:gd name="T60" fmla="*/ 9 w 1014"/>
                  <a:gd name="T61" fmla="*/ 156 h 660"/>
                  <a:gd name="T62" fmla="*/ 26 w 1014"/>
                  <a:gd name="T63" fmla="*/ 104 h 660"/>
                  <a:gd name="T64" fmla="*/ 21 w 1014"/>
                  <a:gd name="T65" fmla="*/ 83 h 660"/>
                  <a:gd name="T66" fmla="*/ 9 w 1014"/>
                  <a:gd name="T67" fmla="*/ 67 h 660"/>
                  <a:gd name="T68" fmla="*/ 14 w 1014"/>
                  <a:gd name="T69" fmla="*/ 48 h 660"/>
                  <a:gd name="T70" fmla="*/ 26 w 1014"/>
                  <a:gd name="T71" fmla="*/ 22 h 660"/>
                  <a:gd name="T72" fmla="*/ 177 w 1014"/>
                  <a:gd name="T73" fmla="*/ 22 h 660"/>
                  <a:gd name="T74" fmla="*/ 326 w 1014"/>
                  <a:gd name="T75" fmla="*/ 19 h 660"/>
                  <a:gd name="T76" fmla="*/ 475 w 1014"/>
                  <a:gd name="T77" fmla="*/ 15 h 660"/>
                  <a:gd name="T78" fmla="*/ 626 w 1014"/>
                  <a:gd name="T79" fmla="*/ 10 h 660"/>
                  <a:gd name="T80" fmla="*/ 775 w 1014"/>
                  <a:gd name="T81" fmla="*/ 5 h 660"/>
                  <a:gd name="T82" fmla="*/ 832 w 1014"/>
                  <a:gd name="T83" fmla="*/ 24 h 660"/>
                  <a:gd name="T84" fmla="*/ 851 w 1014"/>
                  <a:gd name="T85" fmla="*/ 48 h 660"/>
                  <a:gd name="T86" fmla="*/ 846 w 1014"/>
                  <a:gd name="T87" fmla="*/ 109 h 660"/>
                  <a:gd name="T88" fmla="*/ 879 w 1014"/>
                  <a:gd name="T89" fmla="*/ 163 h 660"/>
                  <a:gd name="T90" fmla="*/ 929 w 1014"/>
                  <a:gd name="T91" fmla="*/ 204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14" h="660">
                    <a:moveTo>
                      <a:pt x="929" y="204"/>
                    </a:moveTo>
                    <a:lnTo>
                      <a:pt x="941" y="218"/>
                    </a:lnTo>
                    <a:lnTo>
                      <a:pt x="957" y="230"/>
                    </a:lnTo>
                    <a:lnTo>
                      <a:pt x="967" y="242"/>
                    </a:lnTo>
                    <a:lnTo>
                      <a:pt x="969" y="253"/>
                    </a:lnTo>
                    <a:lnTo>
                      <a:pt x="981" y="265"/>
                    </a:lnTo>
                    <a:lnTo>
                      <a:pt x="1000" y="277"/>
                    </a:lnTo>
                    <a:lnTo>
                      <a:pt x="1009" y="286"/>
                    </a:lnTo>
                    <a:lnTo>
                      <a:pt x="1014" y="296"/>
                    </a:lnTo>
                    <a:lnTo>
                      <a:pt x="1014" y="312"/>
                    </a:lnTo>
                    <a:lnTo>
                      <a:pt x="1011" y="331"/>
                    </a:lnTo>
                    <a:lnTo>
                      <a:pt x="1007" y="348"/>
                    </a:lnTo>
                    <a:lnTo>
                      <a:pt x="997" y="357"/>
                    </a:lnTo>
                    <a:lnTo>
                      <a:pt x="993" y="372"/>
                    </a:lnTo>
                    <a:lnTo>
                      <a:pt x="988" y="388"/>
                    </a:lnTo>
                    <a:lnTo>
                      <a:pt x="976" y="402"/>
                    </a:lnTo>
                    <a:lnTo>
                      <a:pt x="952" y="419"/>
                    </a:lnTo>
                    <a:lnTo>
                      <a:pt x="926" y="428"/>
                    </a:lnTo>
                    <a:lnTo>
                      <a:pt x="898" y="435"/>
                    </a:lnTo>
                    <a:lnTo>
                      <a:pt x="881" y="450"/>
                    </a:lnTo>
                    <a:lnTo>
                      <a:pt x="877" y="468"/>
                    </a:lnTo>
                    <a:lnTo>
                      <a:pt x="879" y="483"/>
                    </a:lnTo>
                    <a:lnTo>
                      <a:pt x="891" y="495"/>
                    </a:lnTo>
                    <a:lnTo>
                      <a:pt x="898" y="509"/>
                    </a:lnTo>
                    <a:lnTo>
                      <a:pt x="900" y="523"/>
                    </a:lnTo>
                    <a:lnTo>
                      <a:pt x="893" y="547"/>
                    </a:lnTo>
                    <a:lnTo>
                      <a:pt x="879" y="580"/>
                    </a:lnTo>
                    <a:lnTo>
                      <a:pt x="863" y="601"/>
                    </a:lnTo>
                    <a:lnTo>
                      <a:pt x="844" y="613"/>
                    </a:lnTo>
                    <a:lnTo>
                      <a:pt x="834" y="627"/>
                    </a:lnTo>
                    <a:lnTo>
                      <a:pt x="839" y="646"/>
                    </a:lnTo>
                    <a:lnTo>
                      <a:pt x="836" y="655"/>
                    </a:lnTo>
                    <a:lnTo>
                      <a:pt x="829" y="660"/>
                    </a:lnTo>
                    <a:lnTo>
                      <a:pt x="813" y="651"/>
                    </a:lnTo>
                    <a:lnTo>
                      <a:pt x="810" y="641"/>
                    </a:lnTo>
                    <a:lnTo>
                      <a:pt x="799" y="634"/>
                    </a:lnTo>
                    <a:lnTo>
                      <a:pt x="796" y="629"/>
                    </a:lnTo>
                    <a:lnTo>
                      <a:pt x="789" y="625"/>
                    </a:lnTo>
                    <a:lnTo>
                      <a:pt x="780" y="610"/>
                    </a:lnTo>
                    <a:lnTo>
                      <a:pt x="740" y="613"/>
                    </a:lnTo>
                    <a:lnTo>
                      <a:pt x="699" y="615"/>
                    </a:lnTo>
                    <a:lnTo>
                      <a:pt x="659" y="617"/>
                    </a:lnTo>
                    <a:lnTo>
                      <a:pt x="619" y="617"/>
                    </a:lnTo>
                    <a:lnTo>
                      <a:pt x="579" y="620"/>
                    </a:lnTo>
                    <a:lnTo>
                      <a:pt x="539" y="622"/>
                    </a:lnTo>
                    <a:lnTo>
                      <a:pt x="496" y="622"/>
                    </a:lnTo>
                    <a:lnTo>
                      <a:pt x="456" y="625"/>
                    </a:lnTo>
                    <a:lnTo>
                      <a:pt x="416" y="627"/>
                    </a:lnTo>
                    <a:lnTo>
                      <a:pt x="376" y="627"/>
                    </a:lnTo>
                    <a:lnTo>
                      <a:pt x="335" y="627"/>
                    </a:lnTo>
                    <a:lnTo>
                      <a:pt x="295" y="629"/>
                    </a:lnTo>
                    <a:lnTo>
                      <a:pt x="255" y="629"/>
                    </a:lnTo>
                    <a:lnTo>
                      <a:pt x="215" y="629"/>
                    </a:lnTo>
                    <a:lnTo>
                      <a:pt x="175" y="632"/>
                    </a:lnTo>
                    <a:lnTo>
                      <a:pt x="134" y="632"/>
                    </a:lnTo>
                    <a:lnTo>
                      <a:pt x="125" y="615"/>
                    </a:lnTo>
                    <a:lnTo>
                      <a:pt x="118" y="601"/>
                    </a:lnTo>
                    <a:lnTo>
                      <a:pt x="123" y="594"/>
                    </a:lnTo>
                    <a:lnTo>
                      <a:pt x="123" y="570"/>
                    </a:lnTo>
                    <a:lnTo>
                      <a:pt x="120" y="530"/>
                    </a:lnTo>
                    <a:lnTo>
                      <a:pt x="118" y="509"/>
                    </a:lnTo>
                    <a:lnTo>
                      <a:pt x="111" y="504"/>
                    </a:lnTo>
                    <a:lnTo>
                      <a:pt x="111" y="497"/>
                    </a:lnTo>
                    <a:lnTo>
                      <a:pt x="116" y="487"/>
                    </a:lnTo>
                    <a:lnTo>
                      <a:pt x="113" y="480"/>
                    </a:lnTo>
                    <a:lnTo>
                      <a:pt x="106" y="478"/>
                    </a:lnTo>
                    <a:lnTo>
                      <a:pt x="104" y="471"/>
                    </a:lnTo>
                    <a:lnTo>
                      <a:pt x="106" y="459"/>
                    </a:lnTo>
                    <a:lnTo>
                      <a:pt x="106" y="450"/>
                    </a:lnTo>
                    <a:lnTo>
                      <a:pt x="99" y="447"/>
                    </a:lnTo>
                    <a:lnTo>
                      <a:pt x="97" y="445"/>
                    </a:lnTo>
                    <a:lnTo>
                      <a:pt x="97" y="438"/>
                    </a:lnTo>
                    <a:lnTo>
                      <a:pt x="94" y="435"/>
                    </a:lnTo>
                    <a:lnTo>
                      <a:pt x="87" y="433"/>
                    </a:lnTo>
                    <a:lnTo>
                      <a:pt x="85" y="419"/>
                    </a:lnTo>
                    <a:lnTo>
                      <a:pt x="85" y="393"/>
                    </a:lnTo>
                    <a:lnTo>
                      <a:pt x="82" y="374"/>
                    </a:lnTo>
                    <a:lnTo>
                      <a:pt x="75" y="364"/>
                    </a:lnTo>
                    <a:lnTo>
                      <a:pt x="73" y="355"/>
                    </a:lnTo>
                    <a:lnTo>
                      <a:pt x="73" y="346"/>
                    </a:lnTo>
                    <a:lnTo>
                      <a:pt x="64" y="329"/>
                    </a:lnTo>
                    <a:lnTo>
                      <a:pt x="49" y="310"/>
                    </a:lnTo>
                    <a:lnTo>
                      <a:pt x="40" y="282"/>
                    </a:lnTo>
                    <a:lnTo>
                      <a:pt x="35" y="249"/>
                    </a:lnTo>
                    <a:lnTo>
                      <a:pt x="26" y="230"/>
                    </a:lnTo>
                    <a:lnTo>
                      <a:pt x="21" y="230"/>
                    </a:lnTo>
                    <a:lnTo>
                      <a:pt x="16" y="213"/>
                    </a:lnTo>
                    <a:lnTo>
                      <a:pt x="14" y="204"/>
                    </a:lnTo>
                    <a:lnTo>
                      <a:pt x="12" y="199"/>
                    </a:lnTo>
                    <a:lnTo>
                      <a:pt x="0" y="182"/>
                    </a:lnTo>
                    <a:lnTo>
                      <a:pt x="0" y="178"/>
                    </a:lnTo>
                    <a:lnTo>
                      <a:pt x="0" y="171"/>
                    </a:lnTo>
                    <a:lnTo>
                      <a:pt x="9" y="156"/>
                    </a:lnTo>
                    <a:lnTo>
                      <a:pt x="16" y="133"/>
                    </a:lnTo>
                    <a:lnTo>
                      <a:pt x="19" y="116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3" y="90"/>
                    </a:lnTo>
                    <a:lnTo>
                      <a:pt x="21" y="83"/>
                    </a:lnTo>
                    <a:lnTo>
                      <a:pt x="12" y="78"/>
                    </a:lnTo>
                    <a:lnTo>
                      <a:pt x="9" y="76"/>
                    </a:lnTo>
                    <a:lnTo>
                      <a:pt x="9" y="67"/>
                    </a:lnTo>
                    <a:lnTo>
                      <a:pt x="12" y="62"/>
                    </a:lnTo>
                    <a:lnTo>
                      <a:pt x="14" y="55"/>
                    </a:lnTo>
                    <a:lnTo>
                      <a:pt x="14" y="48"/>
                    </a:lnTo>
                    <a:lnTo>
                      <a:pt x="7" y="33"/>
                    </a:lnTo>
                    <a:lnTo>
                      <a:pt x="4" y="22"/>
                    </a:lnTo>
                    <a:lnTo>
                      <a:pt x="26" y="22"/>
                    </a:lnTo>
                    <a:lnTo>
                      <a:pt x="75" y="22"/>
                    </a:lnTo>
                    <a:lnTo>
                      <a:pt x="127" y="22"/>
                    </a:lnTo>
                    <a:lnTo>
                      <a:pt x="177" y="22"/>
                    </a:lnTo>
                    <a:lnTo>
                      <a:pt x="227" y="19"/>
                    </a:lnTo>
                    <a:lnTo>
                      <a:pt x="276" y="19"/>
                    </a:lnTo>
                    <a:lnTo>
                      <a:pt x="326" y="19"/>
                    </a:lnTo>
                    <a:lnTo>
                      <a:pt x="376" y="17"/>
                    </a:lnTo>
                    <a:lnTo>
                      <a:pt x="425" y="17"/>
                    </a:lnTo>
                    <a:lnTo>
                      <a:pt x="475" y="15"/>
                    </a:lnTo>
                    <a:lnTo>
                      <a:pt x="527" y="15"/>
                    </a:lnTo>
                    <a:lnTo>
                      <a:pt x="576" y="12"/>
                    </a:lnTo>
                    <a:lnTo>
                      <a:pt x="626" y="10"/>
                    </a:lnTo>
                    <a:lnTo>
                      <a:pt x="676" y="10"/>
                    </a:lnTo>
                    <a:lnTo>
                      <a:pt x="725" y="7"/>
                    </a:lnTo>
                    <a:lnTo>
                      <a:pt x="775" y="5"/>
                    </a:lnTo>
                    <a:lnTo>
                      <a:pt x="827" y="0"/>
                    </a:lnTo>
                    <a:lnTo>
                      <a:pt x="827" y="15"/>
                    </a:lnTo>
                    <a:lnTo>
                      <a:pt x="832" y="24"/>
                    </a:lnTo>
                    <a:lnTo>
                      <a:pt x="839" y="31"/>
                    </a:lnTo>
                    <a:lnTo>
                      <a:pt x="848" y="36"/>
                    </a:lnTo>
                    <a:lnTo>
                      <a:pt x="851" y="48"/>
                    </a:lnTo>
                    <a:lnTo>
                      <a:pt x="844" y="64"/>
                    </a:lnTo>
                    <a:lnTo>
                      <a:pt x="844" y="85"/>
                    </a:lnTo>
                    <a:lnTo>
                      <a:pt x="846" y="109"/>
                    </a:lnTo>
                    <a:lnTo>
                      <a:pt x="853" y="130"/>
                    </a:lnTo>
                    <a:lnTo>
                      <a:pt x="860" y="149"/>
                    </a:lnTo>
                    <a:lnTo>
                      <a:pt x="879" y="163"/>
                    </a:lnTo>
                    <a:lnTo>
                      <a:pt x="905" y="171"/>
                    </a:lnTo>
                    <a:lnTo>
                      <a:pt x="922" y="185"/>
                    </a:lnTo>
                    <a:lnTo>
                      <a:pt x="929" y="204"/>
                    </a:lnTo>
                    <a:lnTo>
                      <a:pt x="929" y="20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7" name="Freeform 55">
                <a:extLst>
                  <a:ext uri="{FF2B5EF4-FFF2-40B4-BE49-F238E27FC236}">
                    <a16:creationId xmlns:a16="http://schemas.microsoft.com/office/drawing/2014/main" id="{6ED84AFC-9844-2B81-4203-5DD1B60D8F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7" y="-1135"/>
                <a:ext cx="1005" cy="1629"/>
              </a:xfrm>
              <a:custGeom>
                <a:avLst/>
                <a:gdLst>
                  <a:gd name="T0" fmla="*/ 988 w 1005"/>
                  <a:gd name="T1" fmla="*/ 1206 h 1629"/>
                  <a:gd name="T2" fmla="*/ 967 w 1005"/>
                  <a:gd name="T3" fmla="*/ 1336 h 1629"/>
                  <a:gd name="T4" fmla="*/ 946 w 1005"/>
                  <a:gd name="T5" fmla="*/ 1466 h 1629"/>
                  <a:gd name="T6" fmla="*/ 924 w 1005"/>
                  <a:gd name="T7" fmla="*/ 1596 h 1629"/>
                  <a:gd name="T8" fmla="*/ 832 w 1005"/>
                  <a:gd name="T9" fmla="*/ 1615 h 1629"/>
                  <a:gd name="T10" fmla="*/ 716 w 1005"/>
                  <a:gd name="T11" fmla="*/ 1594 h 1629"/>
                  <a:gd name="T12" fmla="*/ 601 w 1005"/>
                  <a:gd name="T13" fmla="*/ 1572 h 1629"/>
                  <a:gd name="T14" fmla="*/ 485 w 1005"/>
                  <a:gd name="T15" fmla="*/ 1549 h 1629"/>
                  <a:gd name="T16" fmla="*/ 286 w 1005"/>
                  <a:gd name="T17" fmla="*/ 1509 h 1629"/>
                  <a:gd name="T18" fmla="*/ 57 w 1005"/>
                  <a:gd name="T19" fmla="*/ 1457 h 1629"/>
                  <a:gd name="T20" fmla="*/ 33 w 1005"/>
                  <a:gd name="T21" fmla="*/ 1308 h 1629"/>
                  <a:gd name="T22" fmla="*/ 76 w 1005"/>
                  <a:gd name="T23" fmla="*/ 1123 h 1629"/>
                  <a:gd name="T24" fmla="*/ 109 w 1005"/>
                  <a:gd name="T25" fmla="*/ 1029 h 1629"/>
                  <a:gd name="T26" fmla="*/ 123 w 1005"/>
                  <a:gd name="T27" fmla="*/ 996 h 1629"/>
                  <a:gd name="T28" fmla="*/ 88 w 1005"/>
                  <a:gd name="T29" fmla="*/ 958 h 1629"/>
                  <a:gd name="T30" fmla="*/ 166 w 1005"/>
                  <a:gd name="T31" fmla="*/ 854 h 1629"/>
                  <a:gd name="T32" fmla="*/ 255 w 1005"/>
                  <a:gd name="T33" fmla="*/ 714 h 1629"/>
                  <a:gd name="T34" fmla="*/ 213 w 1005"/>
                  <a:gd name="T35" fmla="*/ 636 h 1629"/>
                  <a:gd name="T36" fmla="*/ 215 w 1005"/>
                  <a:gd name="T37" fmla="*/ 591 h 1629"/>
                  <a:gd name="T38" fmla="*/ 213 w 1005"/>
                  <a:gd name="T39" fmla="*/ 534 h 1629"/>
                  <a:gd name="T40" fmla="*/ 237 w 1005"/>
                  <a:gd name="T41" fmla="*/ 433 h 1629"/>
                  <a:gd name="T42" fmla="*/ 267 w 1005"/>
                  <a:gd name="T43" fmla="*/ 300 h 1629"/>
                  <a:gd name="T44" fmla="*/ 298 w 1005"/>
                  <a:gd name="T45" fmla="*/ 168 h 1629"/>
                  <a:gd name="T46" fmla="*/ 329 w 1005"/>
                  <a:gd name="T47" fmla="*/ 33 h 1629"/>
                  <a:gd name="T48" fmla="*/ 473 w 1005"/>
                  <a:gd name="T49" fmla="*/ 33 h 1629"/>
                  <a:gd name="T50" fmla="*/ 426 w 1005"/>
                  <a:gd name="T51" fmla="*/ 239 h 1629"/>
                  <a:gd name="T52" fmla="*/ 456 w 1005"/>
                  <a:gd name="T53" fmla="*/ 310 h 1629"/>
                  <a:gd name="T54" fmla="*/ 456 w 1005"/>
                  <a:gd name="T55" fmla="*/ 355 h 1629"/>
                  <a:gd name="T56" fmla="*/ 447 w 1005"/>
                  <a:gd name="T57" fmla="*/ 364 h 1629"/>
                  <a:gd name="T58" fmla="*/ 492 w 1005"/>
                  <a:gd name="T59" fmla="*/ 414 h 1629"/>
                  <a:gd name="T60" fmla="*/ 534 w 1005"/>
                  <a:gd name="T61" fmla="*/ 497 h 1629"/>
                  <a:gd name="T62" fmla="*/ 553 w 1005"/>
                  <a:gd name="T63" fmla="*/ 542 h 1629"/>
                  <a:gd name="T64" fmla="*/ 570 w 1005"/>
                  <a:gd name="T65" fmla="*/ 549 h 1629"/>
                  <a:gd name="T66" fmla="*/ 582 w 1005"/>
                  <a:gd name="T67" fmla="*/ 568 h 1629"/>
                  <a:gd name="T68" fmla="*/ 608 w 1005"/>
                  <a:gd name="T69" fmla="*/ 575 h 1629"/>
                  <a:gd name="T70" fmla="*/ 593 w 1005"/>
                  <a:gd name="T71" fmla="*/ 612 h 1629"/>
                  <a:gd name="T72" fmla="*/ 565 w 1005"/>
                  <a:gd name="T73" fmla="*/ 669 h 1629"/>
                  <a:gd name="T74" fmla="*/ 567 w 1005"/>
                  <a:gd name="T75" fmla="*/ 709 h 1629"/>
                  <a:gd name="T76" fmla="*/ 546 w 1005"/>
                  <a:gd name="T77" fmla="*/ 740 h 1629"/>
                  <a:gd name="T78" fmla="*/ 534 w 1005"/>
                  <a:gd name="T79" fmla="*/ 787 h 1629"/>
                  <a:gd name="T80" fmla="*/ 560 w 1005"/>
                  <a:gd name="T81" fmla="*/ 813 h 1629"/>
                  <a:gd name="T82" fmla="*/ 596 w 1005"/>
                  <a:gd name="T83" fmla="*/ 802 h 1629"/>
                  <a:gd name="T84" fmla="*/ 619 w 1005"/>
                  <a:gd name="T85" fmla="*/ 780 h 1629"/>
                  <a:gd name="T86" fmla="*/ 641 w 1005"/>
                  <a:gd name="T87" fmla="*/ 806 h 1629"/>
                  <a:gd name="T88" fmla="*/ 641 w 1005"/>
                  <a:gd name="T89" fmla="*/ 839 h 1629"/>
                  <a:gd name="T90" fmla="*/ 660 w 1005"/>
                  <a:gd name="T91" fmla="*/ 908 h 1629"/>
                  <a:gd name="T92" fmla="*/ 671 w 1005"/>
                  <a:gd name="T93" fmla="*/ 941 h 1629"/>
                  <a:gd name="T94" fmla="*/ 679 w 1005"/>
                  <a:gd name="T95" fmla="*/ 984 h 1629"/>
                  <a:gd name="T96" fmla="*/ 705 w 1005"/>
                  <a:gd name="T97" fmla="*/ 998 h 1629"/>
                  <a:gd name="T98" fmla="*/ 716 w 1005"/>
                  <a:gd name="T99" fmla="*/ 1050 h 1629"/>
                  <a:gd name="T100" fmla="*/ 733 w 1005"/>
                  <a:gd name="T101" fmla="*/ 1083 h 1629"/>
                  <a:gd name="T102" fmla="*/ 745 w 1005"/>
                  <a:gd name="T103" fmla="*/ 1071 h 1629"/>
                  <a:gd name="T104" fmla="*/ 806 w 1005"/>
                  <a:gd name="T105" fmla="*/ 1081 h 1629"/>
                  <a:gd name="T106" fmla="*/ 832 w 1005"/>
                  <a:gd name="T107" fmla="*/ 1066 h 1629"/>
                  <a:gd name="T108" fmla="*/ 917 w 1005"/>
                  <a:gd name="T109" fmla="*/ 1081 h 1629"/>
                  <a:gd name="T110" fmla="*/ 943 w 1005"/>
                  <a:gd name="T111" fmla="*/ 1081 h 1629"/>
                  <a:gd name="T112" fmla="*/ 960 w 1005"/>
                  <a:gd name="T113" fmla="*/ 1050 h 1629"/>
                  <a:gd name="T114" fmla="*/ 981 w 1005"/>
                  <a:gd name="T115" fmla="*/ 1064 h 1629"/>
                  <a:gd name="T116" fmla="*/ 1005 w 1005"/>
                  <a:gd name="T117" fmla="*/ 1109 h 1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05" h="1629">
                    <a:moveTo>
                      <a:pt x="1005" y="1109"/>
                    </a:moveTo>
                    <a:lnTo>
                      <a:pt x="1000" y="1142"/>
                    </a:lnTo>
                    <a:lnTo>
                      <a:pt x="995" y="1175"/>
                    </a:lnTo>
                    <a:lnTo>
                      <a:pt x="988" y="1206"/>
                    </a:lnTo>
                    <a:lnTo>
                      <a:pt x="983" y="1239"/>
                    </a:lnTo>
                    <a:lnTo>
                      <a:pt x="979" y="1272"/>
                    </a:lnTo>
                    <a:lnTo>
                      <a:pt x="974" y="1305"/>
                    </a:lnTo>
                    <a:lnTo>
                      <a:pt x="967" y="1336"/>
                    </a:lnTo>
                    <a:lnTo>
                      <a:pt x="962" y="1369"/>
                    </a:lnTo>
                    <a:lnTo>
                      <a:pt x="957" y="1402"/>
                    </a:lnTo>
                    <a:lnTo>
                      <a:pt x="950" y="1433"/>
                    </a:lnTo>
                    <a:lnTo>
                      <a:pt x="946" y="1466"/>
                    </a:lnTo>
                    <a:lnTo>
                      <a:pt x="941" y="1499"/>
                    </a:lnTo>
                    <a:lnTo>
                      <a:pt x="936" y="1532"/>
                    </a:lnTo>
                    <a:lnTo>
                      <a:pt x="929" y="1563"/>
                    </a:lnTo>
                    <a:lnTo>
                      <a:pt x="924" y="1596"/>
                    </a:lnTo>
                    <a:lnTo>
                      <a:pt x="920" y="1629"/>
                    </a:lnTo>
                    <a:lnTo>
                      <a:pt x="889" y="1624"/>
                    </a:lnTo>
                    <a:lnTo>
                      <a:pt x="861" y="1620"/>
                    </a:lnTo>
                    <a:lnTo>
                      <a:pt x="832" y="1615"/>
                    </a:lnTo>
                    <a:lnTo>
                      <a:pt x="804" y="1608"/>
                    </a:lnTo>
                    <a:lnTo>
                      <a:pt x="773" y="1603"/>
                    </a:lnTo>
                    <a:lnTo>
                      <a:pt x="745" y="1598"/>
                    </a:lnTo>
                    <a:lnTo>
                      <a:pt x="716" y="1594"/>
                    </a:lnTo>
                    <a:lnTo>
                      <a:pt x="688" y="1589"/>
                    </a:lnTo>
                    <a:lnTo>
                      <a:pt x="660" y="1582"/>
                    </a:lnTo>
                    <a:lnTo>
                      <a:pt x="629" y="1577"/>
                    </a:lnTo>
                    <a:lnTo>
                      <a:pt x="601" y="1572"/>
                    </a:lnTo>
                    <a:lnTo>
                      <a:pt x="572" y="1565"/>
                    </a:lnTo>
                    <a:lnTo>
                      <a:pt x="544" y="1561"/>
                    </a:lnTo>
                    <a:lnTo>
                      <a:pt x="515" y="1556"/>
                    </a:lnTo>
                    <a:lnTo>
                      <a:pt x="485" y="1549"/>
                    </a:lnTo>
                    <a:lnTo>
                      <a:pt x="456" y="1544"/>
                    </a:lnTo>
                    <a:lnTo>
                      <a:pt x="400" y="1532"/>
                    </a:lnTo>
                    <a:lnTo>
                      <a:pt x="343" y="1520"/>
                    </a:lnTo>
                    <a:lnTo>
                      <a:pt x="286" y="1509"/>
                    </a:lnTo>
                    <a:lnTo>
                      <a:pt x="229" y="1497"/>
                    </a:lnTo>
                    <a:lnTo>
                      <a:pt x="170" y="1483"/>
                    </a:lnTo>
                    <a:lnTo>
                      <a:pt x="114" y="1471"/>
                    </a:lnTo>
                    <a:lnTo>
                      <a:pt x="57" y="1457"/>
                    </a:lnTo>
                    <a:lnTo>
                      <a:pt x="0" y="1445"/>
                    </a:lnTo>
                    <a:lnTo>
                      <a:pt x="12" y="1397"/>
                    </a:lnTo>
                    <a:lnTo>
                      <a:pt x="21" y="1353"/>
                    </a:lnTo>
                    <a:lnTo>
                      <a:pt x="33" y="1308"/>
                    </a:lnTo>
                    <a:lnTo>
                      <a:pt x="43" y="1260"/>
                    </a:lnTo>
                    <a:lnTo>
                      <a:pt x="55" y="1215"/>
                    </a:lnTo>
                    <a:lnTo>
                      <a:pt x="64" y="1170"/>
                    </a:lnTo>
                    <a:lnTo>
                      <a:pt x="76" y="1123"/>
                    </a:lnTo>
                    <a:lnTo>
                      <a:pt x="88" y="1074"/>
                    </a:lnTo>
                    <a:lnTo>
                      <a:pt x="88" y="1071"/>
                    </a:lnTo>
                    <a:lnTo>
                      <a:pt x="104" y="1043"/>
                    </a:lnTo>
                    <a:lnTo>
                      <a:pt x="109" y="1029"/>
                    </a:lnTo>
                    <a:lnTo>
                      <a:pt x="109" y="1019"/>
                    </a:lnTo>
                    <a:lnTo>
                      <a:pt x="114" y="1012"/>
                    </a:lnTo>
                    <a:lnTo>
                      <a:pt x="121" y="1005"/>
                    </a:lnTo>
                    <a:lnTo>
                      <a:pt x="123" y="996"/>
                    </a:lnTo>
                    <a:lnTo>
                      <a:pt x="118" y="986"/>
                    </a:lnTo>
                    <a:lnTo>
                      <a:pt x="109" y="977"/>
                    </a:lnTo>
                    <a:lnTo>
                      <a:pt x="92" y="969"/>
                    </a:lnTo>
                    <a:lnTo>
                      <a:pt x="88" y="958"/>
                    </a:lnTo>
                    <a:lnTo>
                      <a:pt x="90" y="939"/>
                    </a:lnTo>
                    <a:lnTo>
                      <a:pt x="111" y="910"/>
                    </a:lnTo>
                    <a:lnTo>
                      <a:pt x="144" y="877"/>
                    </a:lnTo>
                    <a:lnTo>
                      <a:pt x="166" y="854"/>
                    </a:lnTo>
                    <a:lnTo>
                      <a:pt x="170" y="837"/>
                    </a:lnTo>
                    <a:lnTo>
                      <a:pt x="194" y="802"/>
                    </a:lnTo>
                    <a:lnTo>
                      <a:pt x="237" y="750"/>
                    </a:lnTo>
                    <a:lnTo>
                      <a:pt x="255" y="714"/>
                    </a:lnTo>
                    <a:lnTo>
                      <a:pt x="253" y="695"/>
                    </a:lnTo>
                    <a:lnTo>
                      <a:pt x="241" y="676"/>
                    </a:lnTo>
                    <a:lnTo>
                      <a:pt x="225" y="657"/>
                    </a:lnTo>
                    <a:lnTo>
                      <a:pt x="213" y="636"/>
                    </a:lnTo>
                    <a:lnTo>
                      <a:pt x="211" y="627"/>
                    </a:lnTo>
                    <a:lnTo>
                      <a:pt x="208" y="612"/>
                    </a:lnTo>
                    <a:lnTo>
                      <a:pt x="211" y="598"/>
                    </a:lnTo>
                    <a:lnTo>
                      <a:pt x="215" y="591"/>
                    </a:lnTo>
                    <a:lnTo>
                      <a:pt x="215" y="577"/>
                    </a:lnTo>
                    <a:lnTo>
                      <a:pt x="211" y="553"/>
                    </a:lnTo>
                    <a:lnTo>
                      <a:pt x="211" y="539"/>
                    </a:lnTo>
                    <a:lnTo>
                      <a:pt x="213" y="534"/>
                    </a:lnTo>
                    <a:lnTo>
                      <a:pt x="213" y="532"/>
                    </a:lnTo>
                    <a:lnTo>
                      <a:pt x="222" y="499"/>
                    </a:lnTo>
                    <a:lnTo>
                      <a:pt x="229" y="466"/>
                    </a:lnTo>
                    <a:lnTo>
                      <a:pt x="237" y="433"/>
                    </a:lnTo>
                    <a:lnTo>
                      <a:pt x="244" y="400"/>
                    </a:lnTo>
                    <a:lnTo>
                      <a:pt x="253" y="367"/>
                    </a:lnTo>
                    <a:lnTo>
                      <a:pt x="260" y="333"/>
                    </a:lnTo>
                    <a:lnTo>
                      <a:pt x="267" y="300"/>
                    </a:lnTo>
                    <a:lnTo>
                      <a:pt x="274" y="267"/>
                    </a:lnTo>
                    <a:lnTo>
                      <a:pt x="284" y="234"/>
                    </a:lnTo>
                    <a:lnTo>
                      <a:pt x="291" y="201"/>
                    </a:lnTo>
                    <a:lnTo>
                      <a:pt x="298" y="168"/>
                    </a:lnTo>
                    <a:lnTo>
                      <a:pt x="307" y="135"/>
                    </a:lnTo>
                    <a:lnTo>
                      <a:pt x="315" y="102"/>
                    </a:lnTo>
                    <a:lnTo>
                      <a:pt x="322" y="69"/>
                    </a:lnTo>
                    <a:lnTo>
                      <a:pt x="329" y="33"/>
                    </a:lnTo>
                    <a:lnTo>
                      <a:pt x="338" y="0"/>
                    </a:lnTo>
                    <a:lnTo>
                      <a:pt x="381" y="12"/>
                    </a:lnTo>
                    <a:lnTo>
                      <a:pt x="440" y="24"/>
                    </a:lnTo>
                    <a:lnTo>
                      <a:pt x="473" y="33"/>
                    </a:lnTo>
                    <a:lnTo>
                      <a:pt x="461" y="83"/>
                    </a:lnTo>
                    <a:lnTo>
                      <a:pt x="449" y="135"/>
                    </a:lnTo>
                    <a:lnTo>
                      <a:pt x="437" y="187"/>
                    </a:lnTo>
                    <a:lnTo>
                      <a:pt x="426" y="239"/>
                    </a:lnTo>
                    <a:lnTo>
                      <a:pt x="437" y="263"/>
                    </a:lnTo>
                    <a:lnTo>
                      <a:pt x="445" y="277"/>
                    </a:lnTo>
                    <a:lnTo>
                      <a:pt x="449" y="293"/>
                    </a:lnTo>
                    <a:lnTo>
                      <a:pt x="456" y="310"/>
                    </a:lnTo>
                    <a:lnTo>
                      <a:pt x="459" y="315"/>
                    </a:lnTo>
                    <a:lnTo>
                      <a:pt x="459" y="331"/>
                    </a:lnTo>
                    <a:lnTo>
                      <a:pt x="454" y="343"/>
                    </a:lnTo>
                    <a:lnTo>
                      <a:pt x="456" y="355"/>
                    </a:lnTo>
                    <a:lnTo>
                      <a:pt x="454" y="362"/>
                    </a:lnTo>
                    <a:lnTo>
                      <a:pt x="449" y="362"/>
                    </a:lnTo>
                    <a:lnTo>
                      <a:pt x="447" y="364"/>
                    </a:lnTo>
                    <a:lnTo>
                      <a:pt x="447" y="364"/>
                    </a:lnTo>
                    <a:lnTo>
                      <a:pt x="449" y="367"/>
                    </a:lnTo>
                    <a:lnTo>
                      <a:pt x="461" y="381"/>
                    </a:lnTo>
                    <a:lnTo>
                      <a:pt x="473" y="400"/>
                    </a:lnTo>
                    <a:lnTo>
                      <a:pt x="492" y="414"/>
                    </a:lnTo>
                    <a:lnTo>
                      <a:pt x="497" y="421"/>
                    </a:lnTo>
                    <a:lnTo>
                      <a:pt x="515" y="459"/>
                    </a:lnTo>
                    <a:lnTo>
                      <a:pt x="523" y="480"/>
                    </a:lnTo>
                    <a:lnTo>
                      <a:pt x="534" y="497"/>
                    </a:lnTo>
                    <a:lnTo>
                      <a:pt x="539" y="516"/>
                    </a:lnTo>
                    <a:lnTo>
                      <a:pt x="549" y="532"/>
                    </a:lnTo>
                    <a:lnTo>
                      <a:pt x="551" y="539"/>
                    </a:lnTo>
                    <a:lnTo>
                      <a:pt x="553" y="542"/>
                    </a:lnTo>
                    <a:lnTo>
                      <a:pt x="553" y="542"/>
                    </a:lnTo>
                    <a:lnTo>
                      <a:pt x="563" y="542"/>
                    </a:lnTo>
                    <a:lnTo>
                      <a:pt x="565" y="542"/>
                    </a:lnTo>
                    <a:lnTo>
                      <a:pt x="570" y="549"/>
                    </a:lnTo>
                    <a:lnTo>
                      <a:pt x="567" y="558"/>
                    </a:lnTo>
                    <a:lnTo>
                      <a:pt x="570" y="563"/>
                    </a:lnTo>
                    <a:lnTo>
                      <a:pt x="577" y="565"/>
                    </a:lnTo>
                    <a:lnTo>
                      <a:pt x="582" y="568"/>
                    </a:lnTo>
                    <a:lnTo>
                      <a:pt x="603" y="568"/>
                    </a:lnTo>
                    <a:lnTo>
                      <a:pt x="608" y="568"/>
                    </a:lnTo>
                    <a:lnTo>
                      <a:pt x="608" y="570"/>
                    </a:lnTo>
                    <a:lnTo>
                      <a:pt x="608" y="575"/>
                    </a:lnTo>
                    <a:lnTo>
                      <a:pt x="608" y="582"/>
                    </a:lnTo>
                    <a:lnTo>
                      <a:pt x="603" y="591"/>
                    </a:lnTo>
                    <a:lnTo>
                      <a:pt x="596" y="601"/>
                    </a:lnTo>
                    <a:lnTo>
                      <a:pt x="593" y="612"/>
                    </a:lnTo>
                    <a:lnTo>
                      <a:pt x="584" y="634"/>
                    </a:lnTo>
                    <a:lnTo>
                      <a:pt x="577" y="648"/>
                    </a:lnTo>
                    <a:lnTo>
                      <a:pt x="575" y="662"/>
                    </a:lnTo>
                    <a:lnTo>
                      <a:pt x="565" y="669"/>
                    </a:lnTo>
                    <a:lnTo>
                      <a:pt x="567" y="681"/>
                    </a:lnTo>
                    <a:lnTo>
                      <a:pt x="563" y="695"/>
                    </a:lnTo>
                    <a:lnTo>
                      <a:pt x="563" y="700"/>
                    </a:lnTo>
                    <a:lnTo>
                      <a:pt x="567" y="709"/>
                    </a:lnTo>
                    <a:lnTo>
                      <a:pt x="567" y="728"/>
                    </a:lnTo>
                    <a:lnTo>
                      <a:pt x="565" y="731"/>
                    </a:lnTo>
                    <a:lnTo>
                      <a:pt x="551" y="735"/>
                    </a:lnTo>
                    <a:lnTo>
                      <a:pt x="546" y="740"/>
                    </a:lnTo>
                    <a:lnTo>
                      <a:pt x="544" y="747"/>
                    </a:lnTo>
                    <a:lnTo>
                      <a:pt x="544" y="769"/>
                    </a:lnTo>
                    <a:lnTo>
                      <a:pt x="537" y="778"/>
                    </a:lnTo>
                    <a:lnTo>
                      <a:pt x="534" y="787"/>
                    </a:lnTo>
                    <a:lnTo>
                      <a:pt x="534" y="790"/>
                    </a:lnTo>
                    <a:lnTo>
                      <a:pt x="546" y="797"/>
                    </a:lnTo>
                    <a:lnTo>
                      <a:pt x="558" y="811"/>
                    </a:lnTo>
                    <a:lnTo>
                      <a:pt x="560" y="813"/>
                    </a:lnTo>
                    <a:lnTo>
                      <a:pt x="565" y="813"/>
                    </a:lnTo>
                    <a:lnTo>
                      <a:pt x="572" y="811"/>
                    </a:lnTo>
                    <a:lnTo>
                      <a:pt x="579" y="806"/>
                    </a:lnTo>
                    <a:lnTo>
                      <a:pt x="596" y="802"/>
                    </a:lnTo>
                    <a:lnTo>
                      <a:pt x="615" y="787"/>
                    </a:lnTo>
                    <a:lnTo>
                      <a:pt x="617" y="783"/>
                    </a:lnTo>
                    <a:lnTo>
                      <a:pt x="617" y="780"/>
                    </a:lnTo>
                    <a:lnTo>
                      <a:pt x="619" y="780"/>
                    </a:lnTo>
                    <a:lnTo>
                      <a:pt x="624" y="785"/>
                    </a:lnTo>
                    <a:lnTo>
                      <a:pt x="634" y="797"/>
                    </a:lnTo>
                    <a:lnTo>
                      <a:pt x="641" y="804"/>
                    </a:lnTo>
                    <a:lnTo>
                      <a:pt x="641" y="806"/>
                    </a:lnTo>
                    <a:lnTo>
                      <a:pt x="643" y="809"/>
                    </a:lnTo>
                    <a:lnTo>
                      <a:pt x="641" y="818"/>
                    </a:lnTo>
                    <a:lnTo>
                      <a:pt x="643" y="828"/>
                    </a:lnTo>
                    <a:lnTo>
                      <a:pt x="641" y="839"/>
                    </a:lnTo>
                    <a:lnTo>
                      <a:pt x="645" y="854"/>
                    </a:lnTo>
                    <a:lnTo>
                      <a:pt x="645" y="870"/>
                    </a:lnTo>
                    <a:lnTo>
                      <a:pt x="655" y="891"/>
                    </a:lnTo>
                    <a:lnTo>
                      <a:pt x="660" y="908"/>
                    </a:lnTo>
                    <a:lnTo>
                      <a:pt x="664" y="915"/>
                    </a:lnTo>
                    <a:lnTo>
                      <a:pt x="669" y="925"/>
                    </a:lnTo>
                    <a:lnTo>
                      <a:pt x="671" y="934"/>
                    </a:lnTo>
                    <a:lnTo>
                      <a:pt x="671" y="941"/>
                    </a:lnTo>
                    <a:lnTo>
                      <a:pt x="662" y="955"/>
                    </a:lnTo>
                    <a:lnTo>
                      <a:pt x="664" y="960"/>
                    </a:lnTo>
                    <a:lnTo>
                      <a:pt x="667" y="967"/>
                    </a:lnTo>
                    <a:lnTo>
                      <a:pt x="679" y="984"/>
                    </a:lnTo>
                    <a:lnTo>
                      <a:pt x="681" y="986"/>
                    </a:lnTo>
                    <a:lnTo>
                      <a:pt x="693" y="986"/>
                    </a:lnTo>
                    <a:lnTo>
                      <a:pt x="700" y="991"/>
                    </a:lnTo>
                    <a:lnTo>
                      <a:pt x="705" y="998"/>
                    </a:lnTo>
                    <a:lnTo>
                      <a:pt x="709" y="1010"/>
                    </a:lnTo>
                    <a:lnTo>
                      <a:pt x="712" y="1022"/>
                    </a:lnTo>
                    <a:lnTo>
                      <a:pt x="712" y="1033"/>
                    </a:lnTo>
                    <a:lnTo>
                      <a:pt x="716" y="1050"/>
                    </a:lnTo>
                    <a:lnTo>
                      <a:pt x="714" y="1062"/>
                    </a:lnTo>
                    <a:lnTo>
                      <a:pt x="719" y="1066"/>
                    </a:lnTo>
                    <a:lnTo>
                      <a:pt x="726" y="1076"/>
                    </a:lnTo>
                    <a:lnTo>
                      <a:pt x="733" y="1083"/>
                    </a:lnTo>
                    <a:lnTo>
                      <a:pt x="738" y="1083"/>
                    </a:lnTo>
                    <a:lnTo>
                      <a:pt x="740" y="1083"/>
                    </a:lnTo>
                    <a:lnTo>
                      <a:pt x="742" y="1076"/>
                    </a:lnTo>
                    <a:lnTo>
                      <a:pt x="745" y="1071"/>
                    </a:lnTo>
                    <a:lnTo>
                      <a:pt x="757" y="1066"/>
                    </a:lnTo>
                    <a:lnTo>
                      <a:pt x="768" y="1066"/>
                    </a:lnTo>
                    <a:lnTo>
                      <a:pt x="804" y="1081"/>
                    </a:lnTo>
                    <a:lnTo>
                      <a:pt x="806" y="1081"/>
                    </a:lnTo>
                    <a:lnTo>
                      <a:pt x="809" y="1078"/>
                    </a:lnTo>
                    <a:lnTo>
                      <a:pt x="818" y="1069"/>
                    </a:lnTo>
                    <a:lnTo>
                      <a:pt x="823" y="1066"/>
                    </a:lnTo>
                    <a:lnTo>
                      <a:pt x="832" y="1066"/>
                    </a:lnTo>
                    <a:lnTo>
                      <a:pt x="856" y="1074"/>
                    </a:lnTo>
                    <a:lnTo>
                      <a:pt x="882" y="1076"/>
                    </a:lnTo>
                    <a:lnTo>
                      <a:pt x="896" y="1081"/>
                    </a:lnTo>
                    <a:lnTo>
                      <a:pt x="917" y="1081"/>
                    </a:lnTo>
                    <a:lnTo>
                      <a:pt x="941" y="1088"/>
                    </a:lnTo>
                    <a:lnTo>
                      <a:pt x="943" y="1088"/>
                    </a:lnTo>
                    <a:lnTo>
                      <a:pt x="946" y="1085"/>
                    </a:lnTo>
                    <a:lnTo>
                      <a:pt x="943" y="1081"/>
                    </a:lnTo>
                    <a:lnTo>
                      <a:pt x="943" y="1071"/>
                    </a:lnTo>
                    <a:lnTo>
                      <a:pt x="950" y="1062"/>
                    </a:lnTo>
                    <a:lnTo>
                      <a:pt x="955" y="1055"/>
                    </a:lnTo>
                    <a:lnTo>
                      <a:pt x="960" y="1050"/>
                    </a:lnTo>
                    <a:lnTo>
                      <a:pt x="967" y="1050"/>
                    </a:lnTo>
                    <a:lnTo>
                      <a:pt x="972" y="1050"/>
                    </a:lnTo>
                    <a:lnTo>
                      <a:pt x="976" y="1057"/>
                    </a:lnTo>
                    <a:lnTo>
                      <a:pt x="981" y="1064"/>
                    </a:lnTo>
                    <a:lnTo>
                      <a:pt x="986" y="1085"/>
                    </a:lnTo>
                    <a:lnTo>
                      <a:pt x="991" y="1095"/>
                    </a:lnTo>
                    <a:lnTo>
                      <a:pt x="998" y="1102"/>
                    </a:lnTo>
                    <a:lnTo>
                      <a:pt x="1005" y="110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8" name="Freeform 56">
                <a:extLst>
                  <a:ext uri="{FF2B5EF4-FFF2-40B4-BE49-F238E27FC236}">
                    <a16:creationId xmlns:a16="http://schemas.microsoft.com/office/drawing/2014/main" id="{7D5232DB-32C7-0C8D-3E11-31D36B99B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2" y="527"/>
                <a:ext cx="669" cy="1171"/>
              </a:xfrm>
              <a:custGeom>
                <a:avLst/>
                <a:gdLst>
                  <a:gd name="T0" fmla="*/ 558 w 669"/>
                  <a:gd name="T1" fmla="*/ 59 h 1171"/>
                  <a:gd name="T2" fmla="*/ 577 w 669"/>
                  <a:gd name="T3" fmla="*/ 85 h 1171"/>
                  <a:gd name="T4" fmla="*/ 605 w 669"/>
                  <a:gd name="T5" fmla="*/ 149 h 1171"/>
                  <a:gd name="T6" fmla="*/ 622 w 669"/>
                  <a:gd name="T7" fmla="*/ 277 h 1171"/>
                  <a:gd name="T8" fmla="*/ 638 w 669"/>
                  <a:gd name="T9" fmla="*/ 464 h 1171"/>
                  <a:gd name="T10" fmla="*/ 655 w 669"/>
                  <a:gd name="T11" fmla="*/ 648 h 1171"/>
                  <a:gd name="T12" fmla="*/ 643 w 669"/>
                  <a:gd name="T13" fmla="*/ 669 h 1171"/>
                  <a:gd name="T14" fmla="*/ 641 w 669"/>
                  <a:gd name="T15" fmla="*/ 695 h 1171"/>
                  <a:gd name="T16" fmla="*/ 664 w 669"/>
                  <a:gd name="T17" fmla="*/ 747 h 1171"/>
                  <a:gd name="T18" fmla="*/ 659 w 669"/>
                  <a:gd name="T19" fmla="*/ 797 h 1171"/>
                  <a:gd name="T20" fmla="*/ 641 w 669"/>
                  <a:gd name="T21" fmla="*/ 842 h 1171"/>
                  <a:gd name="T22" fmla="*/ 619 w 669"/>
                  <a:gd name="T23" fmla="*/ 882 h 1171"/>
                  <a:gd name="T24" fmla="*/ 603 w 669"/>
                  <a:gd name="T25" fmla="*/ 892 h 1171"/>
                  <a:gd name="T26" fmla="*/ 610 w 669"/>
                  <a:gd name="T27" fmla="*/ 913 h 1171"/>
                  <a:gd name="T28" fmla="*/ 605 w 669"/>
                  <a:gd name="T29" fmla="*/ 927 h 1171"/>
                  <a:gd name="T30" fmla="*/ 598 w 669"/>
                  <a:gd name="T31" fmla="*/ 944 h 1171"/>
                  <a:gd name="T32" fmla="*/ 591 w 669"/>
                  <a:gd name="T33" fmla="*/ 967 h 1171"/>
                  <a:gd name="T34" fmla="*/ 596 w 669"/>
                  <a:gd name="T35" fmla="*/ 993 h 1171"/>
                  <a:gd name="T36" fmla="*/ 596 w 669"/>
                  <a:gd name="T37" fmla="*/ 1043 h 1171"/>
                  <a:gd name="T38" fmla="*/ 534 w 669"/>
                  <a:gd name="T39" fmla="*/ 1086 h 1171"/>
                  <a:gd name="T40" fmla="*/ 544 w 669"/>
                  <a:gd name="T41" fmla="*/ 1123 h 1171"/>
                  <a:gd name="T42" fmla="*/ 518 w 669"/>
                  <a:gd name="T43" fmla="*/ 1140 h 1171"/>
                  <a:gd name="T44" fmla="*/ 430 w 669"/>
                  <a:gd name="T45" fmla="*/ 1149 h 1171"/>
                  <a:gd name="T46" fmla="*/ 416 w 669"/>
                  <a:gd name="T47" fmla="*/ 1159 h 1171"/>
                  <a:gd name="T48" fmla="*/ 404 w 669"/>
                  <a:gd name="T49" fmla="*/ 1157 h 1171"/>
                  <a:gd name="T50" fmla="*/ 407 w 669"/>
                  <a:gd name="T51" fmla="*/ 1166 h 1171"/>
                  <a:gd name="T52" fmla="*/ 395 w 669"/>
                  <a:gd name="T53" fmla="*/ 1166 h 1171"/>
                  <a:gd name="T54" fmla="*/ 366 w 669"/>
                  <a:gd name="T55" fmla="*/ 1112 h 1171"/>
                  <a:gd name="T56" fmla="*/ 364 w 669"/>
                  <a:gd name="T57" fmla="*/ 1069 h 1171"/>
                  <a:gd name="T58" fmla="*/ 340 w 669"/>
                  <a:gd name="T59" fmla="*/ 1019 h 1171"/>
                  <a:gd name="T60" fmla="*/ 262 w 669"/>
                  <a:gd name="T61" fmla="*/ 972 h 1171"/>
                  <a:gd name="T62" fmla="*/ 208 w 669"/>
                  <a:gd name="T63" fmla="*/ 920 h 1171"/>
                  <a:gd name="T64" fmla="*/ 239 w 669"/>
                  <a:gd name="T65" fmla="*/ 809 h 1171"/>
                  <a:gd name="T66" fmla="*/ 239 w 669"/>
                  <a:gd name="T67" fmla="*/ 795 h 1171"/>
                  <a:gd name="T68" fmla="*/ 203 w 669"/>
                  <a:gd name="T69" fmla="*/ 778 h 1171"/>
                  <a:gd name="T70" fmla="*/ 151 w 669"/>
                  <a:gd name="T71" fmla="*/ 771 h 1171"/>
                  <a:gd name="T72" fmla="*/ 54 w 669"/>
                  <a:gd name="T73" fmla="*/ 646 h 1171"/>
                  <a:gd name="T74" fmla="*/ 9 w 669"/>
                  <a:gd name="T75" fmla="*/ 577 h 1171"/>
                  <a:gd name="T76" fmla="*/ 9 w 669"/>
                  <a:gd name="T77" fmla="*/ 485 h 1171"/>
                  <a:gd name="T78" fmla="*/ 14 w 669"/>
                  <a:gd name="T79" fmla="*/ 452 h 1171"/>
                  <a:gd name="T80" fmla="*/ 59 w 669"/>
                  <a:gd name="T81" fmla="*/ 405 h 1171"/>
                  <a:gd name="T82" fmla="*/ 78 w 669"/>
                  <a:gd name="T83" fmla="*/ 334 h 1171"/>
                  <a:gd name="T84" fmla="*/ 57 w 669"/>
                  <a:gd name="T85" fmla="*/ 293 h 1171"/>
                  <a:gd name="T86" fmla="*/ 106 w 669"/>
                  <a:gd name="T87" fmla="*/ 253 h 1171"/>
                  <a:gd name="T88" fmla="*/ 168 w 669"/>
                  <a:gd name="T89" fmla="*/ 213 h 1171"/>
                  <a:gd name="T90" fmla="*/ 187 w 669"/>
                  <a:gd name="T91" fmla="*/ 173 h 1171"/>
                  <a:gd name="T92" fmla="*/ 194 w 669"/>
                  <a:gd name="T93" fmla="*/ 121 h 1171"/>
                  <a:gd name="T94" fmla="*/ 161 w 669"/>
                  <a:gd name="T95" fmla="*/ 90 h 1171"/>
                  <a:gd name="T96" fmla="*/ 137 w 669"/>
                  <a:gd name="T97" fmla="*/ 55 h 1171"/>
                  <a:gd name="T98" fmla="*/ 182 w 669"/>
                  <a:gd name="T99" fmla="*/ 26 h 1171"/>
                  <a:gd name="T100" fmla="*/ 390 w 669"/>
                  <a:gd name="T101" fmla="*/ 12 h 1171"/>
                  <a:gd name="T102" fmla="*/ 551 w 669"/>
                  <a:gd name="T103" fmla="*/ 0 h 1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69" h="1171">
                    <a:moveTo>
                      <a:pt x="551" y="0"/>
                    </a:moveTo>
                    <a:lnTo>
                      <a:pt x="553" y="33"/>
                    </a:lnTo>
                    <a:lnTo>
                      <a:pt x="558" y="59"/>
                    </a:lnTo>
                    <a:lnTo>
                      <a:pt x="565" y="71"/>
                    </a:lnTo>
                    <a:lnTo>
                      <a:pt x="570" y="81"/>
                    </a:lnTo>
                    <a:lnTo>
                      <a:pt x="577" y="85"/>
                    </a:lnTo>
                    <a:lnTo>
                      <a:pt x="586" y="102"/>
                    </a:lnTo>
                    <a:lnTo>
                      <a:pt x="596" y="130"/>
                    </a:lnTo>
                    <a:lnTo>
                      <a:pt x="605" y="149"/>
                    </a:lnTo>
                    <a:lnTo>
                      <a:pt x="610" y="156"/>
                    </a:lnTo>
                    <a:lnTo>
                      <a:pt x="617" y="213"/>
                    </a:lnTo>
                    <a:lnTo>
                      <a:pt x="622" y="277"/>
                    </a:lnTo>
                    <a:lnTo>
                      <a:pt x="626" y="338"/>
                    </a:lnTo>
                    <a:lnTo>
                      <a:pt x="633" y="402"/>
                    </a:lnTo>
                    <a:lnTo>
                      <a:pt x="638" y="464"/>
                    </a:lnTo>
                    <a:lnTo>
                      <a:pt x="645" y="528"/>
                    </a:lnTo>
                    <a:lnTo>
                      <a:pt x="650" y="589"/>
                    </a:lnTo>
                    <a:lnTo>
                      <a:pt x="655" y="648"/>
                    </a:lnTo>
                    <a:lnTo>
                      <a:pt x="655" y="651"/>
                    </a:lnTo>
                    <a:lnTo>
                      <a:pt x="648" y="658"/>
                    </a:lnTo>
                    <a:lnTo>
                      <a:pt x="643" y="669"/>
                    </a:lnTo>
                    <a:lnTo>
                      <a:pt x="648" y="681"/>
                    </a:lnTo>
                    <a:lnTo>
                      <a:pt x="645" y="688"/>
                    </a:lnTo>
                    <a:lnTo>
                      <a:pt x="641" y="695"/>
                    </a:lnTo>
                    <a:lnTo>
                      <a:pt x="645" y="707"/>
                    </a:lnTo>
                    <a:lnTo>
                      <a:pt x="657" y="729"/>
                    </a:lnTo>
                    <a:lnTo>
                      <a:pt x="664" y="747"/>
                    </a:lnTo>
                    <a:lnTo>
                      <a:pt x="669" y="769"/>
                    </a:lnTo>
                    <a:lnTo>
                      <a:pt x="669" y="783"/>
                    </a:lnTo>
                    <a:lnTo>
                      <a:pt x="659" y="797"/>
                    </a:lnTo>
                    <a:lnTo>
                      <a:pt x="655" y="826"/>
                    </a:lnTo>
                    <a:lnTo>
                      <a:pt x="648" y="837"/>
                    </a:lnTo>
                    <a:lnTo>
                      <a:pt x="641" y="842"/>
                    </a:lnTo>
                    <a:lnTo>
                      <a:pt x="633" y="854"/>
                    </a:lnTo>
                    <a:lnTo>
                      <a:pt x="626" y="873"/>
                    </a:lnTo>
                    <a:lnTo>
                      <a:pt x="619" y="882"/>
                    </a:lnTo>
                    <a:lnTo>
                      <a:pt x="612" y="882"/>
                    </a:lnTo>
                    <a:lnTo>
                      <a:pt x="607" y="885"/>
                    </a:lnTo>
                    <a:lnTo>
                      <a:pt x="603" y="892"/>
                    </a:lnTo>
                    <a:lnTo>
                      <a:pt x="605" y="899"/>
                    </a:lnTo>
                    <a:lnTo>
                      <a:pt x="610" y="906"/>
                    </a:lnTo>
                    <a:lnTo>
                      <a:pt x="610" y="913"/>
                    </a:lnTo>
                    <a:lnTo>
                      <a:pt x="603" y="920"/>
                    </a:lnTo>
                    <a:lnTo>
                      <a:pt x="603" y="925"/>
                    </a:lnTo>
                    <a:lnTo>
                      <a:pt x="605" y="927"/>
                    </a:lnTo>
                    <a:lnTo>
                      <a:pt x="605" y="930"/>
                    </a:lnTo>
                    <a:lnTo>
                      <a:pt x="600" y="932"/>
                    </a:lnTo>
                    <a:lnTo>
                      <a:pt x="598" y="944"/>
                    </a:lnTo>
                    <a:lnTo>
                      <a:pt x="598" y="958"/>
                    </a:lnTo>
                    <a:lnTo>
                      <a:pt x="596" y="967"/>
                    </a:lnTo>
                    <a:lnTo>
                      <a:pt x="591" y="967"/>
                    </a:lnTo>
                    <a:lnTo>
                      <a:pt x="591" y="972"/>
                    </a:lnTo>
                    <a:lnTo>
                      <a:pt x="603" y="989"/>
                    </a:lnTo>
                    <a:lnTo>
                      <a:pt x="596" y="993"/>
                    </a:lnTo>
                    <a:lnTo>
                      <a:pt x="589" y="1010"/>
                    </a:lnTo>
                    <a:lnTo>
                      <a:pt x="589" y="1026"/>
                    </a:lnTo>
                    <a:lnTo>
                      <a:pt x="596" y="1043"/>
                    </a:lnTo>
                    <a:lnTo>
                      <a:pt x="584" y="1060"/>
                    </a:lnTo>
                    <a:lnTo>
                      <a:pt x="551" y="1074"/>
                    </a:lnTo>
                    <a:lnTo>
                      <a:pt x="534" y="1086"/>
                    </a:lnTo>
                    <a:lnTo>
                      <a:pt x="532" y="1093"/>
                    </a:lnTo>
                    <a:lnTo>
                      <a:pt x="537" y="1107"/>
                    </a:lnTo>
                    <a:lnTo>
                      <a:pt x="544" y="1123"/>
                    </a:lnTo>
                    <a:lnTo>
                      <a:pt x="546" y="1135"/>
                    </a:lnTo>
                    <a:lnTo>
                      <a:pt x="541" y="1142"/>
                    </a:lnTo>
                    <a:lnTo>
                      <a:pt x="518" y="1140"/>
                    </a:lnTo>
                    <a:lnTo>
                      <a:pt x="473" y="1128"/>
                    </a:lnTo>
                    <a:lnTo>
                      <a:pt x="444" y="1131"/>
                    </a:lnTo>
                    <a:lnTo>
                      <a:pt x="430" y="1149"/>
                    </a:lnTo>
                    <a:lnTo>
                      <a:pt x="428" y="1161"/>
                    </a:lnTo>
                    <a:lnTo>
                      <a:pt x="430" y="1171"/>
                    </a:lnTo>
                    <a:lnTo>
                      <a:pt x="416" y="1159"/>
                    </a:lnTo>
                    <a:lnTo>
                      <a:pt x="409" y="1154"/>
                    </a:lnTo>
                    <a:lnTo>
                      <a:pt x="407" y="1157"/>
                    </a:lnTo>
                    <a:lnTo>
                      <a:pt x="404" y="1157"/>
                    </a:lnTo>
                    <a:lnTo>
                      <a:pt x="404" y="1161"/>
                    </a:lnTo>
                    <a:lnTo>
                      <a:pt x="404" y="1164"/>
                    </a:lnTo>
                    <a:lnTo>
                      <a:pt x="407" y="1166"/>
                    </a:lnTo>
                    <a:lnTo>
                      <a:pt x="407" y="1168"/>
                    </a:lnTo>
                    <a:lnTo>
                      <a:pt x="404" y="1168"/>
                    </a:lnTo>
                    <a:lnTo>
                      <a:pt x="395" y="1166"/>
                    </a:lnTo>
                    <a:lnTo>
                      <a:pt x="383" y="1152"/>
                    </a:lnTo>
                    <a:lnTo>
                      <a:pt x="371" y="1131"/>
                    </a:lnTo>
                    <a:lnTo>
                      <a:pt x="366" y="1112"/>
                    </a:lnTo>
                    <a:lnTo>
                      <a:pt x="371" y="1097"/>
                    </a:lnTo>
                    <a:lnTo>
                      <a:pt x="371" y="1083"/>
                    </a:lnTo>
                    <a:lnTo>
                      <a:pt x="364" y="1069"/>
                    </a:lnTo>
                    <a:lnTo>
                      <a:pt x="359" y="1055"/>
                    </a:lnTo>
                    <a:lnTo>
                      <a:pt x="357" y="1041"/>
                    </a:lnTo>
                    <a:lnTo>
                      <a:pt x="340" y="1019"/>
                    </a:lnTo>
                    <a:lnTo>
                      <a:pt x="305" y="993"/>
                    </a:lnTo>
                    <a:lnTo>
                      <a:pt x="279" y="977"/>
                    </a:lnTo>
                    <a:lnTo>
                      <a:pt x="262" y="972"/>
                    </a:lnTo>
                    <a:lnTo>
                      <a:pt x="243" y="958"/>
                    </a:lnTo>
                    <a:lnTo>
                      <a:pt x="222" y="937"/>
                    </a:lnTo>
                    <a:lnTo>
                      <a:pt x="208" y="920"/>
                    </a:lnTo>
                    <a:lnTo>
                      <a:pt x="208" y="911"/>
                    </a:lnTo>
                    <a:lnTo>
                      <a:pt x="215" y="878"/>
                    </a:lnTo>
                    <a:lnTo>
                      <a:pt x="239" y="809"/>
                    </a:lnTo>
                    <a:lnTo>
                      <a:pt x="241" y="799"/>
                    </a:lnTo>
                    <a:lnTo>
                      <a:pt x="241" y="797"/>
                    </a:lnTo>
                    <a:lnTo>
                      <a:pt x="239" y="795"/>
                    </a:lnTo>
                    <a:lnTo>
                      <a:pt x="236" y="792"/>
                    </a:lnTo>
                    <a:lnTo>
                      <a:pt x="225" y="785"/>
                    </a:lnTo>
                    <a:lnTo>
                      <a:pt x="203" y="778"/>
                    </a:lnTo>
                    <a:lnTo>
                      <a:pt x="182" y="776"/>
                    </a:lnTo>
                    <a:lnTo>
                      <a:pt x="165" y="785"/>
                    </a:lnTo>
                    <a:lnTo>
                      <a:pt x="151" y="771"/>
                    </a:lnTo>
                    <a:lnTo>
                      <a:pt x="137" y="731"/>
                    </a:lnTo>
                    <a:lnTo>
                      <a:pt x="104" y="688"/>
                    </a:lnTo>
                    <a:lnTo>
                      <a:pt x="54" y="646"/>
                    </a:lnTo>
                    <a:lnTo>
                      <a:pt x="26" y="617"/>
                    </a:lnTo>
                    <a:lnTo>
                      <a:pt x="16" y="601"/>
                    </a:lnTo>
                    <a:lnTo>
                      <a:pt x="9" y="577"/>
                    </a:lnTo>
                    <a:lnTo>
                      <a:pt x="2" y="544"/>
                    </a:lnTo>
                    <a:lnTo>
                      <a:pt x="0" y="518"/>
                    </a:lnTo>
                    <a:lnTo>
                      <a:pt x="9" y="485"/>
                    </a:lnTo>
                    <a:lnTo>
                      <a:pt x="16" y="480"/>
                    </a:lnTo>
                    <a:lnTo>
                      <a:pt x="19" y="471"/>
                    </a:lnTo>
                    <a:lnTo>
                      <a:pt x="14" y="452"/>
                    </a:lnTo>
                    <a:lnTo>
                      <a:pt x="24" y="438"/>
                    </a:lnTo>
                    <a:lnTo>
                      <a:pt x="43" y="426"/>
                    </a:lnTo>
                    <a:lnTo>
                      <a:pt x="59" y="405"/>
                    </a:lnTo>
                    <a:lnTo>
                      <a:pt x="73" y="372"/>
                    </a:lnTo>
                    <a:lnTo>
                      <a:pt x="80" y="348"/>
                    </a:lnTo>
                    <a:lnTo>
                      <a:pt x="78" y="334"/>
                    </a:lnTo>
                    <a:lnTo>
                      <a:pt x="71" y="320"/>
                    </a:lnTo>
                    <a:lnTo>
                      <a:pt x="59" y="308"/>
                    </a:lnTo>
                    <a:lnTo>
                      <a:pt x="57" y="293"/>
                    </a:lnTo>
                    <a:lnTo>
                      <a:pt x="61" y="275"/>
                    </a:lnTo>
                    <a:lnTo>
                      <a:pt x="78" y="260"/>
                    </a:lnTo>
                    <a:lnTo>
                      <a:pt x="106" y="253"/>
                    </a:lnTo>
                    <a:lnTo>
                      <a:pt x="132" y="244"/>
                    </a:lnTo>
                    <a:lnTo>
                      <a:pt x="156" y="227"/>
                    </a:lnTo>
                    <a:lnTo>
                      <a:pt x="168" y="213"/>
                    </a:lnTo>
                    <a:lnTo>
                      <a:pt x="173" y="197"/>
                    </a:lnTo>
                    <a:lnTo>
                      <a:pt x="177" y="182"/>
                    </a:lnTo>
                    <a:lnTo>
                      <a:pt x="187" y="173"/>
                    </a:lnTo>
                    <a:lnTo>
                      <a:pt x="191" y="156"/>
                    </a:lnTo>
                    <a:lnTo>
                      <a:pt x="194" y="137"/>
                    </a:lnTo>
                    <a:lnTo>
                      <a:pt x="194" y="121"/>
                    </a:lnTo>
                    <a:lnTo>
                      <a:pt x="189" y="111"/>
                    </a:lnTo>
                    <a:lnTo>
                      <a:pt x="180" y="102"/>
                    </a:lnTo>
                    <a:lnTo>
                      <a:pt x="161" y="90"/>
                    </a:lnTo>
                    <a:lnTo>
                      <a:pt x="149" y="78"/>
                    </a:lnTo>
                    <a:lnTo>
                      <a:pt x="147" y="67"/>
                    </a:lnTo>
                    <a:lnTo>
                      <a:pt x="137" y="55"/>
                    </a:lnTo>
                    <a:lnTo>
                      <a:pt x="121" y="43"/>
                    </a:lnTo>
                    <a:lnTo>
                      <a:pt x="109" y="29"/>
                    </a:lnTo>
                    <a:lnTo>
                      <a:pt x="182" y="26"/>
                    </a:lnTo>
                    <a:lnTo>
                      <a:pt x="251" y="22"/>
                    </a:lnTo>
                    <a:lnTo>
                      <a:pt x="321" y="17"/>
                    </a:lnTo>
                    <a:lnTo>
                      <a:pt x="390" y="12"/>
                    </a:lnTo>
                    <a:lnTo>
                      <a:pt x="461" y="7"/>
                    </a:lnTo>
                    <a:lnTo>
                      <a:pt x="532" y="3"/>
                    </a:lnTo>
                    <a:lnTo>
                      <a:pt x="55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9" name="Freeform 57">
                <a:extLst>
                  <a:ext uri="{FF2B5EF4-FFF2-40B4-BE49-F238E27FC236}">
                    <a16:creationId xmlns:a16="http://schemas.microsoft.com/office/drawing/2014/main" id="{89F6DAE5-5318-01FE-85BA-FBA6BC01C1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3" y="631"/>
                <a:ext cx="522" cy="885"/>
              </a:xfrm>
              <a:custGeom>
                <a:avLst/>
                <a:gdLst>
                  <a:gd name="T0" fmla="*/ 463 w 522"/>
                  <a:gd name="T1" fmla="*/ 149 h 885"/>
                  <a:gd name="T2" fmla="*/ 487 w 522"/>
                  <a:gd name="T3" fmla="*/ 353 h 885"/>
                  <a:gd name="T4" fmla="*/ 510 w 522"/>
                  <a:gd name="T5" fmla="*/ 558 h 885"/>
                  <a:gd name="T6" fmla="*/ 510 w 522"/>
                  <a:gd name="T7" fmla="*/ 577 h 885"/>
                  <a:gd name="T8" fmla="*/ 510 w 522"/>
                  <a:gd name="T9" fmla="*/ 596 h 885"/>
                  <a:gd name="T10" fmla="*/ 522 w 522"/>
                  <a:gd name="T11" fmla="*/ 613 h 885"/>
                  <a:gd name="T12" fmla="*/ 470 w 522"/>
                  <a:gd name="T13" fmla="*/ 646 h 885"/>
                  <a:gd name="T14" fmla="*/ 461 w 522"/>
                  <a:gd name="T15" fmla="*/ 648 h 885"/>
                  <a:gd name="T16" fmla="*/ 442 w 522"/>
                  <a:gd name="T17" fmla="*/ 641 h 885"/>
                  <a:gd name="T18" fmla="*/ 425 w 522"/>
                  <a:gd name="T19" fmla="*/ 672 h 885"/>
                  <a:gd name="T20" fmla="*/ 399 w 522"/>
                  <a:gd name="T21" fmla="*/ 712 h 885"/>
                  <a:gd name="T22" fmla="*/ 373 w 522"/>
                  <a:gd name="T23" fmla="*/ 745 h 885"/>
                  <a:gd name="T24" fmla="*/ 350 w 522"/>
                  <a:gd name="T25" fmla="*/ 804 h 885"/>
                  <a:gd name="T26" fmla="*/ 310 w 522"/>
                  <a:gd name="T27" fmla="*/ 804 h 885"/>
                  <a:gd name="T28" fmla="*/ 288 w 522"/>
                  <a:gd name="T29" fmla="*/ 778 h 885"/>
                  <a:gd name="T30" fmla="*/ 281 w 522"/>
                  <a:gd name="T31" fmla="*/ 778 h 885"/>
                  <a:gd name="T32" fmla="*/ 269 w 522"/>
                  <a:gd name="T33" fmla="*/ 785 h 885"/>
                  <a:gd name="T34" fmla="*/ 267 w 522"/>
                  <a:gd name="T35" fmla="*/ 804 h 885"/>
                  <a:gd name="T36" fmla="*/ 260 w 522"/>
                  <a:gd name="T37" fmla="*/ 826 h 885"/>
                  <a:gd name="T38" fmla="*/ 236 w 522"/>
                  <a:gd name="T39" fmla="*/ 842 h 885"/>
                  <a:gd name="T40" fmla="*/ 187 w 522"/>
                  <a:gd name="T41" fmla="*/ 837 h 885"/>
                  <a:gd name="T42" fmla="*/ 161 w 522"/>
                  <a:gd name="T43" fmla="*/ 868 h 885"/>
                  <a:gd name="T44" fmla="*/ 104 w 522"/>
                  <a:gd name="T45" fmla="*/ 844 h 885"/>
                  <a:gd name="T46" fmla="*/ 85 w 522"/>
                  <a:gd name="T47" fmla="*/ 844 h 885"/>
                  <a:gd name="T48" fmla="*/ 83 w 522"/>
                  <a:gd name="T49" fmla="*/ 859 h 885"/>
                  <a:gd name="T50" fmla="*/ 73 w 522"/>
                  <a:gd name="T51" fmla="*/ 868 h 885"/>
                  <a:gd name="T52" fmla="*/ 54 w 522"/>
                  <a:gd name="T53" fmla="*/ 861 h 885"/>
                  <a:gd name="T54" fmla="*/ 33 w 522"/>
                  <a:gd name="T55" fmla="*/ 859 h 885"/>
                  <a:gd name="T56" fmla="*/ 31 w 522"/>
                  <a:gd name="T57" fmla="*/ 878 h 885"/>
                  <a:gd name="T58" fmla="*/ 14 w 522"/>
                  <a:gd name="T59" fmla="*/ 882 h 885"/>
                  <a:gd name="T60" fmla="*/ 0 w 522"/>
                  <a:gd name="T61" fmla="*/ 863 h 885"/>
                  <a:gd name="T62" fmla="*/ 7 w 522"/>
                  <a:gd name="T63" fmla="*/ 840 h 885"/>
                  <a:gd name="T64" fmla="*/ 14 w 522"/>
                  <a:gd name="T65" fmla="*/ 823 h 885"/>
                  <a:gd name="T66" fmla="*/ 19 w 522"/>
                  <a:gd name="T67" fmla="*/ 809 h 885"/>
                  <a:gd name="T68" fmla="*/ 12 w 522"/>
                  <a:gd name="T69" fmla="*/ 788 h 885"/>
                  <a:gd name="T70" fmla="*/ 28 w 522"/>
                  <a:gd name="T71" fmla="*/ 778 h 885"/>
                  <a:gd name="T72" fmla="*/ 50 w 522"/>
                  <a:gd name="T73" fmla="*/ 738 h 885"/>
                  <a:gd name="T74" fmla="*/ 68 w 522"/>
                  <a:gd name="T75" fmla="*/ 693 h 885"/>
                  <a:gd name="T76" fmla="*/ 73 w 522"/>
                  <a:gd name="T77" fmla="*/ 643 h 885"/>
                  <a:gd name="T78" fmla="*/ 50 w 522"/>
                  <a:gd name="T79" fmla="*/ 591 h 885"/>
                  <a:gd name="T80" fmla="*/ 52 w 522"/>
                  <a:gd name="T81" fmla="*/ 565 h 885"/>
                  <a:gd name="T82" fmla="*/ 64 w 522"/>
                  <a:gd name="T83" fmla="*/ 544 h 885"/>
                  <a:gd name="T84" fmla="*/ 47 w 522"/>
                  <a:gd name="T85" fmla="*/ 360 h 885"/>
                  <a:gd name="T86" fmla="*/ 31 w 522"/>
                  <a:gd name="T87" fmla="*/ 173 h 885"/>
                  <a:gd name="T88" fmla="*/ 21 w 522"/>
                  <a:gd name="T89" fmla="*/ 55 h 885"/>
                  <a:gd name="T90" fmla="*/ 35 w 522"/>
                  <a:gd name="T91" fmla="*/ 62 h 885"/>
                  <a:gd name="T92" fmla="*/ 64 w 522"/>
                  <a:gd name="T93" fmla="*/ 69 h 885"/>
                  <a:gd name="T94" fmla="*/ 123 w 522"/>
                  <a:gd name="T95" fmla="*/ 36 h 885"/>
                  <a:gd name="T96" fmla="*/ 258 w 522"/>
                  <a:gd name="T97" fmla="*/ 22 h 885"/>
                  <a:gd name="T98" fmla="*/ 399 w 522"/>
                  <a:gd name="T99" fmla="*/ 5 h 8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22" h="885">
                    <a:moveTo>
                      <a:pt x="447" y="12"/>
                    </a:moveTo>
                    <a:lnTo>
                      <a:pt x="456" y="81"/>
                    </a:lnTo>
                    <a:lnTo>
                      <a:pt x="463" y="149"/>
                    </a:lnTo>
                    <a:lnTo>
                      <a:pt x="470" y="216"/>
                    </a:lnTo>
                    <a:lnTo>
                      <a:pt x="480" y="284"/>
                    </a:lnTo>
                    <a:lnTo>
                      <a:pt x="487" y="353"/>
                    </a:lnTo>
                    <a:lnTo>
                      <a:pt x="494" y="421"/>
                    </a:lnTo>
                    <a:lnTo>
                      <a:pt x="503" y="487"/>
                    </a:lnTo>
                    <a:lnTo>
                      <a:pt x="510" y="558"/>
                    </a:lnTo>
                    <a:lnTo>
                      <a:pt x="508" y="561"/>
                    </a:lnTo>
                    <a:lnTo>
                      <a:pt x="506" y="570"/>
                    </a:lnTo>
                    <a:lnTo>
                      <a:pt x="510" y="577"/>
                    </a:lnTo>
                    <a:lnTo>
                      <a:pt x="513" y="584"/>
                    </a:lnTo>
                    <a:lnTo>
                      <a:pt x="508" y="591"/>
                    </a:lnTo>
                    <a:lnTo>
                      <a:pt x="510" y="596"/>
                    </a:lnTo>
                    <a:lnTo>
                      <a:pt x="518" y="596"/>
                    </a:lnTo>
                    <a:lnTo>
                      <a:pt x="522" y="603"/>
                    </a:lnTo>
                    <a:lnTo>
                      <a:pt x="522" y="613"/>
                    </a:lnTo>
                    <a:lnTo>
                      <a:pt x="506" y="627"/>
                    </a:lnTo>
                    <a:lnTo>
                      <a:pt x="477" y="641"/>
                    </a:lnTo>
                    <a:lnTo>
                      <a:pt x="470" y="646"/>
                    </a:lnTo>
                    <a:lnTo>
                      <a:pt x="466" y="648"/>
                    </a:lnTo>
                    <a:lnTo>
                      <a:pt x="461" y="648"/>
                    </a:lnTo>
                    <a:lnTo>
                      <a:pt x="461" y="648"/>
                    </a:lnTo>
                    <a:lnTo>
                      <a:pt x="458" y="646"/>
                    </a:lnTo>
                    <a:lnTo>
                      <a:pt x="451" y="641"/>
                    </a:lnTo>
                    <a:lnTo>
                      <a:pt x="442" y="641"/>
                    </a:lnTo>
                    <a:lnTo>
                      <a:pt x="425" y="643"/>
                    </a:lnTo>
                    <a:lnTo>
                      <a:pt x="421" y="655"/>
                    </a:lnTo>
                    <a:lnTo>
                      <a:pt x="425" y="672"/>
                    </a:lnTo>
                    <a:lnTo>
                      <a:pt x="421" y="686"/>
                    </a:lnTo>
                    <a:lnTo>
                      <a:pt x="409" y="698"/>
                    </a:lnTo>
                    <a:lnTo>
                      <a:pt x="399" y="712"/>
                    </a:lnTo>
                    <a:lnTo>
                      <a:pt x="395" y="729"/>
                    </a:lnTo>
                    <a:lnTo>
                      <a:pt x="385" y="740"/>
                    </a:lnTo>
                    <a:lnTo>
                      <a:pt x="373" y="745"/>
                    </a:lnTo>
                    <a:lnTo>
                      <a:pt x="364" y="759"/>
                    </a:lnTo>
                    <a:lnTo>
                      <a:pt x="359" y="788"/>
                    </a:lnTo>
                    <a:lnTo>
                      <a:pt x="350" y="804"/>
                    </a:lnTo>
                    <a:lnTo>
                      <a:pt x="340" y="811"/>
                    </a:lnTo>
                    <a:lnTo>
                      <a:pt x="328" y="811"/>
                    </a:lnTo>
                    <a:lnTo>
                      <a:pt x="310" y="804"/>
                    </a:lnTo>
                    <a:lnTo>
                      <a:pt x="298" y="795"/>
                    </a:lnTo>
                    <a:lnTo>
                      <a:pt x="295" y="785"/>
                    </a:lnTo>
                    <a:lnTo>
                      <a:pt x="288" y="778"/>
                    </a:lnTo>
                    <a:lnTo>
                      <a:pt x="284" y="776"/>
                    </a:lnTo>
                    <a:lnTo>
                      <a:pt x="281" y="776"/>
                    </a:lnTo>
                    <a:lnTo>
                      <a:pt x="281" y="778"/>
                    </a:lnTo>
                    <a:lnTo>
                      <a:pt x="281" y="781"/>
                    </a:lnTo>
                    <a:lnTo>
                      <a:pt x="281" y="785"/>
                    </a:lnTo>
                    <a:lnTo>
                      <a:pt x="269" y="785"/>
                    </a:lnTo>
                    <a:lnTo>
                      <a:pt x="267" y="790"/>
                    </a:lnTo>
                    <a:lnTo>
                      <a:pt x="269" y="797"/>
                    </a:lnTo>
                    <a:lnTo>
                      <a:pt x="267" y="804"/>
                    </a:lnTo>
                    <a:lnTo>
                      <a:pt x="260" y="807"/>
                    </a:lnTo>
                    <a:lnTo>
                      <a:pt x="258" y="814"/>
                    </a:lnTo>
                    <a:lnTo>
                      <a:pt x="260" y="826"/>
                    </a:lnTo>
                    <a:lnTo>
                      <a:pt x="255" y="835"/>
                    </a:lnTo>
                    <a:lnTo>
                      <a:pt x="248" y="844"/>
                    </a:lnTo>
                    <a:lnTo>
                      <a:pt x="236" y="842"/>
                    </a:lnTo>
                    <a:lnTo>
                      <a:pt x="217" y="830"/>
                    </a:lnTo>
                    <a:lnTo>
                      <a:pt x="201" y="828"/>
                    </a:lnTo>
                    <a:lnTo>
                      <a:pt x="187" y="837"/>
                    </a:lnTo>
                    <a:lnTo>
                      <a:pt x="175" y="849"/>
                    </a:lnTo>
                    <a:lnTo>
                      <a:pt x="168" y="863"/>
                    </a:lnTo>
                    <a:lnTo>
                      <a:pt x="161" y="868"/>
                    </a:lnTo>
                    <a:lnTo>
                      <a:pt x="146" y="859"/>
                    </a:lnTo>
                    <a:lnTo>
                      <a:pt x="118" y="847"/>
                    </a:lnTo>
                    <a:lnTo>
                      <a:pt x="104" y="844"/>
                    </a:lnTo>
                    <a:lnTo>
                      <a:pt x="94" y="849"/>
                    </a:lnTo>
                    <a:lnTo>
                      <a:pt x="87" y="849"/>
                    </a:lnTo>
                    <a:lnTo>
                      <a:pt x="85" y="844"/>
                    </a:lnTo>
                    <a:lnTo>
                      <a:pt x="83" y="844"/>
                    </a:lnTo>
                    <a:lnTo>
                      <a:pt x="80" y="847"/>
                    </a:lnTo>
                    <a:lnTo>
                      <a:pt x="83" y="859"/>
                    </a:lnTo>
                    <a:lnTo>
                      <a:pt x="80" y="866"/>
                    </a:lnTo>
                    <a:lnTo>
                      <a:pt x="76" y="870"/>
                    </a:lnTo>
                    <a:lnTo>
                      <a:pt x="73" y="868"/>
                    </a:lnTo>
                    <a:lnTo>
                      <a:pt x="68" y="861"/>
                    </a:lnTo>
                    <a:lnTo>
                      <a:pt x="64" y="859"/>
                    </a:lnTo>
                    <a:lnTo>
                      <a:pt x="54" y="861"/>
                    </a:lnTo>
                    <a:lnTo>
                      <a:pt x="45" y="861"/>
                    </a:lnTo>
                    <a:lnTo>
                      <a:pt x="35" y="856"/>
                    </a:lnTo>
                    <a:lnTo>
                      <a:pt x="33" y="859"/>
                    </a:lnTo>
                    <a:lnTo>
                      <a:pt x="31" y="861"/>
                    </a:lnTo>
                    <a:lnTo>
                      <a:pt x="33" y="870"/>
                    </a:lnTo>
                    <a:lnTo>
                      <a:pt x="31" y="878"/>
                    </a:lnTo>
                    <a:lnTo>
                      <a:pt x="28" y="882"/>
                    </a:lnTo>
                    <a:lnTo>
                      <a:pt x="21" y="885"/>
                    </a:lnTo>
                    <a:lnTo>
                      <a:pt x="14" y="882"/>
                    </a:lnTo>
                    <a:lnTo>
                      <a:pt x="12" y="885"/>
                    </a:lnTo>
                    <a:lnTo>
                      <a:pt x="0" y="868"/>
                    </a:lnTo>
                    <a:lnTo>
                      <a:pt x="0" y="863"/>
                    </a:lnTo>
                    <a:lnTo>
                      <a:pt x="5" y="863"/>
                    </a:lnTo>
                    <a:lnTo>
                      <a:pt x="7" y="854"/>
                    </a:lnTo>
                    <a:lnTo>
                      <a:pt x="7" y="840"/>
                    </a:lnTo>
                    <a:lnTo>
                      <a:pt x="9" y="828"/>
                    </a:lnTo>
                    <a:lnTo>
                      <a:pt x="14" y="826"/>
                    </a:lnTo>
                    <a:lnTo>
                      <a:pt x="14" y="823"/>
                    </a:lnTo>
                    <a:lnTo>
                      <a:pt x="12" y="821"/>
                    </a:lnTo>
                    <a:lnTo>
                      <a:pt x="12" y="816"/>
                    </a:lnTo>
                    <a:lnTo>
                      <a:pt x="19" y="809"/>
                    </a:lnTo>
                    <a:lnTo>
                      <a:pt x="19" y="802"/>
                    </a:lnTo>
                    <a:lnTo>
                      <a:pt x="14" y="795"/>
                    </a:lnTo>
                    <a:lnTo>
                      <a:pt x="12" y="788"/>
                    </a:lnTo>
                    <a:lnTo>
                      <a:pt x="16" y="781"/>
                    </a:lnTo>
                    <a:lnTo>
                      <a:pt x="21" y="778"/>
                    </a:lnTo>
                    <a:lnTo>
                      <a:pt x="28" y="778"/>
                    </a:lnTo>
                    <a:lnTo>
                      <a:pt x="35" y="769"/>
                    </a:lnTo>
                    <a:lnTo>
                      <a:pt x="42" y="750"/>
                    </a:lnTo>
                    <a:lnTo>
                      <a:pt x="50" y="738"/>
                    </a:lnTo>
                    <a:lnTo>
                      <a:pt x="57" y="733"/>
                    </a:lnTo>
                    <a:lnTo>
                      <a:pt x="64" y="722"/>
                    </a:lnTo>
                    <a:lnTo>
                      <a:pt x="68" y="693"/>
                    </a:lnTo>
                    <a:lnTo>
                      <a:pt x="78" y="679"/>
                    </a:lnTo>
                    <a:lnTo>
                      <a:pt x="78" y="665"/>
                    </a:lnTo>
                    <a:lnTo>
                      <a:pt x="73" y="643"/>
                    </a:lnTo>
                    <a:lnTo>
                      <a:pt x="66" y="625"/>
                    </a:lnTo>
                    <a:lnTo>
                      <a:pt x="54" y="603"/>
                    </a:lnTo>
                    <a:lnTo>
                      <a:pt x="50" y="591"/>
                    </a:lnTo>
                    <a:lnTo>
                      <a:pt x="54" y="584"/>
                    </a:lnTo>
                    <a:lnTo>
                      <a:pt x="57" y="577"/>
                    </a:lnTo>
                    <a:lnTo>
                      <a:pt x="52" y="565"/>
                    </a:lnTo>
                    <a:lnTo>
                      <a:pt x="57" y="554"/>
                    </a:lnTo>
                    <a:lnTo>
                      <a:pt x="64" y="547"/>
                    </a:lnTo>
                    <a:lnTo>
                      <a:pt x="64" y="544"/>
                    </a:lnTo>
                    <a:lnTo>
                      <a:pt x="59" y="485"/>
                    </a:lnTo>
                    <a:lnTo>
                      <a:pt x="54" y="424"/>
                    </a:lnTo>
                    <a:lnTo>
                      <a:pt x="47" y="360"/>
                    </a:lnTo>
                    <a:lnTo>
                      <a:pt x="42" y="298"/>
                    </a:lnTo>
                    <a:lnTo>
                      <a:pt x="35" y="234"/>
                    </a:lnTo>
                    <a:lnTo>
                      <a:pt x="31" y="173"/>
                    </a:lnTo>
                    <a:lnTo>
                      <a:pt x="26" y="109"/>
                    </a:lnTo>
                    <a:lnTo>
                      <a:pt x="19" y="52"/>
                    </a:lnTo>
                    <a:lnTo>
                      <a:pt x="21" y="55"/>
                    </a:lnTo>
                    <a:lnTo>
                      <a:pt x="28" y="59"/>
                    </a:lnTo>
                    <a:lnTo>
                      <a:pt x="33" y="62"/>
                    </a:lnTo>
                    <a:lnTo>
                      <a:pt x="35" y="62"/>
                    </a:lnTo>
                    <a:lnTo>
                      <a:pt x="38" y="67"/>
                    </a:lnTo>
                    <a:lnTo>
                      <a:pt x="47" y="69"/>
                    </a:lnTo>
                    <a:lnTo>
                      <a:pt x="64" y="69"/>
                    </a:lnTo>
                    <a:lnTo>
                      <a:pt x="78" y="64"/>
                    </a:lnTo>
                    <a:lnTo>
                      <a:pt x="92" y="59"/>
                    </a:lnTo>
                    <a:lnTo>
                      <a:pt x="123" y="36"/>
                    </a:lnTo>
                    <a:lnTo>
                      <a:pt x="161" y="33"/>
                    </a:lnTo>
                    <a:lnTo>
                      <a:pt x="208" y="26"/>
                    </a:lnTo>
                    <a:lnTo>
                      <a:pt x="258" y="22"/>
                    </a:lnTo>
                    <a:lnTo>
                      <a:pt x="305" y="17"/>
                    </a:lnTo>
                    <a:lnTo>
                      <a:pt x="352" y="12"/>
                    </a:lnTo>
                    <a:lnTo>
                      <a:pt x="399" y="5"/>
                    </a:lnTo>
                    <a:lnTo>
                      <a:pt x="447" y="0"/>
                    </a:lnTo>
                    <a:lnTo>
                      <a:pt x="447" y="1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20" name="Freeform 58">
                <a:extLst>
                  <a:ext uri="{FF2B5EF4-FFF2-40B4-BE49-F238E27FC236}">
                    <a16:creationId xmlns:a16="http://schemas.microsoft.com/office/drawing/2014/main" id="{88601901-A619-C89F-2AC0-968A5E0C0B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5" y="1078"/>
                <a:ext cx="1245" cy="662"/>
              </a:xfrm>
              <a:custGeom>
                <a:avLst/>
                <a:gdLst>
                  <a:gd name="T0" fmla="*/ 1207 w 1245"/>
                  <a:gd name="T1" fmla="*/ 662 h 662"/>
                  <a:gd name="T2" fmla="*/ 1129 w 1245"/>
                  <a:gd name="T3" fmla="*/ 662 h 662"/>
                  <a:gd name="T4" fmla="*/ 1051 w 1245"/>
                  <a:gd name="T5" fmla="*/ 662 h 662"/>
                  <a:gd name="T6" fmla="*/ 973 w 1245"/>
                  <a:gd name="T7" fmla="*/ 662 h 662"/>
                  <a:gd name="T8" fmla="*/ 895 w 1245"/>
                  <a:gd name="T9" fmla="*/ 662 h 662"/>
                  <a:gd name="T10" fmla="*/ 817 w 1245"/>
                  <a:gd name="T11" fmla="*/ 662 h 662"/>
                  <a:gd name="T12" fmla="*/ 739 w 1245"/>
                  <a:gd name="T13" fmla="*/ 660 h 662"/>
                  <a:gd name="T14" fmla="*/ 661 w 1245"/>
                  <a:gd name="T15" fmla="*/ 658 h 662"/>
                  <a:gd name="T16" fmla="*/ 583 w 1245"/>
                  <a:gd name="T17" fmla="*/ 658 h 662"/>
                  <a:gd name="T18" fmla="*/ 505 w 1245"/>
                  <a:gd name="T19" fmla="*/ 655 h 662"/>
                  <a:gd name="T20" fmla="*/ 427 w 1245"/>
                  <a:gd name="T21" fmla="*/ 650 h 662"/>
                  <a:gd name="T22" fmla="*/ 349 w 1245"/>
                  <a:gd name="T23" fmla="*/ 648 h 662"/>
                  <a:gd name="T24" fmla="*/ 271 w 1245"/>
                  <a:gd name="T25" fmla="*/ 643 h 662"/>
                  <a:gd name="T26" fmla="*/ 196 w 1245"/>
                  <a:gd name="T27" fmla="*/ 641 h 662"/>
                  <a:gd name="T28" fmla="*/ 118 w 1245"/>
                  <a:gd name="T29" fmla="*/ 636 h 662"/>
                  <a:gd name="T30" fmla="*/ 40 w 1245"/>
                  <a:gd name="T31" fmla="*/ 632 h 662"/>
                  <a:gd name="T32" fmla="*/ 2 w 1245"/>
                  <a:gd name="T33" fmla="*/ 589 h 662"/>
                  <a:gd name="T34" fmla="*/ 7 w 1245"/>
                  <a:gd name="T35" fmla="*/ 511 h 662"/>
                  <a:gd name="T36" fmla="*/ 14 w 1245"/>
                  <a:gd name="T37" fmla="*/ 433 h 662"/>
                  <a:gd name="T38" fmla="*/ 18 w 1245"/>
                  <a:gd name="T39" fmla="*/ 353 h 662"/>
                  <a:gd name="T40" fmla="*/ 23 w 1245"/>
                  <a:gd name="T41" fmla="*/ 275 h 662"/>
                  <a:gd name="T42" fmla="*/ 28 w 1245"/>
                  <a:gd name="T43" fmla="*/ 196 h 662"/>
                  <a:gd name="T44" fmla="*/ 33 w 1245"/>
                  <a:gd name="T45" fmla="*/ 118 h 662"/>
                  <a:gd name="T46" fmla="*/ 37 w 1245"/>
                  <a:gd name="T47" fmla="*/ 38 h 662"/>
                  <a:gd name="T48" fmla="*/ 73 w 1245"/>
                  <a:gd name="T49" fmla="*/ 3 h 662"/>
                  <a:gd name="T50" fmla="*/ 141 w 1245"/>
                  <a:gd name="T51" fmla="*/ 5 h 662"/>
                  <a:gd name="T52" fmla="*/ 210 w 1245"/>
                  <a:gd name="T53" fmla="*/ 10 h 662"/>
                  <a:gd name="T54" fmla="*/ 276 w 1245"/>
                  <a:gd name="T55" fmla="*/ 14 h 662"/>
                  <a:gd name="T56" fmla="*/ 345 w 1245"/>
                  <a:gd name="T57" fmla="*/ 17 h 662"/>
                  <a:gd name="T58" fmla="*/ 413 w 1245"/>
                  <a:gd name="T59" fmla="*/ 19 h 662"/>
                  <a:gd name="T60" fmla="*/ 479 w 1245"/>
                  <a:gd name="T61" fmla="*/ 22 h 662"/>
                  <a:gd name="T62" fmla="*/ 548 w 1245"/>
                  <a:gd name="T63" fmla="*/ 24 h 662"/>
                  <a:gd name="T64" fmla="*/ 617 w 1245"/>
                  <a:gd name="T65" fmla="*/ 26 h 662"/>
                  <a:gd name="T66" fmla="*/ 683 w 1245"/>
                  <a:gd name="T67" fmla="*/ 29 h 662"/>
                  <a:gd name="T68" fmla="*/ 751 w 1245"/>
                  <a:gd name="T69" fmla="*/ 29 h 662"/>
                  <a:gd name="T70" fmla="*/ 820 w 1245"/>
                  <a:gd name="T71" fmla="*/ 31 h 662"/>
                  <a:gd name="T72" fmla="*/ 886 w 1245"/>
                  <a:gd name="T73" fmla="*/ 31 h 662"/>
                  <a:gd name="T74" fmla="*/ 955 w 1245"/>
                  <a:gd name="T75" fmla="*/ 31 h 662"/>
                  <a:gd name="T76" fmla="*/ 1023 w 1245"/>
                  <a:gd name="T77" fmla="*/ 31 h 662"/>
                  <a:gd name="T78" fmla="*/ 1089 w 1245"/>
                  <a:gd name="T79" fmla="*/ 31 h 662"/>
                  <a:gd name="T80" fmla="*/ 1155 w 1245"/>
                  <a:gd name="T81" fmla="*/ 59 h 662"/>
                  <a:gd name="T82" fmla="*/ 1177 w 1245"/>
                  <a:gd name="T83" fmla="*/ 55 h 662"/>
                  <a:gd name="T84" fmla="*/ 1193 w 1245"/>
                  <a:gd name="T85" fmla="*/ 76 h 662"/>
                  <a:gd name="T86" fmla="*/ 1184 w 1245"/>
                  <a:gd name="T87" fmla="*/ 85 h 662"/>
                  <a:gd name="T88" fmla="*/ 1163 w 1245"/>
                  <a:gd name="T89" fmla="*/ 116 h 662"/>
                  <a:gd name="T90" fmla="*/ 1184 w 1245"/>
                  <a:gd name="T91" fmla="*/ 152 h 662"/>
                  <a:gd name="T92" fmla="*/ 1200 w 1245"/>
                  <a:gd name="T93" fmla="*/ 187 h 662"/>
                  <a:gd name="T94" fmla="*/ 1238 w 1245"/>
                  <a:gd name="T95" fmla="*/ 215 h 662"/>
                  <a:gd name="T96" fmla="*/ 1238 w 1245"/>
                  <a:gd name="T97" fmla="*/ 251 h 662"/>
                  <a:gd name="T98" fmla="*/ 1241 w 1245"/>
                  <a:gd name="T99" fmla="*/ 305 h 662"/>
                  <a:gd name="T100" fmla="*/ 1241 w 1245"/>
                  <a:gd name="T101" fmla="*/ 360 h 662"/>
                  <a:gd name="T102" fmla="*/ 1243 w 1245"/>
                  <a:gd name="T103" fmla="*/ 414 h 662"/>
                  <a:gd name="T104" fmla="*/ 1243 w 1245"/>
                  <a:gd name="T105" fmla="*/ 468 h 662"/>
                  <a:gd name="T106" fmla="*/ 1243 w 1245"/>
                  <a:gd name="T107" fmla="*/ 523 h 662"/>
                  <a:gd name="T108" fmla="*/ 1245 w 1245"/>
                  <a:gd name="T109" fmla="*/ 580 h 662"/>
                  <a:gd name="T110" fmla="*/ 1245 w 1245"/>
                  <a:gd name="T111" fmla="*/ 634 h 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45" h="662">
                    <a:moveTo>
                      <a:pt x="1245" y="660"/>
                    </a:moveTo>
                    <a:lnTo>
                      <a:pt x="1207" y="662"/>
                    </a:lnTo>
                    <a:lnTo>
                      <a:pt x="1167" y="662"/>
                    </a:lnTo>
                    <a:lnTo>
                      <a:pt x="1129" y="662"/>
                    </a:lnTo>
                    <a:lnTo>
                      <a:pt x="1089" y="662"/>
                    </a:lnTo>
                    <a:lnTo>
                      <a:pt x="1051" y="662"/>
                    </a:lnTo>
                    <a:lnTo>
                      <a:pt x="1011" y="662"/>
                    </a:lnTo>
                    <a:lnTo>
                      <a:pt x="973" y="662"/>
                    </a:lnTo>
                    <a:lnTo>
                      <a:pt x="936" y="662"/>
                    </a:lnTo>
                    <a:lnTo>
                      <a:pt x="895" y="662"/>
                    </a:lnTo>
                    <a:lnTo>
                      <a:pt x="858" y="662"/>
                    </a:lnTo>
                    <a:lnTo>
                      <a:pt x="817" y="662"/>
                    </a:lnTo>
                    <a:lnTo>
                      <a:pt x="780" y="660"/>
                    </a:lnTo>
                    <a:lnTo>
                      <a:pt x="739" y="660"/>
                    </a:lnTo>
                    <a:lnTo>
                      <a:pt x="702" y="660"/>
                    </a:lnTo>
                    <a:lnTo>
                      <a:pt x="661" y="658"/>
                    </a:lnTo>
                    <a:lnTo>
                      <a:pt x="624" y="658"/>
                    </a:lnTo>
                    <a:lnTo>
                      <a:pt x="583" y="658"/>
                    </a:lnTo>
                    <a:lnTo>
                      <a:pt x="546" y="655"/>
                    </a:lnTo>
                    <a:lnTo>
                      <a:pt x="505" y="655"/>
                    </a:lnTo>
                    <a:lnTo>
                      <a:pt x="468" y="653"/>
                    </a:lnTo>
                    <a:lnTo>
                      <a:pt x="427" y="650"/>
                    </a:lnTo>
                    <a:lnTo>
                      <a:pt x="390" y="650"/>
                    </a:lnTo>
                    <a:lnTo>
                      <a:pt x="349" y="648"/>
                    </a:lnTo>
                    <a:lnTo>
                      <a:pt x="312" y="646"/>
                    </a:lnTo>
                    <a:lnTo>
                      <a:pt x="271" y="643"/>
                    </a:lnTo>
                    <a:lnTo>
                      <a:pt x="234" y="643"/>
                    </a:lnTo>
                    <a:lnTo>
                      <a:pt x="196" y="641"/>
                    </a:lnTo>
                    <a:lnTo>
                      <a:pt x="156" y="639"/>
                    </a:lnTo>
                    <a:lnTo>
                      <a:pt x="118" y="636"/>
                    </a:lnTo>
                    <a:lnTo>
                      <a:pt x="78" y="634"/>
                    </a:lnTo>
                    <a:lnTo>
                      <a:pt x="40" y="632"/>
                    </a:lnTo>
                    <a:lnTo>
                      <a:pt x="0" y="629"/>
                    </a:lnTo>
                    <a:lnTo>
                      <a:pt x="2" y="589"/>
                    </a:lnTo>
                    <a:lnTo>
                      <a:pt x="4" y="551"/>
                    </a:lnTo>
                    <a:lnTo>
                      <a:pt x="7" y="511"/>
                    </a:lnTo>
                    <a:lnTo>
                      <a:pt x="11" y="471"/>
                    </a:lnTo>
                    <a:lnTo>
                      <a:pt x="14" y="433"/>
                    </a:lnTo>
                    <a:lnTo>
                      <a:pt x="16" y="393"/>
                    </a:lnTo>
                    <a:lnTo>
                      <a:pt x="18" y="353"/>
                    </a:lnTo>
                    <a:lnTo>
                      <a:pt x="21" y="315"/>
                    </a:lnTo>
                    <a:lnTo>
                      <a:pt x="23" y="275"/>
                    </a:lnTo>
                    <a:lnTo>
                      <a:pt x="26" y="237"/>
                    </a:lnTo>
                    <a:lnTo>
                      <a:pt x="28" y="196"/>
                    </a:lnTo>
                    <a:lnTo>
                      <a:pt x="30" y="156"/>
                    </a:lnTo>
                    <a:lnTo>
                      <a:pt x="33" y="118"/>
                    </a:lnTo>
                    <a:lnTo>
                      <a:pt x="35" y="78"/>
                    </a:lnTo>
                    <a:lnTo>
                      <a:pt x="37" y="38"/>
                    </a:lnTo>
                    <a:lnTo>
                      <a:pt x="40" y="0"/>
                    </a:lnTo>
                    <a:lnTo>
                      <a:pt x="73" y="3"/>
                    </a:lnTo>
                    <a:lnTo>
                      <a:pt x="108" y="5"/>
                    </a:lnTo>
                    <a:lnTo>
                      <a:pt x="141" y="5"/>
                    </a:lnTo>
                    <a:lnTo>
                      <a:pt x="174" y="7"/>
                    </a:lnTo>
                    <a:lnTo>
                      <a:pt x="210" y="10"/>
                    </a:lnTo>
                    <a:lnTo>
                      <a:pt x="243" y="12"/>
                    </a:lnTo>
                    <a:lnTo>
                      <a:pt x="276" y="14"/>
                    </a:lnTo>
                    <a:lnTo>
                      <a:pt x="312" y="14"/>
                    </a:lnTo>
                    <a:lnTo>
                      <a:pt x="345" y="17"/>
                    </a:lnTo>
                    <a:lnTo>
                      <a:pt x="378" y="19"/>
                    </a:lnTo>
                    <a:lnTo>
                      <a:pt x="413" y="19"/>
                    </a:lnTo>
                    <a:lnTo>
                      <a:pt x="446" y="22"/>
                    </a:lnTo>
                    <a:lnTo>
                      <a:pt x="479" y="22"/>
                    </a:lnTo>
                    <a:lnTo>
                      <a:pt x="515" y="24"/>
                    </a:lnTo>
                    <a:lnTo>
                      <a:pt x="548" y="24"/>
                    </a:lnTo>
                    <a:lnTo>
                      <a:pt x="581" y="26"/>
                    </a:lnTo>
                    <a:lnTo>
                      <a:pt x="617" y="26"/>
                    </a:lnTo>
                    <a:lnTo>
                      <a:pt x="650" y="26"/>
                    </a:lnTo>
                    <a:lnTo>
                      <a:pt x="683" y="29"/>
                    </a:lnTo>
                    <a:lnTo>
                      <a:pt x="718" y="29"/>
                    </a:lnTo>
                    <a:lnTo>
                      <a:pt x="751" y="29"/>
                    </a:lnTo>
                    <a:lnTo>
                      <a:pt x="784" y="31"/>
                    </a:lnTo>
                    <a:lnTo>
                      <a:pt x="820" y="31"/>
                    </a:lnTo>
                    <a:lnTo>
                      <a:pt x="853" y="31"/>
                    </a:lnTo>
                    <a:lnTo>
                      <a:pt x="886" y="31"/>
                    </a:lnTo>
                    <a:lnTo>
                      <a:pt x="921" y="31"/>
                    </a:lnTo>
                    <a:lnTo>
                      <a:pt x="955" y="31"/>
                    </a:lnTo>
                    <a:lnTo>
                      <a:pt x="988" y="31"/>
                    </a:lnTo>
                    <a:lnTo>
                      <a:pt x="1023" y="31"/>
                    </a:lnTo>
                    <a:lnTo>
                      <a:pt x="1056" y="31"/>
                    </a:lnTo>
                    <a:lnTo>
                      <a:pt x="1089" y="31"/>
                    </a:lnTo>
                    <a:lnTo>
                      <a:pt x="1118" y="31"/>
                    </a:lnTo>
                    <a:lnTo>
                      <a:pt x="1155" y="59"/>
                    </a:lnTo>
                    <a:lnTo>
                      <a:pt x="1167" y="59"/>
                    </a:lnTo>
                    <a:lnTo>
                      <a:pt x="1177" y="55"/>
                    </a:lnTo>
                    <a:lnTo>
                      <a:pt x="1186" y="59"/>
                    </a:lnTo>
                    <a:lnTo>
                      <a:pt x="1193" y="76"/>
                    </a:lnTo>
                    <a:lnTo>
                      <a:pt x="1191" y="85"/>
                    </a:lnTo>
                    <a:lnTo>
                      <a:pt x="1184" y="85"/>
                    </a:lnTo>
                    <a:lnTo>
                      <a:pt x="1174" y="95"/>
                    </a:lnTo>
                    <a:lnTo>
                      <a:pt x="1163" y="116"/>
                    </a:lnTo>
                    <a:lnTo>
                      <a:pt x="1167" y="135"/>
                    </a:lnTo>
                    <a:lnTo>
                      <a:pt x="1184" y="152"/>
                    </a:lnTo>
                    <a:lnTo>
                      <a:pt x="1196" y="168"/>
                    </a:lnTo>
                    <a:lnTo>
                      <a:pt x="1200" y="187"/>
                    </a:lnTo>
                    <a:lnTo>
                      <a:pt x="1212" y="201"/>
                    </a:lnTo>
                    <a:lnTo>
                      <a:pt x="1238" y="215"/>
                    </a:lnTo>
                    <a:lnTo>
                      <a:pt x="1238" y="222"/>
                    </a:lnTo>
                    <a:lnTo>
                      <a:pt x="1238" y="251"/>
                    </a:lnTo>
                    <a:lnTo>
                      <a:pt x="1241" y="277"/>
                    </a:lnTo>
                    <a:lnTo>
                      <a:pt x="1241" y="305"/>
                    </a:lnTo>
                    <a:lnTo>
                      <a:pt x="1241" y="331"/>
                    </a:lnTo>
                    <a:lnTo>
                      <a:pt x="1241" y="360"/>
                    </a:lnTo>
                    <a:lnTo>
                      <a:pt x="1241" y="386"/>
                    </a:lnTo>
                    <a:lnTo>
                      <a:pt x="1243" y="414"/>
                    </a:lnTo>
                    <a:lnTo>
                      <a:pt x="1243" y="442"/>
                    </a:lnTo>
                    <a:lnTo>
                      <a:pt x="1243" y="468"/>
                    </a:lnTo>
                    <a:lnTo>
                      <a:pt x="1243" y="497"/>
                    </a:lnTo>
                    <a:lnTo>
                      <a:pt x="1243" y="523"/>
                    </a:lnTo>
                    <a:lnTo>
                      <a:pt x="1245" y="551"/>
                    </a:lnTo>
                    <a:lnTo>
                      <a:pt x="1245" y="580"/>
                    </a:lnTo>
                    <a:lnTo>
                      <a:pt x="1245" y="606"/>
                    </a:lnTo>
                    <a:lnTo>
                      <a:pt x="1245" y="634"/>
                    </a:lnTo>
                    <a:lnTo>
                      <a:pt x="1245" y="66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21" name="Freeform 59">
                <a:extLst>
                  <a:ext uri="{FF2B5EF4-FFF2-40B4-BE49-F238E27FC236}">
                    <a16:creationId xmlns:a16="http://schemas.microsoft.com/office/drawing/2014/main" id="{DB525098-55DD-C5A0-BA31-25B6825E1E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1" y="1178"/>
                <a:ext cx="1245" cy="628"/>
              </a:xfrm>
              <a:custGeom>
                <a:avLst/>
                <a:gdLst>
                  <a:gd name="T0" fmla="*/ 1123 w 1245"/>
                  <a:gd name="T1" fmla="*/ 137 h 628"/>
                  <a:gd name="T2" fmla="*/ 1146 w 1245"/>
                  <a:gd name="T3" fmla="*/ 189 h 628"/>
                  <a:gd name="T4" fmla="*/ 1189 w 1245"/>
                  <a:gd name="T5" fmla="*/ 245 h 628"/>
                  <a:gd name="T6" fmla="*/ 1165 w 1245"/>
                  <a:gd name="T7" fmla="*/ 349 h 628"/>
                  <a:gd name="T8" fmla="*/ 1120 w 1245"/>
                  <a:gd name="T9" fmla="*/ 406 h 628"/>
                  <a:gd name="T10" fmla="*/ 1030 w 1245"/>
                  <a:gd name="T11" fmla="*/ 482 h 628"/>
                  <a:gd name="T12" fmla="*/ 988 w 1245"/>
                  <a:gd name="T13" fmla="*/ 506 h 628"/>
                  <a:gd name="T14" fmla="*/ 983 w 1245"/>
                  <a:gd name="T15" fmla="*/ 508 h 628"/>
                  <a:gd name="T16" fmla="*/ 865 w 1245"/>
                  <a:gd name="T17" fmla="*/ 520 h 628"/>
                  <a:gd name="T18" fmla="*/ 628 w 1245"/>
                  <a:gd name="T19" fmla="*/ 541 h 628"/>
                  <a:gd name="T20" fmla="*/ 399 w 1245"/>
                  <a:gd name="T21" fmla="*/ 562 h 628"/>
                  <a:gd name="T22" fmla="*/ 267 w 1245"/>
                  <a:gd name="T23" fmla="*/ 569 h 628"/>
                  <a:gd name="T24" fmla="*/ 255 w 1245"/>
                  <a:gd name="T25" fmla="*/ 607 h 628"/>
                  <a:gd name="T26" fmla="*/ 170 w 1245"/>
                  <a:gd name="T27" fmla="*/ 617 h 628"/>
                  <a:gd name="T28" fmla="*/ 52 w 1245"/>
                  <a:gd name="T29" fmla="*/ 624 h 628"/>
                  <a:gd name="T30" fmla="*/ 38 w 1245"/>
                  <a:gd name="T31" fmla="*/ 602 h 628"/>
                  <a:gd name="T32" fmla="*/ 66 w 1245"/>
                  <a:gd name="T33" fmla="*/ 579 h 628"/>
                  <a:gd name="T34" fmla="*/ 59 w 1245"/>
                  <a:gd name="T35" fmla="*/ 510 h 628"/>
                  <a:gd name="T36" fmla="*/ 149 w 1245"/>
                  <a:gd name="T37" fmla="*/ 489 h 628"/>
                  <a:gd name="T38" fmla="*/ 168 w 1245"/>
                  <a:gd name="T39" fmla="*/ 456 h 628"/>
                  <a:gd name="T40" fmla="*/ 215 w 1245"/>
                  <a:gd name="T41" fmla="*/ 409 h 628"/>
                  <a:gd name="T42" fmla="*/ 229 w 1245"/>
                  <a:gd name="T43" fmla="*/ 342 h 628"/>
                  <a:gd name="T44" fmla="*/ 250 w 1245"/>
                  <a:gd name="T45" fmla="*/ 335 h 628"/>
                  <a:gd name="T46" fmla="*/ 255 w 1245"/>
                  <a:gd name="T47" fmla="*/ 309 h 628"/>
                  <a:gd name="T48" fmla="*/ 286 w 1245"/>
                  <a:gd name="T49" fmla="*/ 309 h 628"/>
                  <a:gd name="T50" fmla="*/ 302 w 1245"/>
                  <a:gd name="T51" fmla="*/ 319 h 628"/>
                  <a:gd name="T52" fmla="*/ 307 w 1245"/>
                  <a:gd name="T53" fmla="*/ 297 h 628"/>
                  <a:gd name="T54" fmla="*/ 342 w 1245"/>
                  <a:gd name="T55" fmla="*/ 300 h 628"/>
                  <a:gd name="T56" fmla="*/ 397 w 1245"/>
                  <a:gd name="T57" fmla="*/ 302 h 628"/>
                  <a:gd name="T58" fmla="*/ 458 w 1245"/>
                  <a:gd name="T59" fmla="*/ 295 h 628"/>
                  <a:gd name="T60" fmla="*/ 480 w 1245"/>
                  <a:gd name="T61" fmla="*/ 267 h 628"/>
                  <a:gd name="T62" fmla="*/ 489 w 1245"/>
                  <a:gd name="T63" fmla="*/ 243 h 628"/>
                  <a:gd name="T64" fmla="*/ 503 w 1245"/>
                  <a:gd name="T65" fmla="*/ 231 h 628"/>
                  <a:gd name="T66" fmla="*/ 517 w 1245"/>
                  <a:gd name="T67" fmla="*/ 238 h 628"/>
                  <a:gd name="T68" fmla="*/ 565 w 1245"/>
                  <a:gd name="T69" fmla="*/ 264 h 628"/>
                  <a:gd name="T70" fmla="*/ 595 w 1245"/>
                  <a:gd name="T71" fmla="*/ 198 h 628"/>
                  <a:gd name="T72" fmla="*/ 631 w 1245"/>
                  <a:gd name="T73" fmla="*/ 151 h 628"/>
                  <a:gd name="T74" fmla="*/ 647 w 1245"/>
                  <a:gd name="T75" fmla="*/ 96 h 628"/>
                  <a:gd name="T76" fmla="*/ 683 w 1245"/>
                  <a:gd name="T77" fmla="*/ 101 h 628"/>
                  <a:gd name="T78" fmla="*/ 699 w 1245"/>
                  <a:gd name="T79" fmla="*/ 94 h 628"/>
                  <a:gd name="T80" fmla="*/ 740 w 1245"/>
                  <a:gd name="T81" fmla="*/ 49 h 628"/>
                  <a:gd name="T82" fmla="*/ 732 w 1245"/>
                  <a:gd name="T83" fmla="*/ 30 h 628"/>
                  <a:gd name="T84" fmla="*/ 742 w 1245"/>
                  <a:gd name="T85" fmla="*/ 2 h 628"/>
                  <a:gd name="T86" fmla="*/ 784 w 1245"/>
                  <a:gd name="T87" fmla="*/ 2 h 628"/>
                  <a:gd name="T88" fmla="*/ 836 w 1245"/>
                  <a:gd name="T89" fmla="*/ 44 h 628"/>
                  <a:gd name="T90" fmla="*/ 919 w 1245"/>
                  <a:gd name="T91" fmla="*/ 75 h 628"/>
                  <a:gd name="T92" fmla="*/ 966 w 1245"/>
                  <a:gd name="T93" fmla="*/ 68 h 628"/>
                  <a:gd name="T94" fmla="*/ 1059 w 1245"/>
                  <a:gd name="T95" fmla="*/ 47 h 628"/>
                  <a:gd name="T96" fmla="*/ 1111 w 1245"/>
                  <a:gd name="T97" fmla="*/ 96 h 628"/>
                  <a:gd name="T98" fmla="*/ 0 w 1245"/>
                  <a:gd name="T99" fmla="*/ 621 h 628"/>
                  <a:gd name="T100" fmla="*/ 9 w 1245"/>
                  <a:gd name="T101" fmla="*/ 621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245" h="628">
                    <a:moveTo>
                      <a:pt x="1111" y="96"/>
                    </a:moveTo>
                    <a:lnTo>
                      <a:pt x="1115" y="101"/>
                    </a:lnTo>
                    <a:lnTo>
                      <a:pt x="1123" y="132"/>
                    </a:lnTo>
                    <a:lnTo>
                      <a:pt x="1123" y="137"/>
                    </a:lnTo>
                    <a:lnTo>
                      <a:pt x="1118" y="151"/>
                    </a:lnTo>
                    <a:lnTo>
                      <a:pt x="1120" y="158"/>
                    </a:lnTo>
                    <a:lnTo>
                      <a:pt x="1127" y="167"/>
                    </a:lnTo>
                    <a:lnTo>
                      <a:pt x="1146" y="189"/>
                    </a:lnTo>
                    <a:lnTo>
                      <a:pt x="1151" y="198"/>
                    </a:lnTo>
                    <a:lnTo>
                      <a:pt x="1158" y="205"/>
                    </a:lnTo>
                    <a:lnTo>
                      <a:pt x="1167" y="219"/>
                    </a:lnTo>
                    <a:lnTo>
                      <a:pt x="1189" y="245"/>
                    </a:lnTo>
                    <a:lnTo>
                      <a:pt x="1222" y="264"/>
                    </a:lnTo>
                    <a:lnTo>
                      <a:pt x="1245" y="269"/>
                    </a:lnTo>
                    <a:lnTo>
                      <a:pt x="1191" y="328"/>
                    </a:lnTo>
                    <a:lnTo>
                      <a:pt x="1165" y="349"/>
                    </a:lnTo>
                    <a:lnTo>
                      <a:pt x="1141" y="368"/>
                    </a:lnTo>
                    <a:lnTo>
                      <a:pt x="1139" y="373"/>
                    </a:lnTo>
                    <a:lnTo>
                      <a:pt x="1134" y="390"/>
                    </a:lnTo>
                    <a:lnTo>
                      <a:pt x="1120" y="406"/>
                    </a:lnTo>
                    <a:lnTo>
                      <a:pt x="1113" y="423"/>
                    </a:lnTo>
                    <a:lnTo>
                      <a:pt x="1089" y="439"/>
                    </a:lnTo>
                    <a:lnTo>
                      <a:pt x="1073" y="458"/>
                    </a:lnTo>
                    <a:lnTo>
                      <a:pt x="1030" y="482"/>
                    </a:lnTo>
                    <a:lnTo>
                      <a:pt x="1007" y="491"/>
                    </a:lnTo>
                    <a:lnTo>
                      <a:pt x="990" y="503"/>
                    </a:lnTo>
                    <a:lnTo>
                      <a:pt x="990" y="506"/>
                    </a:lnTo>
                    <a:lnTo>
                      <a:pt x="988" y="506"/>
                    </a:lnTo>
                    <a:lnTo>
                      <a:pt x="988" y="506"/>
                    </a:lnTo>
                    <a:lnTo>
                      <a:pt x="985" y="506"/>
                    </a:lnTo>
                    <a:lnTo>
                      <a:pt x="985" y="508"/>
                    </a:lnTo>
                    <a:lnTo>
                      <a:pt x="983" y="508"/>
                    </a:lnTo>
                    <a:lnTo>
                      <a:pt x="983" y="508"/>
                    </a:lnTo>
                    <a:lnTo>
                      <a:pt x="981" y="508"/>
                    </a:lnTo>
                    <a:lnTo>
                      <a:pt x="924" y="515"/>
                    </a:lnTo>
                    <a:lnTo>
                      <a:pt x="865" y="520"/>
                    </a:lnTo>
                    <a:lnTo>
                      <a:pt x="806" y="527"/>
                    </a:lnTo>
                    <a:lnTo>
                      <a:pt x="747" y="532"/>
                    </a:lnTo>
                    <a:lnTo>
                      <a:pt x="688" y="536"/>
                    </a:lnTo>
                    <a:lnTo>
                      <a:pt x="628" y="541"/>
                    </a:lnTo>
                    <a:lnTo>
                      <a:pt x="572" y="546"/>
                    </a:lnTo>
                    <a:lnTo>
                      <a:pt x="513" y="548"/>
                    </a:lnTo>
                    <a:lnTo>
                      <a:pt x="456" y="555"/>
                    </a:lnTo>
                    <a:lnTo>
                      <a:pt x="399" y="562"/>
                    </a:lnTo>
                    <a:lnTo>
                      <a:pt x="345" y="569"/>
                    </a:lnTo>
                    <a:lnTo>
                      <a:pt x="288" y="574"/>
                    </a:lnTo>
                    <a:lnTo>
                      <a:pt x="283" y="569"/>
                    </a:lnTo>
                    <a:lnTo>
                      <a:pt x="267" y="569"/>
                    </a:lnTo>
                    <a:lnTo>
                      <a:pt x="246" y="569"/>
                    </a:lnTo>
                    <a:lnTo>
                      <a:pt x="243" y="569"/>
                    </a:lnTo>
                    <a:lnTo>
                      <a:pt x="253" y="591"/>
                    </a:lnTo>
                    <a:lnTo>
                      <a:pt x="255" y="607"/>
                    </a:lnTo>
                    <a:lnTo>
                      <a:pt x="253" y="610"/>
                    </a:lnTo>
                    <a:lnTo>
                      <a:pt x="227" y="612"/>
                    </a:lnTo>
                    <a:lnTo>
                      <a:pt x="198" y="614"/>
                    </a:lnTo>
                    <a:lnTo>
                      <a:pt x="170" y="617"/>
                    </a:lnTo>
                    <a:lnTo>
                      <a:pt x="139" y="619"/>
                    </a:lnTo>
                    <a:lnTo>
                      <a:pt x="111" y="621"/>
                    </a:lnTo>
                    <a:lnTo>
                      <a:pt x="80" y="624"/>
                    </a:lnTo>
                    <a:lnTo>
                      <a:pt x="52" y="624"/>
                    </a:lnTo>
                    <a:lnTo>
                      <a:pt x="19" y="628"/>
                    </a:lnTo>
                    <a:lnTo>
                      <a:pt x="26" y="607"/>
                    </a:lnTo>
                    <a:lnTo>
                      <a:pt x="33" y="602"/>
                    </a:lnTo>
                    <a:lnTo>
                      <a:pt x="38" y="602"/>
                    </a:lnTo>
                    <a:lnTo>
                      <a:pt x="45" y="605"/>
                    </a:lnTo>
                    <a:lnTo>
                      <a:pt x="49" y="605"/>
                    </a:lnTo>
                    <a:lnTo>
                      <a:pt x="59" y="598"/>
                    </a:lnTo>
                    <a:lnTo>
                      <a:pt x="66" y="579"/>
                    </a:lnTo>
                    <a:lnTo>
                      <a:pt x="68" y="558"/>
                    </a:lnTo>
                    <a:lnTo>
                      <a:pt x="68" y="536"/>
                    </a:lnTo>
                    <a:lnTo>
                      <a:pt x="61" y="520"/>
                    </a:lnTo>
                    <a:lnTo>
                      <a:pt x="59" y="510"/>
                    </a:lnTo>
                    <a:lnTo>
                      <a:pt x="64" y="496"/>
                    </a:lnTo>
                    <a:lnTo>
                      <a:pt x="75" y="480"/>
                    </a:lnTo>
                    <a:lnTo>
                      <a:pt x="106" y="477"/>
                    </a:lnTo>
                    <a:lnTo>
                      <a:pt x="149" y="489"/>
                    </a:lnTo>
                    <a:lnTo>
                      <a:pt x="175" y="491"/>
                    </a:lnTo>
                    <a:lnTo>
                      <a:pt x="177" y="484"/>
                    </a:lnTo>
                    <a:lnTo>
                      <a:pt x="175" y="472"/>
                    </a:lnTo>
                    <a:lnTo>
                      <a:pt x="168" y="456"/>
                    </a:lnTo>
                    <a:lnTo>
                      <a:pt x="163" y="442"/>
                    </a:lnTo>
                    <a:lnTo>
                      <a:pt x="165" y="435"/>
                    </a:lnTo>
                    <a:lnTo>
                      <a:pt x="182" y="423"/>
                    </a:lnTo>
                    <a:lnTo>
                      <a:pt x="215" y="409"/>
                    </a:lnTo>
                    <a:lnTo>
                      <a:pt x="227" y="392"/>
                    </a:lnTo>
                    <a:lnTo>
                      <a:pt x="220" y="375"/>
                    </a:lnTo>
                    <a:lnTo>
                      <a:pt x="220" y="359"/>
                    </a:lnTo>
                    <a:lnTo>
                      <a:pt x="229" y="342"/>
                    </a:lnTo>
                    <a:lnTo>
                      <a:pt x="234" y="338"/>
                    </a:lnTo>
                    <a:lnTo>
                      <a:pt x="236" y="335"/>
                    </a:lnTo>
                    <a:lnTo>
                      <a:pt x="243" y="338"/>
                    </a:lnTo>
                    <a:lnTo>
                      <a:pt x="250" y="335"/>
                    </a:lnTo>
                    <a:lnTo>
                      <a:pt x="253" y="331"/>
                    </a:lnTo>
                    <a:lnTo>
                      <a:pt x="255" y="323"/>
                    </a:lnTo>
                    <a:lnTo>
                      <a:pt x="253" y="312"/>
                    </a:lnTo>
                    <a:lnTo>
                      <a:pt x="255" y="309"/>
                    </a:lnTo>
                    <a:lnTo>
                      <a:pt x="257" y="309"/>
                    </a:lnTo>
                    <a:lnTo>
                      <a:pt x="267" y="314"/>
                    </a:lnTo>
                    <a:lnTo>
                      <a:pt x="276" y="314"/>
                    </a:lnTo>
                    <a:lnTo>
                      <a:pt x="286" y="309"/>
                    </a:lnTo>
                    <a:lnTo>
                      <a:pt x="290" y="312"/>
                    </a:lnTo>
                    <a:lnTo>
                      <a:pt x="295" y="321"/>
                    </a:lnTo>
                    <a:lnTo>
                      <a:pt x="298" y="323"/>
                    </a:lnTo>
                    <a:lnTo>
                      <a:pt x="302" y="319"/>
                    </a:lnTo>
                    <a:lnTo>
                      <a:pt x="305" y="312"/>
                    </a:lnTo>
                    <a:lnTo>
                      <a:pt x="302" y="300"/>
                    </a:lnTo>
                    <a:lnTo>
                      <a:pt x="305" y="297"/>
                    </a:lnTo>
                    <a:lnTo>
                      <a:pt x="307" y="297"/>
                    </a:lnTo>
                    <a:lnTo>
                      <a:pt x="309" y="302"/>
                    </a:lnTo>
                    <a:lnTo>
                      <a:pt x="316" y="302"/>
                    </a:lnTo>
                    <a:lnTo>
                      <a:pt x="326" y="297"/>
                    </a:lnTo>
                    <a:lnTo>
                      <a:pt x="342" y="300"/>
                    </a:lnTo>
                    <a:lnTo>
                      <a:pt x="371" y="312"/>
                    </a:lnTo>
                    <a:lnTo>
                      <a:pt x="383" y="321"/>
                    </a:lnTo>
                    <a:lnTo>
                      <a:pt x="390" y="316"/>
                    </a:lnTo>
                    <a:lnTo>
                      <a:pt x="397" y="302"/>
                    </a:lnTo>
                    <a:lnTo>
                      <a:pt x="409" y="290"/>
                    </a:lnTo>
                    <a:lnTo>
                      <a:pt x="423" y="281"/>
                    </a:lnTo>
                    <a:lnTo>
                      <a:pt x="439" y="283"/>
                    </a:lnTo>
                    <a:lnTo>
                      <a:pt x="458" y="295"/>
                    </a:lnTo>
                    <a:lnTo>
                      <a:pt x="470" y="297"/>
                    </a:lnTo>
                    <a:lnTo>
                      <a:pt x="477" y="288"/>
                    </a:lnTo>
                    <a:lnTo>
                      <a:pt x="482" y="279"/>
                    </a:lnTo>
                    <a:lnTo>
                      <a:pt x="480" y="267"/>
                    </a:lnTo>
                    <a:lnTo>
                      <a:pt x="484" y="260"/>
                    </a:lnTo>
                    <a:lnTo>
                      <a:pt x="489" y="255"/>
                    </a:lnTo>
                    <a:lnTo>
                      <a:pt x="491" y="250"/>
                    </a:lnTo>
                    <a:lnTo>
                      <a:pt x="489" y="243"/>
                    </a:lnTo>
                    <a:lnTo>
                      <a:pt x="494" y="238"/>
                    </a:lnTo>
                    <a:lnTo>
                      <a:pt x="503" y="236"/>
                    </a:lnTo>
                    <a:lnTo>
                      <a:pt x="506" y="234"/>
                    </a:lnTo>
                    <a:lnTo>
                      <a:pt x="503" y="231"/>
                    </a:lnTo>
                    <a:lnTo>
                      <a:pt x="503" y="229"/>
                    </a:lnTo>
                    <a:lnTo>
                      <a:pt x="506" y="229"/>
                    </a:lnTo>
                    <a:lnTo>
                      <a:pt x="510" y="231"/>
                    </a:lnTo>
                    <a:lnTo>
                      <a:pt x="517" y="238"/>
                    </a:lnTo>
                    <a:lnTo>
                      <a:pt x="520" y="248"/>
                    </a:lnTo>
                    <a:lnTo>
                      <a:pt x="532" y="257"/>
                    </a:lnTo>
                    <a:lnTo>
                      <a:pt x="550" y="264"/>
                    </a:lnTo>
                    <a:lnTo>
                      <a:pt x="565" y="264"/>
                    </a:lnTo>
                    <a:lnTo>
                      <a:pt x="572" y="257"/>
                    </a:lnTo>
                    <a:lnTo>
                      <a:pt x="581" y="241"/>
                    </a:lnTo>
                    <a:lnTo>
                      <a:pt x="586" y="212"/>
                    </a:lnTo>
                    <a:lnTo>
                      <a:pt x="595" y="198"/>
                    </a:lnTo>
                    <a:lnTo>
                      <a:pt x="607" y="193"/>
                    </a:lnTo>
                    <a:lnTo>
                      <a:pt x="617" y="182"/>
                    </a:lnTo>
                    <a:lnTo>
                      <a:pt x="621" y="165"/>
                    </a:lnTo>
                    <a:lnTo>
                      <a:pt x="631" y="151"/>
                    </a:lnTo>
                    <a:lnTo>
                      <a:pt x="643" y="139"/>
                    </a:lnTo>
                    <a:lnTo>
                      <a:pt x="647" y="125"/>
                    </a:lnTo>
                    <a:lnTo>
                      <a:pt x="643" y="108"/>
                    </a:lnTo>
                    <a:lnTo>
                      <a:pt x="647" y="96"/>
                    </a:lnTo>
                    <a:lnTo>
                      <a:pt x="664" y="94"/>
                    </a:lnTo>
                    <a:lnTo>
                      <a:pt x="673" y="94"/>
                    </a:lnTo>
                    <a:lnTo>
                      <a:pt x="680" y="99"/>
                    </a:lnTo>
                    <a:lnTo>
                      <a:pt x="683" y="101"/>
                    </a:lnTo>
                    <a:lnTo>
                      <a:pt x="683" y="101"/>
                    </a:lnTo>
                    <a:lnTo>
                      <a:pt x="688" y="101"/>
                    </a:lnTo>
                    <a:lnTo>
                      <a:pt x="692" y="99"/>
                    </a:lnTo>
                    <a:lnTo>
                      <a:pt x="699" y="94"/>
                    </a:lnTo>
                    <a:lnTo>
                      <a:pt x="728" y="80"/>
                    </a:lnTo>
                    <a:lnTo>
                      <a:pt x="744" y="66"/>
                    </a:lnTo>
                    <a:lnTo>
                      <a:pt x="744" y="56"/>
                    </a:lnTo>
                    <a:lnTo>
                      <a:pt x="740" y="49"/>
                    </a:lnTo>
                    <a:lnTo>
                      <a:pt x="732" y="49"/>
                    </a:lnTo>
                    <a:lnTo>
                      <a:pt x="730" y="44"/>
                    </a:lnTo>
                    <a:lnTo>
                      <a:pt x="735" y="37"/>
                    </a:lnTo>
                    <a:lnTo>
                      <a:pt x="732" y="30"/>
                    </a:lnTo>
                    <a:lnTo>
                      <a:pt x="728" y="21"/>
                    </a:lnTo>
                    <a:lnTo>
                      <a:pt x="730" y="11"/>
                    </a:lnTo>
                    <a:lnTo>
                      <a:pt x="732" y="9"/>
                    </a:lnTo>
                    <a:lnTo>
                      <a:pt x="742" y="2"/>
                    </a:lnTo>
                    <a:lnTo>
                      <a:pt x="751" y="0"/>
                    </a:lnTo>
                    <a:lnTo>
                      <a:pt x="758" y="7"/>
                    </a:lnTo>
                    <a:lnTo>
                      <a:pt x="770" y="7"/>
                    </a:lnTo>
                    <a:lnTo>
                      <a:pt x="784" y="2"/>
                    </a:lnTo>
                    <a:lnTo>
                      <a:pt x="796" y="2"/>
                    </a:lnTo>
                    <a:lnTo>
                      <a:pt x="810" y="9"/>
                    </a:lnTo>
                    <a:lnTo>
                      <a:pt x="822" y="23"/>
                    </a:lnTo>
                    <a:lnTo>
                      <a:pt x="836" y="44"/>
                    </a:lnTo>
                    <a:lnTo>
                      <a:pt x="855" y="56"/>
                    </a:lnTo>
                    <a:lnTo>
                      <a:pt x="884" y="59"/>
                    </a:lnTo>
                    <a:lnTo>
                      <a:pt x="905" y="63"/>
                    </a:lnTo>
                    <a:lnTo>
                      <a:pt x="919" y="75"/>
                    </a:lnTo>
                    <a:lnTo>
                      <a:pt x="929" y="78"/>
                    </a:lnTo>
                    <a:lnTo>
                      <a:pt x="940" y="70"/>
                    </a:lnTo>
                    <a:lnTo>
                      <a:pt x="952" y="66"/>
                    </a:lnTo>
                    <a:lnTo>
                      <a:pt x="966" y="68"/>
                    </a:lnTo>
                    <a:lnTo>
                      <a:pt x="985" y="75"/>
                    </a:lnTo>
                    <a:lnTo>
                      <a:pt x="1009" y="70"/>
                    </a:lnTo>
                    <a:lnTo>
                      <a:pt x="1040" y="49"/>
                    </a:lnTo>
                    <a:lnTo>
                      <a:pt x="1059" y="47"/>
                    </a:lnTo>
                    <a:lnTo>
                      <a:pt x="1068" y="63"/>
                    </a:lnTo>
                    <a:lnTo>
                      <a:pt x="1085" y="80"/>
                    </a:lnTo>
                    <a:lnTo>
                      <a:pt x="1111" y="94"/>
                    </a:lnTo>
                    <a:lnTo>
                      <a:pt x="1111" y="96"/>
                    </a:lnTo>
                    <a:close/>
                    <a:moveTo>
                      <a:pt x="12" y="628"/>
                    </a:moveTo>
                    <a:lnTo>
                      <a:pt x="0" y="628"/>
                    </a:lnTo>
                    <a:lnTo>
                      <a:pt x="0" y="626"/>
                    </a:lnTo>
                    <a:lnTo>
                      <a:pt x="0" y="621"/>
                    </a:lnTo>
                    <a:lnTo>
                      <a:pt x="0" y="617"/>
                    </a:lnTo>
                    <a:lnTo>
                      <a:pt x="2" y="617"/>
                    </a:lnTo>
                    <a:lnTo>
                      <a:pt x="4" y="617"/>
                    </a:lnTo>
                    <a:lnTo>
                      <a:pt x="9" y="621"/>
                    </a:lnTo>
                    <a:lnTo>
                      <a:pt x="12" y="62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22" name="Freeform 60">
                <a:extLst>
                  <a:ext uri="{FF2B5EF4-FFF2-40B4-BE49-F238E27FC236}">
                    <a16:creationId xmlns:a16="http://schemas.microsoft.com/office/drawing/2014/main" id="{ED5F2F71-7A41-B546-776F-D25E2B4CCC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556"/>
                <a:ext cx="981" cy="835"/>
              </a:xfrm>
              <a:custGeom>
                <a:avLst/>
                <a:gdLst>
                  <a:gd name="T0" fmla="*/ 733 w 981"/>
                  <a:gd name="T1" fmla="*/ 549 h 835"/>
                  <a:gd name="T2" fmla="*/ 728 w 981"/>
                  <a:gd name="T3" fmla="*/ 622 h 835"/>
                  <a:gd name="T4" fmla="*/ 806 w 981"/>
                  <a:gd name="T5" fmla="*/ 586 h 835"/>
                  <a:gd name="T6" fmla="*/ 794 w 981"/>
                  <a:gd name="T7" fmla="*/ 622 h 835"/>
                  <a:gd name="T8" fmla="*/ 853 w 981"/>
                  <a:gd name="T9" fmla="*/ 608 h 835"/>
                  <a:gd name="T10" fmla="*/ 879 w 981"/>
                  <a:gd name="T11" fmla="*/ 650 h 835"/>
                  <a:gd name="T12" fmla="*/ 846 w 981"/>
                  <a:gd name="T13" fmla="*/ 683 h 835"/>
                  <a:gd name="T14" fmla="*/ 818 w 981"/>
                  <a:gd name="T15" fmla="*/ 702 h 835"/>
                  <a:gd name="T16" fmla="*/ 922 w 981"/>
                  <a:gd name="T17" fmla="*/ 757 h 835"/>
                  <a:gd name="T18" fmla="*/ 939 w 981"/>
                  <a:gd name="T19" fmla="*/ 806 h 835"/>
                  <a:gd name="T20" fmla="*/ 898 w 981"/>
                  <a:gd name="T21" fmla="*/ 830 h 835"/>
                  <a:gd name="T22" fmla="*/ 861 w 981"/>
                  <a:gd name="T23" fmla="*/ 778 h 835"/>
                  <a:gd name="T24" fmla="*/ 809 w 981"/>
                  <a:gd name="T25" fmla="*/ 764 h 835"/>
                  <a:gd name="T26" fmla="*/ 738 w 981"/>
                  <a:gd name="T27" fmla="*/ 733 h 835"/>
                  <a:gd name="T28" fmla="*/ 757 w 981"/>
                  <a:gd name="T29" fmla="*/ 776 h 835"/>
                  <a:gd name="T30" fmla="*/ 726 w 981"/>
                  <a:gd name="T31" fmla="*/ 813 h 835"/>
                  <a:gd name="T32" fmla="*/ 645 w 981"/>
                  <a:gd name="T33" fmla="*/ 813 h 835"/>
                  <a:gd name="T34" fmla="*/ 539 w 981"/>
                  <a:gd name="T35" fmla="*/ 780 h 835"/>
                  <a:gd name="T36" fmla="*/ 534 w 981"/>
                  <a:gd name="T37" fmla="*/ 733 h 835"/>
                  <a:gd name="T38" fmla="*/ 454 w 981"/>
                  <a:gd name="T39" fmla="*/ 698 h 835"/>
                  <a:gd name="T40" fmla="*/ 369 w 981"/>
                  <a:gd name="T41" fmla="*/ 712 h 835"/>
                  <a:gd name="T42" fmla="*/ 270 w 981"/>
                  <a:gd name="T43" fmla="*/ 738 h 835"/>
                  <a:gd name="T44" fmla="*/ 137 w 981"/>
                  <a:gd name="T45" fmla="*/ 702 h 835"/>
                  <a:gd name="T46" fmla="*/ 45 w 981"/>
                  <a:gd name="T47" fmla="*/ 698 h 835"/>
                  <a:gd name="T48" fmla="*/ 62 w 981"/>
                  <a:gd name="T49" fmla="*/ 662 h 835"/>
                  <a:gd name="T50" fmla="*/ 66 w 981"/>
                  <a:gd name="T51" fmla="*/ 577 h 835"/>
                  <a:gd name="T52" fmla="*/ 95 w 981"/>
                  <a:gd name="T53" fmla="*/ 482 h 835"/>
                  <a:gd name="T54" fmla="*/ 99 w 981"/>
                  <a:gd name="T55" fmla="*/ 423 h 835"/>
                  <a:gd name="T56" fmla="*/ 64 w 981"/>
                  <a:gd name="T57" fmla="*/ 345 h 835"/>
                  <a:gd name="T58" fmla="*/ 43 w 981"/>
                  <a:gd name="T59" fmla="*/ 277 h 835"/>
                  <a:gd name="T60" fmla="*/ 2 w 981"/>
                  <a:gd name="T61" fmla="*/ 154 h 835"/>
                  <a:gd name="T62" fmla="*/ 0 w 981"/>
                  <a:gd name="T63" fmla="*/ 21 h 835"/>
                  <a:gd name="T64" fmla="*/ 161 w 981"/>
                  <a:gd name="T65" fmla="*/ 17 h 835"/>
                  <a:gd name="T66" fmla="*/ 319 w 981"/>
                  <a:gd name="T67" fmla="*/ 9 h 835"/>
                  <a:gd name="T68" fmla="*/ 480 w 981"/>
                  <a:gd name="T69" fmla="*/ 2 h 835"/>
                  <a:gd name="T70" fmla="*/ 520 w 981"/>
                  <a:gd name="T71" fmla="*/ 45 h 835"/>
                  <a:gd name="T72" fmla="*/ 520 w 981"/>
                  <a:gd name="T73" fmla="*/ 83 h 835"/>
                  <a:gd name="T74" fmla="*/ 551 w 981"/>
                  <a:gd name="T75" fmla="*/ 132 h 835"/>
                  <a:gd name="T76" fmla="*/ 551 w 981"/>
                  <a:gd name="T77" fmla="*/ 175 h 835"/>
                  <a:gd name="T78" fmla="*/ 525 w 981"/>
                  <a:gd name="T79" fmla="*/ 222 h 835"/>
                  <a:gd name="T80" fmla="*/ 468 w 981"/>
                  <a:gd name="T81" fmla="*/ 319 h 835"/>
                  <a:gd name="T82" fmla="*/ 447 w 981"/>
                  <a:gd name="T83" fmla="*/ 385 h 835"/>
                  <a:gd name="T84" fmla="*/ 489 w 981"/>
                  <a:gd name="T85" fmla="*/ 428 h 835"/>
                  <a:gd name="T86" fmla="*/ 707 w 981"/>
                  <a:gd name="T87" fmla="*/ 416 h 835"/>
                  <a:gd name="T88" fmla="*/ 780 w 981"/>
                  <a:gd name="T89" fmla="*/ 478 h 835"/>
                  <a:gd name="T90" fmla="*/ 811 w 981"/>
                  <a:gd name="T91" fmla="*/ 525 h 835"/>
                  <a:gd name="T92" fmla="*/ 842 w 981"/>
                  <a:gd name="T93" fmla="*/ 577 h 835"/>
                  <a:gd name="T94" fmla="*/ 882 w 981"/>
                  <a:gd name="T95" fmla="*/ 603 h 835"/>
                  <a:gd name="T96" fmla="*/ 903 w 981"/>
                  <a:gd name="T97" fmla="*/ 589 h 835"/>
                  <a:gd name="T98" fmla="*/ 969 w 981"/>
                  <a:gd name="T99" fmla="*/ 598 h 835"/>
                  <a:gd name="T100" fmla="*/ 960 w 981"/>
                  <a:gd name="T101" fmla="*/ 683 h 835"/>
                  <a:gd name="T102" fmla="*/ 435 w 981"/>
                  <a:gd name="T103" fmla="*/ 750 h 835"/>
                  <a:gd name="T104" fmla="*/ 419 w 981"/>
                  <a:gd name="T105" fmla="*/ 721 h 835"/>
                  <a:gd name="T106" fmla="*/ 435 w 981"/>
                  <a:gd name="T107" fmla="*/ 750 h 8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81" h="835">
                    <a:moveTo>
                      <a:pt x="846" y="579"/>
                    </a:moveTo>
                    <a:lnTo>
                      <a:pt x="835" y="586"/>
                    </a:lnTo>
                    <a:lnTo>
                      <a:pt x="766" y="568"/>
                    </a:lnTo>
                    <a:lnTo>
                      <a:pt x="747" y="551"/>
                    </a:lnTo>
                    <a:lnTo>
                      <a:pt x="733" y="549"/>
                    </a:lnTo>
                    <a:lnTo>
                      <a:pt x="714" y="549"/>
                    </a:lnTo>
                    <a:lnTo>
                      <a:pt x="695" y="570"/>
                    </a:lnTo>
                    <a:lnTo>
                      <a:pt x="683" y="601"/>
                    </a:lnTo>
                    <a:lnTo>
                      <a:pt x="707" y="615"/>
                    </a:lnTo>
                    <a:lnTo>
                      <a:pt x="728" y="622"/>
                    </a:lnTo>
                    <a:lnTo>
                      <a:pt x="761" y="612"/>
                    </a:lnTo>
                    <a:lnTo>
                      <a:pt x="778" y="598"/>
                    </a:lnTo>
                    <a:lnTo>
                      <a:pt x="794" y="598"/>
                    </a:lnTo>
                    <a:lnTo>
                      <a:pt x="801" y="594"/>
                    </a:lnTo>
                    <a:lnTo>
                      <a:pt x="806" y="586"/>
                    </a:lnTo>
                    <a:lnTo>
                      <a:pt x="820" y="591"/>
                    </a:lnTo>
                    <a:lnTo>
                      <a:pt x="820" y="596"/>
                    </a:lnTo>
                    <a:lnTo>
                      <a:pt x="811" y="605"/>
                    </a:lnTo>
                    <a:lnTo>
                      <a:pt x="801" y="612"/>
                    </a:lnTo>
                    <a:lnTo>
                      <a:pt x="794" y="622"/>
                    </a:lnTo>
                    <a:lnTo>
                      <a:pt x="809" y="636"/>
                    </a:lnTo>
                    <a:lnTo>
                      <a:pt x="830" y="641"/>
                    </a:lnTo>
                    <a:lnTo>
                      <a:pt x="837" y="638"/>
                    </a:lnTo>
                    <a:lnTo>
                      <a:pt x="842" y="620"/>
                    </a:lnTo>
                    <a:lnTo>
                      <a:pt x="853" y="608"/>
                    </a:lnTo>
                    <a:lnTo>
                      <a:pt x="870" y="608"/>
                    </a:lnTo>
                    <a:lnTo>
                      <a:pt x="868" y="615"/>
                    </a:lnTo>
                    <a:lnTo>
                      <a:pt x="872" y="622"/>
                    </a:lnTo>
                    <a:lnTo>
                      <a:pt x="879" y="634"/>
                    </a:lnTo>
                    <a:lnTo>
                      <a:pt x="879" y="650"/>
                    </a:lnTo>
                    <a:lnTo>
                      <a:pt x="882" y="655"/>
                    </a:lnTo>
                    <a:lnTo>
                      <a:pt x="865" y="664"/>
                    </a:lnTo>
                    <a:lnTo>
                      <a:pt x="851" y="669"/>
                    </a:lnTo>
                    <a:lnTo>
                      <a:pt x="839" y="679"/>
                    </a:lnTo>
                    <a:lnTo>
                      <a:pt x="846" y="683"/>
                    </a:lnTo>
                    <a:lnTo>
                      <a:pt x="835" y="690"/>
                    </a:lnTo>
                    <a:lnTo>
                      <a:pt x="827" y="688"/>
                    </a:lnTo>
                    <a:lnTo>
                      <a:pt x="823" y="690"/>
                    </a:lnTo>
                    <a:lnTo>
                      <a:pt x="823" y="698"/>
                    </a:lnTo>
                    <a:lnTo>
                      <a:pt x="818" y="702"/>
                    </a:lnTo>
                    <a:lnTo>
                      <a:pt x="827" y="719"/>
                    </a:lnTo>
                    <a:lnTo>
                      <a:pt x="846" y="728"/>
                    </a:lnTo>
                    <a:lnTo>
                      <a:pt x="858" y="742"/>
                    </a:lnTo>
                    <a:lnTo>
                      <a:pt x="910" y="757"/>
                    </a:lnTo>
                    <a:lnTo>
                      <a:pt x="922" y="757"/>
                    </a:lnTo>
                    <a:lnTo>
                      <a:pt x="936" y="773"/>
                    </a:lnTo>
                    <a:lnTo>
                      <a:pt x="946" y="780"/>
                    </a:lnTo>
                    <a:lnTo>
                      <a:pt x="955" y="783"/>
                    </a:lnTo>
                    <a:lnTo>
                      <a:pt x="955" y="795"/>
                    </a:lnTo>
                    <a:lnTo>
                      <a:pt x="939" y="806"/>
                    </a:lnTo>
                    <a:lnTo>
                      <a:pt x="936" y="816"/>
                    </a:lnTo>
                    <a:lnTo>
                      <a:pt x="931" y="823"/>
                    </a:lnTo>
                    <a:lnTo>
                      <a:pt x="924" y="816"/>
                    </a:lnTo>
                    <a:lnTo>
                      <a:pt x="915" y="811"/>
                    </a:lnTo>
                    <a:lnTo>
                      <a:pt x="898" y="830"/>
                    </a:lnTo>
                    <a:lnTo>
                      <a:pt x="891" y="835"/>
                    </a:lnTo>
                    <a:lnTo>
                      <a:pt x="894" y="816"/>
                    </a:lnTo>
                    <a:lnTo>
                      <a:pt x="887" y="809"/>
                    </a:lnTo>
                    <a:lnTo>
                      <a:pt x="875" y="790"/>
                    </a:lnTo>
                    <a:lnTo>
                      <a:pt x="861" y="778"/>
                    </a:lnTo>
                    <a:lnTo>
                      <a:pt x="849" y="776"/>
                    </a:lnTo>
                    <a:lnTo>
                      <a:pt x="842" y="768"/>
                    </a:lnTo>
                    <a:lnTo>
                      <a:pt x="830" y="766"/>
                    </a:lnTo>
                    <a:lnTo>
                      <a:pt x="823" y="768"/>
                    </a:lnTo>
                    <a:lnTo>
                      <a:pt x="809" y="764"/>
                    </a:lnTo>
                    <a:lnTo>
                      <a:pt x="806" y="754"/>
                    </a:lnTo>
                    <a:lnTo>
                      <a:pt x="801" y="747"/>
                    </a:lnTo>
                    <a:lnTo>
                      <a:pt x="792" y="740"/>
                    </a:lnTo>
                    <a:lnTo>
                      <a:pt x="738" y="726"/>
                    </a:lnTo>
                    <a:lnTo>
                      <a:pt x="738" y="733"/>
                    </a:lnTo>
                    <a:lnTo>
                      <a:pt x="742" y="738"/>
                    </a:lnTo>
                    <a:lnTo>
                      <a:pt x="749" y="740"/>
                    </a:lnTo>
                    <a:lnTo>
                      <a:pt x="759" y="747"/>
                    </a:lnTo>
                    <a:lnTo>
                      <a:pt x="759" y="766"/>
                    </a:lnTo>
                    <a:lnTo>
                      <a:pt x="757" y="776"/>
                    </a:lnTo>
                    <a:lnTo>
                      <a:pt x="757" y="787"/>
                    </a:lnTo>
                    <a:lnTo>
                      <a:pt x="754" y="802"/>
                    </a:lnTo>
                    <a:lnTo>
                      <a:pt x="747" y="811"/>
                    </a:lnTo>
                    <a:lnTo>
                      <a:pt x="733" y="818"/>
                    </a:lnTo>
                    <a:lnTo>
                      <a:pt x="726" y="813"/>
                    </a:lnTo>
                    <a:lnTo>
                      <a:pt x="714" y="787"/>
                    </a:lnTo>
                    <a:lnTo>
                      <a:pt x="700" y="780"/>
                    </a:lnTo>
                    <a:lnTo>
                      <a:pt x="676" y="780"/>
                    </a:lnTo>
                    <a:lnTo>
                      <a:pt x="662" y="787"/>
                    </a:lnTo>
                    <a:lnTo>
                      <a:pt x="645" y="813"/>
                    </a:lnTo>
                    <a:lnTo>
                      <a:pt x="634" y="818"/>
                    </a:lnTo>
                    <a:lnTo>
                      <a:pt x="584" y="809"/>
                    </a:lnTo>
                    <a:lnTo>
                      <a:pt x="530" y="790"/>
                    </a:lnTo>
                    <a:lnTo>
                      <a:pt x="532" y="785"/>
                    </a:lnTo>
                    <a:lnTo>
                      <a:pt x="539" y="780"/>
                    </a:lnTo>
                    <a:lnTo>
                      <a:pt x="556" y="783"/>
                    </a:lnTo>
                    <a:lnTo>
                      <a:pt x="556" y="776"/>
                    </a:lnTo>
                    <a:lnTo>
                      <a:pt x="537" y="754"/>
                    </a:lnTo>
                    <a:lnTo>
                      <a:pt x="534" y="745"/>
                    </a:lnTo>
                    <a:lnTo>
                      <a:pt x="534" y="733"/>
                    </a:lnTo>
                    <a:lnTo>
                      <a:pt x="530" y="733"/>
                    </a:lnTo>
                    <a:lnTo>
                      <a:pt x="520" y="742"/>
                    </a:lnTo>
                    <a:lnTo>
                      <a:pt x="485" y="735"/>
                    </a:lnTo>
                    <a:lnTo>
                      <a:pt x="475" y="726"/>
                    </a:lnTo>
                    <a:lnTo>
                      <a:pt x="454" y="698"/>
                    </a:lnTo>
                    <a:lnTo>
                      <a:pt x="426" y="698"/>
                    </a:lnTo>
                    <a:lnTo>
                      <a:pt x="414" y="681"/>
                    </a:lnTo>
                    <a:lnTo>
                      <a:pt x="390" y="688"/>
                    </a:lnTo>
                    <a:lnTo>
                      <a:pt x="378" y="698"/>
                    </a:lnTo>
                    <a:lnTo>
                      <a:pt x="369" y="712"/>
                    </a:lnTo>
                    <a:lnTo>
                      <a:pt x="374" y="719"/>
                    </a:lnTo>
                    <a:lnTo>
                      <a:pt x="383" y="728"/>
                    </a:lnTo>
                    <a:lnTo>
                      <a:pt x="381" y="733"/>
                    </a:lnTo>
                    <a:lnTo>
                      <a:pt x="348" y="742"/>
                    </a:lnTo>
                    <a:lnTo>
                      <a:pt x="270" y="738"/>
                    </a:lnTo>
                    <a:lnTo>
                      <a:pt x="248" y="731"/>
                    </a:lnTo>
                    <a:lnTo>
                      <a:pt x="218" y="714"/>
                    </a:lnTo>
                    <a:lnTo>
                      <a:pt x="175" y="702"/>
                    </a:lnTo>
                    <a:lnTo>
                      <a:pt x="156" y="700"/>
                    </a:lnTo>
                    <a:lnTo>
                      <a:pt x="137" y="702"/>
                    </a:lnTo>
                    <a:lnTo>
                      <a:pt x="80" y="707"/>
                    </a:lnTo>
                    <a:lnTo>
                      <a:pt x="66" y="709"/>
                    </a:lnTo>
                    <a:lnTo>
                      <a:pt x="54" y="716"/>
                    </a:lnTo>
                    <a:lnTo>
                      <a:pt x="47" y="709"/>
                    </a:lnTo>
                    <a:lnTo>
                      <a:pt x="45" y="698"/>
                    </a:lnTo>
                    <a:lnTo>
                      <a:pt x="52" y="698"/>
                    </a:lnTo>
                    <a:lnTo>
                      <a:pt x="59" y="690"/>
                    </a:lnTo>
                    <a:lnTo>
                      <a:pt x="64" y="676"/>
                    </a:lnTo>
                    <a:lnTo>
                      <a:pt x="66" y="667"/>
                    </a:lnTo>
                    <a:lnTo>
                      <a:pt x="62" y="662"/>
                    </a:lnTo>
                    <a:lnTo>
                      <a:pt x="73" y="641"/>
                    </a:lnTo>
                    <a:lnTo>
                      <a:pt x="76" y="634"/>
                    </a:lnTo>
                    <a:lnTo>
                      <a:pt x="73" y="598"/>
                    </a:lnTo>
                    <a:lnTo>
                      <a:pt x="66" y="584"/>
                    </a:lnTo>
                    <a:lnTo>
                      <a:pt x="66" y="577"/>
                    </a:lnTo>
                    <a:lnTo>
                      <a:pt x="73" y="558"/>
                    </a:lnTo>
                    <a:lnTo>
                      <a:pt x="71" y="539"/>
                    </a:lnTo>
                    <a:lnTo>
                      <a:pt x="80" y="518"/>
                    </a:lnTo>
                    <a:lnTo>
                      <a:pt x="88" y="506"/>
                    </a:lnTo>
                    <a:lnTo>
                      <a:pt x="95" y="482"/>
                    </a:lnTo>
                    <a:lnTo>
                      <a:pt x="97" y="466"/>
                    </a:lnTo>
                    <a:lnTo>
                      <a:pt x="99" y="456"/>
                    </a:lnTo>
                    <a:lnTo>
                      <a:pt x="97" y="445"/>
                    </a:lnTo>
                    <a:lnTo>
                      <a:pt x="102" y="435"/>
                    </a:lnTo>
                    <a:lnTo>
                      <a:pt x="99" y="423"/>
                    </a:lnTo>
                    <a:lnTo>
                      <a:pt x="97" y="407"/>
                    </a:lnTo>
                    <a:lnTo>
                      <a:pt x="90" y="400"/>
                    </a:lnTo>
                    <a:lnTo>
                      <a:pt x="76" y="376"/>
                    </a:lnTo>
                    <a:lnTo>
                      <a:pt x="76" y="367"/>
                    </a:lnTo>
                    <a:lnTo>
                      <a:pt x="64" y="345"/>
                    </a:lnTo>
                    <a:lnTo>
                      <a:pt x="62" y="336"/>
                    </a:lnTo>
                    <a:lnTo>
                      <a:pt x="50" y="324"/>
                    </a:lnTo>
                    <a:lnTo>
                      <a:pt x="47" y="317"/>
                    </a:lnTo>
                    <a:lnTo>
                      <a:pt x="45" y="286"/>
                    </a:lnTo>
                    <a:lnTo>
                      <a:pt x="43" y="277"/>
                    </a:lnTo>
                    <a:lnTo>
                      <a:pt x="31" y="260"/>
                    </a:lnTo>
                    <a:lnTo>
                      <a:pt x="5" y="234"/>
                    </a:lnTo>
                    <a:lnTo>
                      <a:pt x="5" y="208"/>
                    </a:lnTo>
                    <a:lnTo>
                      <a:pt x="5" y="182"/>
                    </a:lnTo>
                    <a:lnTo>
                      <a:pt x="2" y="154"/>
                    </a:lnTo>
                    <a:lnTo>
                      <a:pt x="2" y="128"/>
                    </a:lnTo>
                    <a:lnTo>
                      <a:pt x="2" y="102"/>
                    </a:lnTo>
                    <a:lnTo>
                      <a:pt x="2" y="73"/>
                    </a:lnTo>
                    <a:lnTo>
                      <a:pt x="0" y="47"/>
                    </a:lnTo>
                    <a:lnTo>
                      <a:pt x="0" y="21"/>
                    </a:lnTo>
                    <a:lnTo>
                      <a:pt x="33" y="21"/>
                    </a:lnTo>
                    <a:lnTo>
                      <a:pt x="64" y="19"/>
                    </a:lnTo>
                    <a:lnTo>
                      <a:pt x="97" y="19"/>
                    </a:lnTo>
                    <a:lnTo>
                      <a:pt x="128" y="17"/>
                    </a:lnTo>
                    <a:lnTo>
                      <a:pt x="161" y="17"/>
                    </a:lnTo>
                    <a:lnTo>
                      <a:pt x="192" y="17"/>
                    </a:lnTo>
                    <a:lnTo>
                      <a:pt x="225" y="14"/>
                    </a:lnTo>
                    <a:lnTo>
                      <a:pt x="255" y="14"/>
                    </a:lnTo>
                    <a:lnTo>
                      <a:pt x="288" y="12"/>
                    </a:lnTo>
                    <a:lnTo>
                      <a:pt x="319" y="9"/>
                    </a:lnTo>
                    <a:lnTo>
                      <a:pt x="352" y="9"/>
                    </a:lnTo>
                    <a:lnTo>
                      <a:pt x="383" y="7"/>
                    </a:lnTo>
                    <a:lnTo>
                      <a:pt x="416" y="7"/>
                    </a:lnTo>
                    <a:lnTo>
                      <a:pt x="447" y="5"/>
                    </a:lnTo>
                    <a:lnTo>
                      <a:pt x="480" y="2"/>
                    </a:lnTo>
                    <a:lnTo>
                      <a:pt x="515" y="0"/>
                    </a:lnTo>
                    <a:lnTo>
                      <a:pt x="515" y="12"/>
                    </a:lnTo>
                    <a:lnTo>
                      <a:pt x="525" y="17"/>
                    </a:lnTo>
                    <a:lnTo>
                      <a:pt x="527" y="28"/>
                    </a:lnTo>
                    <a:lnTo>
                      <a:pt x="520" y="45"/>
                    </a:lnTo>
                    <a:lnTo>
                      <a:pt x="520" y="57"/>
                    </a:lnTo>
                    <a:lnTo>
                      <a:pt x="527" y="62"/>
                    </a:lnTo>
                    <a:lnTo>
                      <a:pt x="527" y="69"/>
                    </a:lnTo>
                    <a:lnTo>
                      <a:pt x="520" y="76"/>
                    </a:lnTo>
                    <a:lnTo>
                      <a:pt x="520" y="83"/>
                    </a:lnTo>
                    <a:lnTo>
                      <a:pt x="525" y="92"/>
                    </a:lnTo>
                    <a:lnTo>
                      <a:pt x="530" y="102"/>
                    </a:lnTo>
                    <a:lnTo>
                      <a:pt x="530" y="111"/>
                    </a:lnTo>
                    <a:lnTo>
                      <a:pt x="537" y="125"/>
                    </a:lnTo>
                    <a:lnTo>
                      <a:pt x="551" y="132"/>
                    </a:lnTo>
                    <a:lnTo>
                      <a:pt x="558" y="144"/>
                    </a:lnTo>
                    <a:lnTo>
                      <a:pt x="560" y="149"/>
                    </a:lnTo>
                    <a:lnTo>
                      <a:pt x="560" y="154"/>
                    </a:lnTo>
                    <a:lnTo>
                      <a:pt x="560" y="163"/>
                    </a:lnTo>
                    <a:lnTo>
                      <a:pt x="551" y="175"/>
                    </a:lnTo>
                    <a:lnTo>
                      <a:pt x="541" y="184"/>
                    </a:lnTo>
                    <a:lnTo>
                      <a:pt x="539" y="187"/>
                    </a:lnTo>
                    <a:lnTo>
                      <a:pt x="537" y="192"/>
                    </a:lnTo>
                    <a:lnTo>
                      <a:pt x="537" y="206"/>
                    </a:lnTo>
                    <a:lnTo>
                      <a:pt x="525" y="222"/>
                    </a:lnTo>
                    <a:lnTo>
                      <a:pt x="504" y="241"/>
                    </a:lnTo>
                    <a:lnTo>
                      <a:pt x="489" y="265"/>
                    </a:lnTo>
                    <a:lnTo>
                      <a:pt x="482" y="293"/>
                    </a:lnTo>
                    <a:lnTo>
                      <a:pt x="475" y="312"/>
                    </a:lnTo>
                    <a:lnTo>
                      <a:pt x="468" y="319"/>
                    </a:lnTo>
                    <a:lnTo>
                      <a:pt x="463" y="336"/>
                    </a:lnTo>
                    <a:lnTo>
                      <a:pt x="463" y="357"/>
                    </a:lnTo>
                    <a:lnTo>
                      <a:pt x="459" y="369"/>
                    </a:lnTo>
                    <a:lnTo>
                      <a:pt x="449" y="374"/>
                    </a:lnTo>
                    <a:lnTo>
                      <a:pt x="447" y="385"/>
                    </a:lnTo>
                    <a:lnTo>
                      <a:pt x="454" y="407"/>
                    </a:lnTo>
                    <a:lnTo>
                      <a:pt x="452" y="416"/>
                    </a:lnTo>
                    <a:lnTo>
                      <a:pt x="445" y="426"/>
                    </a:lnTo>
                    <a:lnTo>
                      <a:pt x="445" y="430"/>
                    </a:lnTo>
                    <a:lnTo>
                      <a:pt x="489" y="428"/>
                    </a:lnTo>
                    <a:lnTo>
                      <a:pt x="532" y="426"/>
                    </a:lnTo>
                    <a:lnTo>
                      <a:pt x="577" y="423"/>
                    </a:lnTo>
                    <a:lnTo>
                      <a:pt x="619" y="421"/>
                    </a:lnTo>
                    <a:lnTo>
                      <a:pt x="664" y="419"/>
                    </a:lnTo>
                    <a:lnTo>
                      <a:pt x="707" y="416"/>
                    </a:lnTo>
                    <a:lnTo>
                      <a:pt x="752" y="414"/>
                    </a:lnTo>
                    <a:lnTo>
                      <a:pt x="794" y="411"/>
                    </a:lnTo>
                    <a:lnTo>
                      <a:pt x="792" y="435"/>
                    </a:lnTo>
                    <a:lnTo>
                      <a:pt x="780" y="468"/>
                    </a:lnTo>
                    <a:lnTo>
                      <a:pt x="780" y="478"/>
                    </a:lnTo>
                    <a:lnTo>
                      <a:pt x="785" y="489"/>
                    </a:lnTo>
                    <a:lnTo>
                      <a:pt x="785" y="494"/>
                    </a:lnTo>
                    <a:lnTo>
                      <a:pt x="790" y="504"/>
                    </a:lnTo>
                    <a:lnTo>
                      <a:pt x="801" y="511"/>
                    </a:lnTo>
                    <a:lnTo>
                      <a:pt x="811" y="525"/>
                    </a:lnTo>
                    <a:lnTo>
                      <a:pt x="823" y="549"/>
                    </a:lnTo>
                    <a:lnTo>
                      <a:pt x="825" y="558"/>
                    </a:lnTo>
                    <a:lnTo>
                      <a:pt x="832" y="575"/>
                    </a:lnTo>
                    <a:lnTo>
                      <a:pt x="837" y="577"/>
                    </a:lnTo>
                    <a:lnTo>
                      <a:pt x="842" y="577"/>
                    </a:lnTo>
                    <a:lnTo>
                      <a:pt x="846" y="579"/>
                    </a:lnTo>
                    <a:close/>
                    <a:moveTo>
                      <a:pt x="903" y="598"/>
                    </a:moveTo>
                    <a:lnTo>
                      <a:pt x="903" y="608"/>
                    </a:lnTo>
                    <a:lnTo>
                      <a:pt x="894" y="603"/>
                    </a:lnTo>
                    <a:lnTo>
                      <a:pt x="882" y="603"/>
                    </a:lnTo>
                    <a:lnTo>
                      <a:pt x="887" y="601"/>
                    </a:lnTo>
                    <a:lnTo>
                      <a:pt x="891" y="596"/>
                    </a:lnTo>
                    <a:lnTo>
                      <a:pt x="891" y="594"/>
                    </a:lnTo>
                    <a:lnTo>
                      <a:pt x="908" y="579"/>
                    </a:lnTo>
                    <a:lnTo>
                      <a:pt x="903" y="589"/>
                    </a:lnTo>
                    <a:lnTo>
                      <a:pt x="903" y="598"/>
                    </a:lnTo>
                    <a:close/>
                    <a:moveTo>
                      <a:pt x="979" y="650"/>
                    </a:moveTo>
                    <a:lnTo>
                      <a:pt x="976" y="657"/>
                    </a:lnTo>
                    <a:lnTo>
                      <a:pt x="979" y="624"/>
                    </a:lnTo>
                    <a:lnTo>
                      <a:pt x="969" y="598"/>
                    </a:lnTo>
                    <a:lnTo>
                      <a:pt x="976" y="610"/>
                    </a:lnTo>
                    <a:lnTo>
                      <a:pt x="981" y="624"/>
                    </a:lnTo>
                    <a:lnTo>
                      <a:pt x="979" y="650"/>
                    </a:lnTo>
                    <a:close/>
                    <a:moveTo>
                      <a:pt x="969" y="672"/>
                    </a:moveTo>
                    <a:lnTo>
                      <a:pt x="960" y="683"/>
                    </a:lnTo>
                    <a:lnTo>
                      <a:pt x="960" y="679"/>
                    </a:lnTo>
                    <a:lnTo>
                      <a:pt x="967" y="667"/>
                    </a:lnTo>
                    <a:lnTo>
                      <a:pt x="972" y="662"/>
                    </a:lnTo>
                    <a:lnTo>
                      <a:pt x="969" y="672"/>
                    </a:lnTo>
                    <a:close/>
                    <a:moveTo>
                      <a:pt x="435" y="750"/>
                    </a:moveTo>
                    <a:lnTo>
                      <a:pt x="428" y="754"/>
                    </a:lnTo>
                    <a:lnTo>
                      <a:pt x="395" y="738"/>
                    </a:lnTo>
                    <a:lnTo>
                      <a:pt x="395" y="728"/>
                    </a:lnTo>
                    <a:lnTo>
                      <a:pt x="409" y="721"/>
                    </a:lnTo>
                    <a:lnTo>
                      <a:pt x="419" y="721"/>
                    </a:lnTo>
                    <a:lnTo>
                      <a:pt x="433" y="731"/>
                    </a:lnTo>
                    <a:lnTo>
                      <a:pt x="437" y="733"/>
                    </a:lnTo>
                    <a:lnTo>
                      <a:pt x="442" y="735"/>
                    </a:lnTo>
                    <a:lnTo>
                      <a:pt x="440" y="742"/>
                    </a:lnTo>
                    <a:lnTo>
                      <a:pt x="435" y="75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23" name="Freeform 61">
                <a:extLst>
                  <a:ext uri="{FF2B5EF4-FFF2-40B4-BE49-F238E27FC236}">
                    <a16:creationId xmlns:a16="http://schemas.microsoft.com/office/drawing/2014/main" id="{EA293272-564E-E4B4-9B89-1F678FE933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00" y="-33"/>
                <a:ext cx="581" cy="312"/>
              </a:xfrm>
              <a:custGeom>
                <a:avLst/>
                <a:gdLst>
                  <a:gd name="T0" fmla="*/ 371 w 581"/>
                  <a:gd name="T1" fmla="*/ 21 h 312"/>
                  <a:gd name="T2" fmla="*/ 392 w 581"/>
                  <a:gd name="T3" fmla="*/ 38 h 312"/>
                  <a:gd name="T4" fmla="*/ 407 w 581"/>
                  <a:gd name="T5" fmla="*/ 38 h 312"/>
                  <a:gd name="T6" fmla="*/ 390 w 581"/>
                  <a:gd name="T7" fmla="*/ 59 h 312"/>
                  <a:gd name="T8" fmla="*/ 371 w 581"/>
                  <a:gd name="T9" fmla="*/ 94 h 312"/>
                  <a:gd name="T10" fmla="*/ 397 w 581"/>
                  <a:gd name="T11" fmla="*/ 125 h 312"/>
                  <a:gd name="T12" fmla="*/ 437 w 581"/>
                  <a:gd name="T13" fmla="*/ 165 h 312"/>
                  <a:gd name="T14" fmla="*/ 468 w 581"/>
                  <a:gd name="T15" fmla="*/ 206 h 312"/>
                  <a:gd name="T16" fmla="*/ 529 w 581"/>
                  <a:gd name="T17" fmla="*/ 194 h 312"/>
                  <a:gd name="T18" fmla="*/ 522 w 581"/>
                  <a:gd name="T19" fmla="*/ 151 h 312"/>
                  <a:gd name="T20" fmla="*/ 503 w 581"/>
                  <a:gd name="T21" fmla="*/ 144 h 312"/>
                  <a:gd name="T22" fmla="*/ 499 w 581"/>
                  <a:gd name="T23" fmla="*/ 130 h 312"/>
                  <a:gd name="T24" fmla="*/ 541 w 581"/>
                  <a:gd name="T25" fmla="*/ 149 h 312"/>
                  <a:gd name="T26" fmla="*/ 563 w 581"/>
                  <a:gd name="T27" fmla="*/ 206 h 312"/>
                  <a:gd name="T28" fmla="*/ 496 w 581"/>
                  <a:gd name="T29" fmla="*/ 236 h 312"/>
                  <a:gd name="T30" fmla="*/ 461 w 581"/>
                  <a:gd name="T31" fmla="*/ 260 h 312"/>
                  <a:gd name="T32" fmla="*/ 447 w 581"/>
                  <a:gd name="T33" fmla="*/ 232 h 312"/>
                  <a:gd name="T34" fmla="*/ 388 w 581"/>
                  <a:gd name="T35" fmla="*/ 295 h 312"/>
                  <a:gd name="T36" fmla="*/ 376 w 581"/>
                  <a:gd name="T37" fmla="*/ 243 h 312"/>
                  <a:gd name="T38" fmla="*/ 357 w 581"/>
                  <a:gd name="T39" fmla="*/ 248 h 312"/>
                  <a:gd name="T40" fmla="*/ 343 w 581"/>
                  <a:gd name="T41" fmla="*/ 234 h 312"/>
                  <a:gd name="T42" fmla="*/ 329 w 581"/>
                  <a:gd name="T43" fmla="*/ 208 h 312"/>
                  <a:gd name="T44" fmla="*/ 305 w 581"/>
                  <a:gd name="T45" fmla="*/ 206 h 312"/>
                  <a:gd name="T46" fmla="*/ 262 w 581"/>
                  <a:gd name="T47" fmla="*/ 217 h 312"/>
                  <a:gd name="T48" fmla="*/ 225 w 581"/>
                  <a:gd name="T49" fmla="*/ 225 h 312"/>
                  <a:gd name="T50" fmla="*/ 170 w 581"/>
                  <a:gd name="T51" fmla="*/ 236 h 312"/>
                  <a:gd name="T52" fmla="*/ 116 w 581"/>
                  <a:gd name="T53" fmla="*/ 251 h 312"/>
                  <a:gd name="T54" fmla="*/ 109 w 581"/>
                  <a:gd name="T55" fmla="*/ 253 h 312"/>
                  <a:gd name="T56" fmla="*/ 71 w 581"/>
                  <a:gd name="T57" fmla="*/ 260 h 312"/>
                  <a:gd name="T58" fmla="*/ 31 w 581"/>
                  <a:gd name="T59" fmla="*/ 269 h 312"/>
                  <a:gd name="T60" fmla="*/ 0 w 581"/>
                  <a:gd name="T61" fmla="*/ 272 h 312"/>
                  <a:gd name="T62" fmla="*/ 2 w 581"/>
                  <a:gd name="T63" fmla="*/ 215 h 312"/>
                  <a:gd name="T64" fmla="*/ 2 w 581"/>
                  <a:gd name="T65" fmla="*/ 161 h 312"/>
                  <a:gd name="T66" fmla="*/ 19 w 581"/>
                  <a:gd name="T67" fmla="*/ 120 h 312"/>
                  <a:gd name="T68" fmla="*/ 64 w 581"/>
                  <a:gd name="T69" fmla="*/ 111 h 312"/>
                  <a:gd name="T70" fmla="*/ 109 w 581"/>
                  <a:gd name="T71" fmla="*/ 102 h 312"/>
                  <a:gd name="T72" fmla="*/ 165 w 581"/>
                  <a:gd name="T73" fmla="*/ 87 h 312"/>
                  <a:gd name="T74" fmla="*/ 229 w 581"/>
                  <a:gd name="T75" fmla="*/ 73 h 312"/>
                  <a:gd name="T76" fmla="*/ 295 w 581"/>
                  <a:gd name="T77" fmla="*/ 57 h 312"/>
                  <a:gd name="T78" fmla="*/ 326 w 581"/>
                  <a:gd name="T79" fmla="*/ 21 h 312"/>
                  <a:gd name="T80" fmla="*/ 364 w 581"/>
                  <a:gd name="T81" fmla="*/ 0 h 312"/>
                  <a:gd name="T82" fmla="*/ 447 w 581"/>
                  <a:gd name="T83" fmla="*/ 307 h 312"/>
                  <a:gd name="T84" fmla="*/ 473 w 581"/>
                  <a:gd name="T85" fmla="*/ 279 h 312"/>
                  <a:gd name="T86" fmla="*/ 581 w 581"/>
                  <a:gd name="T87" fmla="*/ 288 h 312"/>
                  <a:gd name="T88" fmla="*/ 563 w 581"/>
                  <a:gd name="T89" fmla="*/ 284 h 312"/>
                  <a:gd name="T90" fmla="*/ 565 w 581"/>
                  <a:gd name="T91" fmla="*/ 265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81" h="312">
                    <a:moveTo>
                      <a:pt x="364" y="0"/>
                    </a:moveTo>
                    <a:lnTo>
                      <a:pt x="362" y="12"/>
                    </a:lnTo>
                    <a:lnTo>
                      <a:pt x="371" y="21"/>
                    </a:lnTo>
                    <a:lnTo>
                      <a:pt x="376" y="31"/>
                    </a:lnTo>
                    <a:lnTo>
                      <a:pt x="385" y="38"/>
                    </a:lnTo>
                    <a:lnTo>
                      <a:pt x="392" y="38"/>
                    </a:lnTo>
                    <a:lnTo>
                      <a:pt x="397" y="35"/>
                    </a:lnTo>
                    <a:lnTo>
                      <a:pt x="402" y="33"/>
                    </a:lnTo>
                    <a:lnTo>
                      <a:pt x="407" y="38"/>
                    </a:lnTo>
                    <a:lnTo>
                      <a:pt x="407" y="42"/>
                    </a:lnTo>
                    <a:lnTo>
                      <a:pt x="399" y="47"/>
                    </a:lnTo>
                    <a:lnTo>
                      <a:pt x="390" y="59"/>
                    </a:lnTo>
                    <a:lnTo>
                      <a:pt x="378" y="66"/>
                    </a:lnTo>
                    <a:lnTo>
                      <a:pt x="376" y="80"/>
                    </a:lnTo>
                    <a:lnTo>
                      <a:pt x="371" y="94"/>
                    </a:lnTo>
                    <a:lnTo>
                      <a:pt x="359" y="120"/>
                    </a:lnTo>
                    <a:lnTo>
                      <a:pt x="369" y="125"/>
                    </a:lnTo>
                    <a:lnTo>
                      <a:pt x="397" y="125"/>
                    </a:lnTo>
                    <a:lnTo>
                      <a:pt x="411" y="128"/>
                    </a:lnTo>
                    <a:lnTo>
                      <a:pt x="440" y="161"/>
                    </a:lnTo>
                    <a:lnTo>
                      <a:pt x="437" y="165"/>
                    </a:lnTo>
                    <a:lnTo>
                      <a:pt x="437" y="173"/>
                    </a:lnTo>
                    <a:lnTo>
                      <a:pt x="456" y="180"/>
                    </a:lnTo>
                    <a:lnTo>
                      <a:pt x="468" y="206"/>
                    </a:lnTo>
                    <a:lnTo>
                      <a:pt x="485" y="210"/>
                    </a:lnTo>
                    <a:lnTo>
                      <a:pt x="506" y="210"/>
                    </a:lnTo>
                    <a:lnTo>
                      <a:pt x="529" y="194"/>
                    </a:lnTo>
                    <a:lnTo>
                      <a:pt x="546" y="177"/>
                    </a:lnTo>
                    <a:lnTo>
                      <a:pt x="541" y="168"/>
                    </a:lnTo>
                    <a:lnTo>
                      <a:pt x="522" y="151"/>
                    </a:lnTo>
                    <a:lnTo>
                      <a:pt x="518" y="142"/>
                    </a:lnTo>
                    <a:lnTo>
                      <a:pt x="506" y="137"/>
                    </a:lnTo>
                    <a:lnTo>
                      <a:pt x="503" y="144"/>
                    </a:lnTo>
                    <a:lnTo>
                      <a:pt x="496" y="139"/>
                    </a:lnTo>
                    <a:lnTo>
                      <a:pt x="494" y="135"/>
                    </a:lnTo>
                    <a:lnTo>
                      <a:pt x="499" y="130"/>
                    </a:lnTo>
                    <a:lnTo>
                      <a:pt x="506" y="130"/>
                    </a:lnTo>
                    <a:lnTo>
                      <a:pt x="515" y="132"/>
                    </a:lnTo>
                    <a:lnTo>
                      <a:pt x="541" y="149"/>
                    </a:lnTo>
                    <a:lnTo>
                      <a:pt x="555" y="180"/>
                    </a:lnTo>
                    <a:lnTo>
                      <a:pt x="563" y="199"/>
                    </a:lnTo>
                    <a:lnTo>
                      <a:pt x="563" y="206"/>
                    </a:lnTo>
                    <a:lnTo>
                      <a:pt x="555" y="206"/>
                    </a:lnTo>
                    <a:lnTo>
                      <a:pt x="546" y="210"/>
                    </a:lnTo>
                    <a:lnTo>
                      <a:pt x="496" y="236"/>
                    </a:lnTo>
                    <a:lnTo>
                      <a:pt x="487" y="248"/>
                    </a:lnTo>
                    <a:lnTo>
                      <a:pt x="463" y="265"/>
                    </a:lnTo>
                    <a:lnTo>
                      <a:pt x="461" y="260"/>
                    </a:lnTo>
                    <a:lnTo>
                      <a:pt x="459" y="251"/>
                    </a:lnTo>
                    <a:lnTo>
                      <a:pt x="451" y="229"/>
                    </a:lnTo>
                    <a:lnTo>
                      <a:pt x="447" y="232"/>
                    </a:lnTo>
                    <a:lnTo>
                      <a:pt x="414" y="277"/>
                    </a:lnTo>
                    <a:lnTo>
                      <a:pt x="399" y="284"/>
                    </a:lnTo>
                    <a:lnTo>
                      <a:pt x="388" y="295"/>
                    </a:lnTo>
                    <a:lnTo>
                      <a:pt x="383" y="291"/>
                    </a:lnTo>
                    <a:lnTo>
                      <a:pt x="373" y="267"/>
                    </a:lnTo>
                    <a:lnTo>
                      <a:pt x="376" y="243"/>
                    </a:lnTo>
                    <a:lnTo>
                      <a:pt x="371" y="246"/>
                    </a:lnTo>
                    <a:lnTo>
                      <a:pt x="366" y="255"/>
                    </a:lnTo>
                    <a:lnTo>
                      <a:pt x="357" y="248"/>
                    </a:lnTo>
                    <a:lnTo>
                      <a:pt x="352" y="243"/>
                    </a:lnTo>
                    <a:lnTo>
                      <a:pt x="345" y="241"/>
                    </a:lnTo>
                    <a:lnTo>
                      <a:pt x="343" y="234"/>
                    </a:lnTo>
                    <a:lnTo>
                      <a:pt x="340" y="222"/>
                    </a:lnTo>
                    <a:lnTo>
                      <a:pt x="333" y="222"/>
                    </a:lnTo>
                    <a:lnTo>
                      <a:pt x="329" y="208"/>
                    </a:lnTo>
                    <a:lnTo>
                      <a:pt x="324" y="199"/>
                    </a:lnTo>
                    <a:lnTo>
                      <a:pt x="314" y="201"/>
                    </a:lnTo>
                    <a:lnTo>
                      <a:pt x="305" y="206"/>
                    </a:lnTo>
                    <a:lnTo>
                      <a:pt x="288" y="208"/>
                    </a:lnTo>
                    <a:lnTo>
                      <a:pt x="274" y="213"/>
                    </a:lnTo>
                    <a:lnTo>
                      <a:pt x="262" y="217"/>
                    </a:lnTo>
                    <a:lnTo>
                      <a:pt x="262" y="215"/>
                    </a:lnTo>
                    <a:lnTo>
                      <a:pt x="243" y="220"/>
                    </a:lnTo>
                    <a:lnTo>
                      <a:pt x="225" y="225"/>
                    </a:lnTo>
                    <a:lnTo>
                      <a:pt x="208" y="229"/>
                    </a:lnTo>
                    <a:lnTo>
                      <a:pt x="189" y="234"/>
                    </a:lnTo>
                    <a:lnTo>
                      <a:pt x="170" y="236"/>
                    </a:lnTo>
                    <a:lnTo>
                      <a:pt x="154" y="241"/>
                    </a:lnTo>
                    <a:lnTo>
                      <a:pt x="135" y="246"/>
                    </a:lnTo>
                    <a:lnTo>
                      <a:pt x="116" y="251"/>
                    </a:lnTo>
                    <a:lnTo>
                      <a:pt x="116" y="255"/>
                    </a:lnTo>
                    <a:lnTo>
                      <a:pt x="111" y="258"/>
                    </a:lnTo>
                    <a:lnTo>
                      <a:pt x="109" y="253"/>
                    </a:lnTo>
                    <a:lnTo>
                      <a:pt x="97" y="255"/>
                    </a:lnTo>
                    <a:lnTo>
                      <a:pt x="83" y="258"/>
                    </a:lnTo>
                    <a:lnTo>
                      <a:pt x="71" y="260"/>
                    </a:lnTo>
                    <a:lnTo>
                      <a:pt x="57" y="265"/>
                    </a:lnTo>
                    <a:lnTo>
                      <a:pt x="45" y="267"/>
                    </a:lnTo>
                    <a:lnTo>
                      <a:pt x="31" y="269"/>
                    </a:lnTo>
                    <a:lnTo>
                      <a:pt x="19" y="272"/>
                    </a:lnTo>
                    <a:lnTo>
                      <a:pt x="5" y="274"/>
                    </a:lnTo>
                    <a:lnTo>
                      <a:pt x="0" y="272"/>
                    </a:lnTo>
                    <a:lnTo>
                      <a:pt x="0" y="253"/>
                    </a:lnTo>
                    <a:lnTo>
                      <a:pt x="0" y="234"/>
                    </a:lnTo>
                    <a:lnTo>
                      <a:pt x="2" y="215"/>
                    </a:lnTo>
                    <a:lnTo>
                      <a:pt x="2" y="199"/>
                    </a:lnTo>
                    <a:lnTo>
                      <a:pt x="2" y="180"/>
                    </a:lnTo>
                    <a:lnTo>
                      <a:pt x="2" y="161"/>
                    </a:lnTo>
                    <a:lnTo>
                      <a:pt x="2" y="142"/>
                    </a:lnTo>
                    <a:lnTo>
                      <a:pt x="2" y="123"/>
                    </a:lnTo>
                    <a:lnTo>
                      <a:pt x="19" y="120"/>
                    </a:lnTo>
                    <a:lnTo>
                      <a:pt x="33" y="118"/>
                    </a:lnTo>
                    <a:lnTo>
                      <a:pt x="47" y="113"/>
                    </a:lnTo>
                    <a:lnTo>
                      <a:pt x="64" y="111"/>
                    </a:lnTo>
                    <a:lnTo>
                      <a:pt x="78" y="109"/>
                    </a:lnTo>
                    <a:lnTo>
                      <a:pt x="92" y="104"/>
                    </a:lnTo>
                    <a:lnTo>
                      <a:pt x="109" y="102"/>
                    </a:lnTo>
                    <a:lnTo>
                      <a:pt x="123" y="97"/>
                    </a:lnTo>
                    <a:lnTo>
                      <a:pt x="144" y="92"/>
                    </a:lnTo>
                    <a:lnTo>
                      <a:pt x="165" y="87"/>
                    </a:lnTo>
                    <a:lnTo>
                      <a:pt x="187" y="83"/>
                    </a:lnTo>
                    <a:lnTo>
                      <a:pt x="208" y="78"/>
                    </a:lnTo>
                    <a:lnTo>
                      <a:pt x="229" y="73"/>
                    </a:lnTo>
                    <a:lnTo>
                      <a:pt x="253" y="68"/>
                    </a:lnTo>
                    <a:lnTo>
                      <a:pt x="274" y="61"/>
                    </a:lnTo>
                    <a:lnTo>
                      <a:pt x="295" y="57"/>
                    </a:lnTo>
                    <a:lnTo>
                      <a:pt x="307" y="47"/>
                    </a:lnTo>
                    <a:lnTo>
                      <a:pt x="317" y="28"/>
                    </a:lnTo>
                    <a:lnTo>
                      <a:pt x="326" y="21"/>
                    </a:lnTo>
                    <a:lnTo>
                      <a:pt x="338" y="7"/>
                    </a:lnTo>
                    <a:lnTo>
                      <a:pt x="345" y="5"/>
                    </a:lnTo>
                    <a:lnTo>
                      <a:pt x="364" y="0"/>
                    </a:lnTo>
                    <a:close/>
                    <a:moveTo>
                      <a:pt x="494" y="291"/>
                    </a:moveTo>
                    <a:lnTo>
                      <a:pt x="456" y="312"/>
                    </a:lnTo>
                    <a:lnTo>
                      <a:pt x="447" y="307"/>
                    </a:lnTo>
                    <a:lnTo>
                      <a:pt x="456" y="303"/>
                    </a:lnTo>
                    <a:lnTo>
                      <a:pt x="466" y="284"/>
                    </a:lnTo>
                    <a:lnTo>
                      <a:pt x="473" y="279"/>
                    </a:lnTo>
                    <a:lnTo>
                      <a:pt x="489" y="284"/>
                    </a:lnTo>
                    <a:lnTo>
                      <a:pt x="494" y="291"/>
                    </a:lnTo>
                    <a:close/>
                    <a:moveTo>
                      <a:pt x="581" y="288"/>
                    </a:moveTo>
                    <a:lnTo>
                      <a:pt x="572" y="295"/>
                    </a:lnTo>
                    <a:lnTo>
                      <a:pt x="541" y="295"/>
                    </a:lnTo>
                    <a:lnTo>
                      <a:pt x="563" y="284"/>
                    </a:lnTo>
                    <a:lnTo>
                      <a:pt x="565" y="281"/>
                    </a:lnTo>
                    <a:lnTo>
                      <a:pt x="565" y="269"/>
                    </a:lnTo>
                    <a:lnTo>
                      <a:pt x="565" y="265"/>
                    </a:lnTo>
                    <a:lnTo>
                      <a:pt x="579" y="284"/>
                    </a:lnTo>
                    <a:lnTo>
                      <a:pt x="581" y="28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24" name="Freeform 62">
                <a:extLst>
                  <a:ext uri="{FF2B5EF4-FFF2-40B4-BE49-F238E27FC236}">
                    <a16:creationId xmlns:a16="http://schemas.microsoft.com/office/drawing/2014/main" id="{3BDC6C84-96AE-8814-9640-0F13E1791B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75" y="804"/>
                <a:ext cx="768" cy="362"/>
              </a:xfrm>
              <a:custGeom>
                <a:avLst/>
                <a:gdLst>
                  <a:gd name="T0" fmla="*/ 615 w 768"/>
                  <a:gd name="T1" fmla="*/ 97 h 362"/>
                  <a:gd name="T2" fmla="*/ 650 w 768"/>
                  <a:gd name="T3" fmla="*/ 227 h 362"/>
                  <a:gd name="T4" fmla="*/ 659 w 768"/>
                  <a:gd name="T5" fmla="*/ 258 h 362"/>
                  <a:gd name="T6" fmla="*/ 662 w 768"/>
                  <a:gd name="T7" fmla="*/ 258 h 362"/>
                  <a:gd name="T8" fmla="*/ 749 w 768"/>
                  <a:gd name="T9" fmla="*/ 236 h 362"/>
                  <a:gd name="T10" fmla="*/ 763 w 768"/>
                  <a:gd name="T11" fmla="*/ 253 h 362"/>
                  <a:gd name="T12" fmla="*/ 754 w 768"/>
                  <a:gd name="T13" fmla="*/ 251 h 362"/>
                  <a:gd name="T14" fmla="*/ 740 w 768"/>
                  <a:gd name="T15" fmla="*/ 310 h 362"/>
                  <a:gd name="T16" fmla="*/ 693 w 768"/>
                  <a:gd name="T17" fmla="*/ 348 h 362"/>
                  <a:gd name="T18" fmla="*/ 657 w 768"/>
                  <a:gd name="T19" fmla="*/ 350 h 362"/>
                  <a:gd name="T20" fmla="*/ 636 w 768"/>
                  <a:gd name="T21" fmla="*/ 324 h 362"/>
                  <a:gd name="T22" fmla="*/ 638 w 768"/>
                  <a:gd name="T23" fmla="*/ 281 h 362"/>
                  <a:gd name="T24" fmla="*/ 619 w 768"/>
                  <a:gd name="T25" fmla="*/ 293 h 362"/>
                  <a:gd name="T26" fmla="*/ 598 w 768"/>
                  <a:gd name="T27" fmla="*/ 300 h 362"/>
                  <a:gd name="T28" fmla="*/ 563 w 768"/>
                  <a:gd name="T29" fmla="*/ 248 h 362"/>
                  <a:gd name="T30" fmla="*/ 600 w 768"/>
                  <a:gd name="T31" fmla="*/ 234 h 362"/>
                  <a:gd name="T32" fmla="*/ 553 w 768"/>
                  <a:gd name="T33" fmla="*/ 213 h 362"/>
                  <a:gd name="T34" fmla="*/ 555 w 768"/>
                  <a:gd name="T35" fmla="*/ 201 h 362"/>
                  <a:gd name="T36" fmla="*/ 537 w 768"/>
                  <a:gd name="T37" fmla="*/ 187 h 362"/>
                  <a:gd name="T38" fmla="*/ 558 w 768"/>
                  <a:gd name="T39" fmla="*/ 165 h 362"/>
                  <a:gd name="T40" fmla="*/ 539 w 768"/>
                  <a:gd name="T41" fmla="*/ 125 h 362"/>
                  <a:gd name="T42" fmla="*/ 589 w 768"/>
                  <a:gd name="T43" fmla="*/ 76 h 362"/>
                  <a:gd name="T44" fmla="*/ 579 w 768"/>
                  <a:gd name="T45" fmla="*/ 57 h 362"/>
                  <a:gd name="T46" fmla="*/ 560 w 768"/>
                  <a:gd name="T47" fmla="*/ 40 h 362"/>
                  <a:gd name="T48" fmla="*/ 551 w 768"/>
                  <a:gd name="T49" fmla="*/ 71 h 362"/>
                  <a:gd name="T50" fmla="*/ 527 w 768"/>
                  <a:gd name="T51" fmla="*/ 76 h 362"/>
                  <a:gd name="T52" fmla="*/ 513 w 768"/>
                  <a:gd name="T53" fmla="*/ 90 h 362"/>
                  <a:gd name="T54" fmla="*/ 511 w 768"/>
                  <a:gd name="T55" fmla="*/ 118 h 362"/>
                  <a:gd name="T56" fmla="*/ 501 w 768"/>
                  <a:gd name="T57" fmla="*/ 142 h 362"/>
                  <a:gd name="T58" fmla="*/ 496 w 768"/>
                  <a:gd name="T59" fmla="*/ 161 h 362"/>
                  <a:gd name="T60" fmla="*/ 508 w 768"/>
                  <a:gd name="T61" fmla="*/ 196 h 362"/>
                  <a:gd name="T62" fmla="*/ 527 w 768"/>
                  <a:gd name="T63" fmla="*/ 269 h 362"/>
                  <a:gd name="T64" fmla="*/ 544 w 768"/>
                  <a:gd name="T65" fmla="*/ 303 h 362"/>
                  <a:gd name="T66" fmla="*/ 499 w 768"/>
                  <a:gd name="T67" fmla="*/ 265 h 362"/>
                  <a:gd name="T68" fmla="*/ 553 w 768"/>
                  <a:gd name="T69" fmla="*/ 322 h 362"/>
                  <a:gd name="T70" fmla="*/ 560 w 768"/>
                  <a:gd name="T71" fmla="*/ 350 h 362"/>
                  <a:gd name="T72" fmla="*/ 475 w 768"/>
                  <a:gd name="T73" fmla="*/ 312 h 362"/>
                  <a:gd name="T74" fmla="*/ 454 w 768"/>
                  <a:gd name="T75" fmla="*/ 314 h 362"/>
                  <a:gd name="T76" fmla="*/ 414 w 768"/>
                  <a:gd name="T77" fmla="*/ 322 h 362"/>
                  <a:gd name="T78" fmla="*/ 430 w 768"/>
                  <a:gd name="T79" fmla="*/ 253 h 362"/>
                  <a:gd name="T80" fmla="*/ 442 w 768"/>
                  <a:gd name="T81" fmla="*/ 213 h 362"/>
                  <a:gd name="T82" fmla="*/ 397 w 768"/>
                  <a:gd name="T83" fmla="*/ 203 h 362"/>
                  <a:gd name="T84" fmla="*/ 338 w 768"/>
                  <a:gd name="T85" fmla="*/ 173 h 362"/>
                  <a:gd name="T86" fmla="*/ 295 w 768"/>
                  <a:gd name="T87" fmla="*/ 144 h 362"/>
                  <a:gd name="T88" fmla="*/ 281 w 768"/>
                  <a:gd name="T89" fmla="*/ 128 h 362"/>
                  <a:gd name="T90" fmla="*/ 267 w 768"/>
                  <a:gd name="T91" fmla="*/ 106 h 362"/>
                  <a:gd name="T92" fmla="*/ 248 w 768"/>
                  <a:gd name="T93" fmla="*/ 97 h 362"/>
                  <a:gd name="T94" fmla="*/ 187 w 768"/>
                  <a:gd name="T95" fmla="*/ 102 h 362"/>
                  <a:gd name="T96" fmla="*/ 165 w 768"/>
                  <a:gd name="T97" fmla="*/ 130 h 362"/>
                  <a:gd name="T98" fmla="*/ 123 w 768"/>
                  <a:gd name="T99" fmla="*/ 128 h 362"/>
                  <a:gd name="T100" fmla="*/ 116 w 768"/>
                  <a:gd name="T101" fmla="*/ 121 h 362"/>
                  <a:gd name="T102" fmla="*/ 78 w 768"/>
                  <a:gd name="T103" fmla="*/ 158 h 362"/>
                  <a:gd name="T104" fmla="*/ 19 w 768"/>
                  <a:gd name="T105" fmla="*/ 227 h 362"/>
                  <a:gd name="T106" fmla="*/ 0 w 768"/>
                  <a:gd name="T107" fmla="*/ 121 h 362"/>
                  <a:gd name="T108" fmla="*/ 147 w 768"/>
                  <a:gd name="T109" fmla="*/ 92 h 362"/>
                  <a:gd name="T110" fmla="*/ 295 w 768"/>
                  <a:gd name="T111" fmla="*/ 64 h 362"/>
                  <a:gd name="T112" fmla="*/ 442 w 768"/>
                  <a:gd name="T113" fmla="*/ 33 h 362"/>
                  <a:gd name="T114" fmla="*/ 586 w 768"/>
                  <a:gd name="T115" fmla="*/ 0 h 362"/>
                  <a:gd name="T116" fmla="*/ 761 w 768"/>
                  <a:gd name="T117" fmla="*/ 281 h 362"/>
                  <a:gd name="T118" fmla="*/ 756 w 768"/>
                  <a:gd name="T119" fmla="*/ 324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68" h="362">
                    <a:moveTo>
                      <a:pt x="586" y="0"/>
                    </a:moveTo>
                    <a:lnTo>
                      <a:pt x="596" y="33"/>
                    </a:lnTo>
                    <a:lnTo>
                      <a:pt x="605" y="66"/>
                    </a:lnTo>
                    <a:lnTo>
                      <a:pt x="615" y="97"/>
                    </a:lnTo>
                    <a:lnTo>
                      <a:pt x="622" y="130"/>
                    </a:lnTo>
                    <a:lnTo>
                      <a:pt x="631" y="161"/>
                    </a:lnTo>
                    <a:lnTo>
                      <a:pt x="641" y="194"/>
                    </a:lnTo>
                    <a:lnTo>
                      <a:pt x="650" y="227"/>
                    </a:lnTo>
                    <a:lnTo>
                      <a:pt x="657" y="258"/>
                    </a:lnTo>
                    <a:lnTo>
                      <a:pt x="659" y="258"/>
                    </a:lnTo>
                    <a:lnTo>
                      <a:pt x="659" y="258"/>
                    </a:lnTo>
                    <a:lnTo>
                      <a:pt x="659" y="258"/>
                    </a:lnTo>
                    <a:lnTo>
                      <a:pt x="659" y="258"/>
                    </a:lnTo>
                    <a:lnTo>
                      <a:pt x="659" y="258"/>
                    </a:lnTo>
                    <a:lnTo>
                      <a:pt x="659" y="258"/>
                    </a:lnTo>
                    <a:lnTo>
                      <a:pt x="662" y="258"/>
                    </a:lnTo>
                    <a:lnTo>
                      <a:pt x="662" y="258"/>
                    </a:lnTo>
                    <a:lnTo>
                      <a:pt x="678" y="253"/>
                    </a:lnTo>
                    <a:lnTo>
                      <a:pt x="714" y="246"/>
                    </a:lnTo>
                    <a:lnTo>
                      <a:pt x="749" y="236"/>
                    </a:lnTo>
                    <a:lnTo>
                      <a:pt x="766" y="234"/>
                    </a:lnTo>
                    <a:lnTo>
                      <a:pt x="768" y="239"/>
                    </a:lnTo>
                    <a:lnTo>
                      <a:pt x="768" y="248"/>
                    </a:lnTo>
                    <a:lnTo>
                      <a:pt x="763" y="253"/>
                    </a:lnTo>
                    <a:lnTo>
                      <a:pt x="763" y="243"/>
                    </a:lnTo>
                    <a:lnTo>
                      <a:pt x="759" y="241"/>
                    </a:lnTo>
                    <a:lnTo>
                      <a:pt x="756" y="246"/>
                    </a:lnTo>
                    <a:lnTo>
                      <a:pt x="754" y="251"/>
                    </a:lnTo>
                    <a:lnTo>
                      <a:pt x="756" y="269"/>
                    </a:lnTo>
                    <a:lnTo>
                      <a:pt x="756" y="279"/>
                    </a:lnTo>
                    <a:lnTo>
                      <a:pt x="747" y="284"/>
                    </a:lnTo>
                    <a:lnTo>
                      <a:pt x="740" y="310"/>
                    </a:lnTo>
                    <a:lnTo>
                      <a:pt x="733" y="324"/>
                    </a:lnTo>
                    <a:lnTo>
                      <a:pt x="733" y="333"/>
                    </a:lnTo>
                    <a:lnTo>
                      <a:pt x="716" y="340"/>
                    </a:lnTo>
                    <a:lnTo>
                      <a:pt x="693" y="348"/>
                    </a:lnTo>
                    <a:lnTo>
                      <a:pt x="690" y="359"/>
                    </a:lnTo>
                    <a:lnTo>
                      <a:pt x="676" y="357"/>
                    </a:lnTo>
                    <a:lnTo>
                      <a:pt x="657" y="362"/>
                    </a:lnTo>
                    <a:lnTo>
                      <a:pt x="657" y="350"/>
                    </a:lnTo>
                    <a:lnTo>
                      <a:pt x="662" y="336"/>
                    </a:lnTo>
                    <a:lnTo>
                      <a:pt x="648" y="329"/>
                    </a:lnTo>
                    <a:lnTo>
                      <a:pt x="643" y="329"/>
                    </a:lnTo>
                    <a:lnTo>
                      <a:pt x="636" y="324"/>
                    </a:lnTo>
                    <a:lnTo>
                      <a:pt x="641" y="314"/>
                    </a:lnTo>
                    <a:lnTo>
                      <a:pt x="643" y="303"/>
                    </a:lnTo>
                    <a:lnTo>
                      <a:pt x="638" y="293"/>
                    </a:lnTo>
                    <a:lnTo>
                      <a:pt x="638" y="281"/>
                    </a:lnTo>
                    <a:lnTo>
                      <a:pt x="633" y="286"/>
                    </a:lnTo>
                    <a:lnTo>
                      <a:pt x="629" y="296"/>
                    </a:lnTo>
                    <a:lnTo>
                      <a:pt x="624" y="300"/>
                    </a:lnTo>
                    <a:lnTo>
                      <a:pt x="619" y="293"/>
                    </a:lnTo>
                    <a:lnTo>
                      <a:pt x="617" y="296"/>
                    </a:lnTo>
                    <a:lnTo>
                      <a:pt x="615" y="303"/>
                    </a:lnTo>
                    <a:lnTo>
                      <a:pt x="610" y="307"/>
                    </a:lnTo>
                    <a:lnTo>
                      <a:pt x="598" y="300"/>
                    </a:lnTo>
                    <a:lnTo>
                      <a:pt x="581" y="296"/>
                    </a:lnTo>
                    <a:lnTo>
                      <a:pt x="570" y="281"/>
                    </a:lnTo>
                    <a:lnTo>
                      <a:pt x="563" y="272"/>
                    </a:lnTo>
                    <a:lnTo>
                      <a:pt x="563" y="248"/>
                    </a:lnTo>
                    <a:lnTo>
                      <a:pt x="572" y="241"/>
                    </a:lnTo>
                    <a:lnTo>
                      <a:pt x="586" y="243"/>
                    </a:lnTo>
                    <a:lnTo>
                      <a:pt x="605" y="239"/>
                    </a:lnTo>
                    <a:lnTo>
                      <a:pt x="600" y="234"/>
                    </a:lnTo>
                    <a:lnTo>
                      <a:pt x="593" y="236"/>
                    </a:lnTo>
                    <a:lnTo>
                      <a:pt x="572" y="222"/>
                    </a:lnTo>
                    <a:lnTo>
                      <a:pt x="563" y="213"/>
                    </a:lnTo>
                    <a:lnTo>
                      <a:pt x="553" y="213"/>
                    </a:lnTo>
                    <a:lnTo>
                      <a:pt x="548" y="225"/>
                    </a:lnTo>
                    <a:lnTo>
                      <a:pt x="544" y="229"/>
                    </a:lnTo>
                    <a:lnTo>
                      <a:pt x="546" y="206"/>
                    </a:lnTo>
                    <a:lnTo>
                      <a:pt x="555" y="201"/>
                    </a:lnTo>
                    <a:lnTo>
                      <a:pt x="565" y="194"/>
                    </a:lnTo>
                    <a:lnTo>
                      <a:pt x="560" y="180"/>
                    </a:lnTo>
                    <a:lnTo>
                      <a:pt x="551" y="177"/>
                    </a:lnTo>
                    <a:lnTo>
                      <a:pt x="537" y="187"/>
                    </a:lnTo>
                    <a:lnTo>
                      <a:pt x="537" y="177"/>
                    </a:lnTo>
                    <a:lnTo>
                      <a:pt x="537" y="165"/>
                    </a:lnTo>
                    <a:lnTo>
                      <a:pt x="546" y="163"/>
                    </a:lnTo>
                    <a:lnTo>
                      <a:pt x="558" y="165"/>
                    </a:lnTo>
                    <a:lnTo>
                      <a:pt x="560" y="144"/>
                    </a:lnTo>
                    <a:lnTo>
                      <a:pt x="560" y="137"/>
                    </a:lnTo>
                    <a:lnTo>
                      <a:pt x="548" y="151"/>
                    </a:lnTo>
                    <a:lnTo>
                      <a:pt x="539" y="125"/>
                    </a:lnTo>
                    <a:lnTo>
                      <a:pt x="548" y="97"/>
                    </a:lnTo>
                    <a:lnTo>
                      <a:pt x="558" y="83"/>
                    </a:lnTo>
                    <a:lnTo>
                      <a:pt x="574" y="80"/>
                    </a:lnTo>
                    <a:lnTo>
                      <a:pt x="589" y="76"/>
                    </a:lnTo>
                    <a:lnTo>
                      <a:pt x="577" y="73"/>
                    </a:lnTo>
                    <a:lnTo>
                      <a:pt x="567" y="73"/>
                    </a:lnTo>
                    <a:lnTo>
                      <a:pt x="572" y="61"/>
                    </a:lnTo>
                    <a:lnTo>
                      <a:pt x="579" y="57"/>
                    </a:lnTo>
                    <a:lnTo>
                      <a:pt x="584" y="47"/>
                    </a:lnTo>
                    <a:lnTo>
                      <a:pt x="567" y="52"/>
                    </a:lnTo>
                    <a:lnTo>
                      <a:pt x="565" y="35"/>
                    </a:lnTo>
                    <a:lnTo>
                      <a:pt x="560" y="40"/>
                    </a:lnTo>
                    <a:lnTo>
                      <a:pt x="551" y="43"/>
                    </a:lnTo>
                    <a:lnTo>
                      <a:pt x="548" y="52"/>
                    </a:lnTo>
                    <a:lnTo>
                      <a:pt x="551" y="64"/>
                    </a:lnTo>
                    <a:lnTo>
                      <a:pt x="551" y="71"/>
                    </a:lnTo>
                    <a:lnTo>
                      <a:pt x="546" y="78"/>
                    </a:lnTo>
                    <a:lnTo>
                      <a:pt x="534" y="85"/>
                    </a:lnTo>
                    <a:lnTo>
                      <a:pt x="532" y="78"/>
                    </a:lnTo>
                    <a:lnTo>
                      <a:pt x="527" y="76"/>
                    </a:lnTo>
                    <a:lnTo>
                      <a:pt x="529" y="92"/>
                    </a:lnTo>
                    <a:lnTo>
                      <a:pt x="527" y="99"/>
                    </a:lnTo>
                    <a:lnTo>
                      <a:pt x="515" y="85"/>
                    </a:lnTo>
                    <a:lnTo>
                      <a:pt x="513" y="90"/>
                    </a:lnTo>
                    <a:lnTo>
                      <a:pt x="515" y="95"/>
                    </a:lnTo>
                    <a:lnTo>
                      <a:pt x="515" y="102"/>
                    </a:lnTo>
                    <a:lnTo>
                      <a:pt x="508" y="109"/>
                    </a:lnTo>
                    <a:lnTo>
                      <a:pt x="511" y="118"/>
                    </a:lnTo>
                    <a:lnTo>
                      <a:pt x="508" y="125"/>
                    </a:lnTo>
                    <a:lnTo>
                      <a:pt x="482" y="121"/>
                    </a:lnTo>
                    <a:lnTo>
                      <a:pt x="482" y="125"/>
                    </a:lnTo>
                    <a:lnTo>
                      <a:pt x="501" y="142"/>
                    </a:lnTo>
                    <a:lnTo>
                      <a:pt x="513" y="147"/>
                    </a:lnTo>
                    <a:lnTo>
                      <a:pt x="515" y="156"/>
                    </a:lnTo>
                    <a:lnTo>
                      <a:pt x="508" y="168"/>
                    </a:lnTo>
                    <a:lnTo>
                      <a:pt x="496" y="161"/>
                    </a:lnTo>
                    <a:lnTo>
                      <a:pt x="494" y="163"/>
                    </a:lnTo>
                    <a:lnTo>
                      <a:pt x="503" y="175"/>
                    </a:lnTo>
                    <a:lnTo>
                      <a:pt x="511" y="184"/>
                    </a:lnTo>
                    <a:lnTo>
                      <a:pt x="508" y="196"/>
                    </a:lnTo>
                    <a:lnTo>
                      <a:pt x="511" y="208"/>
                    </a:lnTo>
                    <a:lnTo>
                      <a:pt x="513" y="217"/>
                    </a:lnTo>
                    <a:lnTo>
                      <a:pt x="513" y="229"/>
                    </a:lnTo>
                    <a:lnTo>
                      <a:pt x="527" y="269"/>
                    </a:lnTo>
                    <a:lnTo>
                      <a:pt x="537" y="281"/>
                    </a:lnTo>
                    <a:lnTo>
                      <a:pt x="546" y="291"/>
                    </a:lnTo>
                    <a:lnTo>
                      <a:pt x="551" y="300"/>
                    </a:lnTo>
                    <a:lnTo>
                      <a:pt x="544" y="303"/>
                    </a:lnTo>
                    <a:lnTo>
                      <a:pt x="532" y="298"/>
                    </a:lnTo>
                    <a:lnTo>
                      <a:pt x="520" y="293"/>
                    </a:lnTo>
                    <a:lnTo>
                      <a:pt x="503" y="274"/>
                    </a:lnTo>
                    <a:lnTo>
                      <a:pt x="499" y="265"/>
                    </a:lnTo>
                    <a:lnTo>
                      <a:pt x="494" y="260"/>
                    </a:lnTo>
                    <a:lnTo>
                      <a:pt x="499" y="274"/>
                    </a:lnTo>
                    <a:lnTo>
                      <a:pt x="508" y="291"/>
                    </a:lnTo>
                    <a:lnTo>
                      <a:pt x="553" y="322"/>
                    </a:lnTo>
                    <a:lnTo>
                      <a:pt x="565" y="333"/>
                    </a:lnTo>
                    <a:lnTo>
                      <a:pt x="572" y="345"/>
                    </a:lnTo>
                    <a:lnTo>
                      <a:pt x="572" y="355"/>
                    </a:lnTo>
                    <a:lnTo>
                      <a:pt x="560" y="350"/>
                    </a:lnTo>
                    <a:lnTo>
                      <a:pt x="551" y="343"/>
                    </a:lnTo>
                    <a:lnTo>
                      <a:pt x="525" y="336"/>
                    </a:lnTo>
                    <a:lnTo>
                      <a:pt x="496" y="336"/>
                    </a:lnTo>
                    <a:lnTo>
                      <a:pt x="475" y="312"/>
                    </a:lnTo>
                    <a:lnTo>
                      <a:pt x="477" y="324"/>
                    </a:lnTo>
                    <a:lnTo>
                      <a:pt x="475" y="333"/>
                    </a:lnTo>
                    <a:lnTo>
                      <a:pt x="463" y="324"/>
                    </a:lnTo>
                    <a:lnTo>
                      <a:pt x="454" y="314"/>
                    </a:lnTo>
                    <a:lnTo>
                      <a:pt x="449" y="305"/>
                    </a:lnTo>
                    <a:lnTo>
                      <a:pt x="437" y="307"/>
                    </a:lnTo>
                    <a:lnTo>
                      <a:pt x="428" y="322"/>
                    </a:lnTo>
                    <a:lnTo>
                      <a:pt x="414" y="322"/>
                    </a:lnTo>
                    <a:lnTo>
                      <a:pt x="409" y="303"/>
                    </a:lnTo>
                    <a:lnTo>
                      <a:pt x="411" y="293"/>
                    </a:lnTo>
                    <a:lnTo>
                      <a:pt x="418" y="267"/>
                    </a:lnTo>
                    <a:lnTo>
                      <a:pt x="430" y="253"/>
                    </a:lnTo>
                    <a:lnTo>
                      <a:pt x="433" y="236"/>
                    </a:lnTo>
                    <a:lnTo>
                      <a:pt x="425" y="215"/>
                    </a:lnTo>
                    <a:lnTo>
                      <a:pt x="430" y="232"/>
                    </a:lnTo>
                    <a:lnTo>
                      <a:pt x="442" y="213"/>
                    </a:lnTo>
                    <a:lnTo>
                      <a:pt x="430" y="201"/>
                    </a:lnTo>
                    <a:lnTo>
                      <a:pt x="418" y="189"/>
                    </a:lnTo>
                    <a:lnTo>
                      <a:pt x="409" y="206"/>
                    </a:lnTo>
                    <a:lnTo>
                      <a:pt x="397" y="203"/>
                    </a:lnTo>
                    <a:lnTo>
                      <a:pt x="376" y="189"/>
                    </a:lnTo>
                    <a:lnTo>
                      <a:pt x="345" y="184"/>
                    </a:lnTo>
                    <a:lnTo>
                      <a:pt x="338" y="180"/>
                    </a:lnTo>
                    <a:lnTo>
                      <a:pt x="338" y="173"/>
                    </a:lnTo>
                    <a:lnTo>
                      <a:pt x="340" y="161"/>
                    </a:lnTo>
                    <a:lnTo>
                      <a:pt x="329" y="154"/>
                    </a:lnTo>
                    <a:lnTo>
                      <a:pt x="305" y="149"/>
                    </a:lnTo>
                    <a:lnTo>
                      <a:pt x="295" y="144"/>
                    </a:lnTo>
                    <a:lnTo>
                      <a:pt x="293" y="142"/>
                    </a:lnTo>
                    <a:lnTo>
                      <a:pt x="291" y="132"/>
                    </a:lnTo>
                    <a:lnTo>
                      <a:pt x="286" y="128"/>
                    </a:lnTo>
                    <a:lnTo>
                      <a:pt x="281" y="128"/>
                    </a:lnTo>
                    <a:lnTo>
                      <a:pt x="279" y="123"/>
                    </a:lnTo>
                    <a:lnTo>
                      <a:pt x="281" y="116"/>
                    </a:lnTo>
                    <a:lnTo>
                      <a:pt x="277" y="111"/>
                    </a:lnTo>
                    <a:lnTo>
                      <a:pt x="267" y="106"/>
                    </a:lnTo>
                    <a:lnTo>
                      <a:pt x="262" y="102"/>
                    </a:lnTo>
                    <a:lnTo>
                      <a:pt x="265" y="97"/>
                    </a:lnTo>
                    <a:lnTo>
                      <a:pt x="260" y="95"/>
                    </a:lnTo>
                    <a:lnTo>
                      <a:pt x="248" y="97"/>
                    </a:lnTo>
                    <a:lnTo>
                      <a:pt x="236" y="95"/>
                    </a:lnTo>
                    <a:lnTo>
                      <a:pt x="222" y="87"/>
                    </a:lnTo>
                    <a:lnTo>
                      <a:pt x="208" y="87"/>
                    </a:lnTo>
                    <a:lnTo>
                      <a:pt x="187" y="102"/>
                    </a:lnTo>
                    <a:lnTo>
                      <a:pt x="175" y="109"/>
                    </a:lnTo>
                    <a:lnTo>
                      <a:pt x="170" y="113"/>
                    </a:lnTo>
                    <a:lnTo>
                      <a:pt x="170" y="125"/>
                    </a:lnTo>
                    <a:lnTo>
                      <a:pt x="165" y="130"/>
                    </a:lnTo>
                    <a:lnTo>
                      <a:pt x="151" y="132"/>
                    </a:lnTo>
                    <a:lnTo>
                      <a:pt x="149" y="132"/>
                    </a:lnTo>
                    <a:lnTo>
                      <a:pt x="135" y="132"/>
                    </a:lnTo>
                    <a:lnTo>
                      <a:pt x="123" y="128"/>
                    </a:lnTo>
                    <a:lnTo>
                      <a:pt x="121" y="125"/>
                    </a:lnTo>
                    <a:lnTo>
                      <a:pt x="121" y="121"/>
                    </a:lnTo>
                    <a:lnTo>
                      <a:pt x="118" y="118"/>
                    </a:lnTo>
                    <a:lnTo>
                      <a:pt x="116" y="121"/>
                    </a:lnTo>
                    <a:lnTo>
                      <a:pt x="113" y="123"/>
                    </a:lnTo>
                    <a:lnTo>
                      <a:pt x="111" y="132"/>
                    </a:lnTo>
                    <a:lnTo>
                      <a:pt x="92" y="161"/>
                    </a:lnTo>
                    <a:lnTo>
                      <a:pt x="78" y="158"/>
                    </a:lnTo>
                    <a:lnTo>
                      <a:pt x="73" y="158"/>
                    </a:lnTo>
                    <a:lnTo>
                      <a:pt x="45" y="201"/>
                    </a:lnTo>
                    <a:lnTo>
                      <a:pt x="35" y="208"/>
                    </a:lnTo>
                    <a:lnTo>
                      <a:pt x="19" y="227"/>
                    </a:lnTo>
                    <a:lnTo>
                      <a:pt x="14" y="201"/>
                    </a:lnTo>
                    <a:lnTo>
                      <a:pt x="9" y="173"/>
                    </a:lnTo>
                    <a:lnTo>
                      <a:pt x="5" y="147"/>
                    </a:lnTo>
                    <a:lnTo>
                      <a:pt x="0" y="121"/>
                    </a:lnTo>
                    <a:lnTo>
                      <a:pt x="38" y="113"/>
                    </a:lnTo>
                    <a:lnTo>
                      <a:pt x="73" y="106"/>
                    </a:lnTo>
                    <a:lnTo>
                      <a:pt x="111" y="99"/>
                    </a:lnTo>
                    <a:lnTo>
                      <a:pt x="147" y="92"/>
                    </a:lnTo>
                    <a:lnTo>
                      <a:pt x="184" y="85"/>
                    </a:lnTo>
                    <a:lnTo>
                      <a:pt x="222" y="78"/>
                    </a:lnTo>
                    <a:lnTo>
                      <a:pt x="258" y="71"/>
                    </a:lnTo>
                    <a:lnTo>
                      <a:pt x="295" y="64"/>
                    </a:lnTo>
                    <a:lnTo>
                      <a:pt x="331" y="57"/>
                    </a:lnTo>
                    <a:lnTo>
                      <a:pt x="369" y="47"/>
                    </a:lnTo>
                    <a:lnTo>
                      <a:pt x="404" y="40"/>
                    </a:lnTo>
                    <a:lnTo>
                      <a:pt x="442" y="33"/>
                    </a:lnTo>
                    <a:lnTo>
                      <a:pt x="477" y="24"/>
                    </a:lnTo>
                    <a:lnTo>
                      <a:pt x="515" y="16"/>
                    </a:lnTo>
                    <a:lnTo>
                      <a:pt x="551" y="9"/>
                    </a:lnTo>
                    <a:lnTo>
                      <a:pt x="586" y="0"/>
                    </a:lnTo>
                    <a:close/>
                    <a:moveTo>
                      <a:pt x="756" y="324"/>
                    </a:moveTo>
                    <a:lnTo>
                      <a:pt x="752" y="326"/>
                    </a:lnTo>
                    <a:lnTo>
                      <a:pt x="754" y="319"/>
                    </a:lnTo>
                    <a:lnTo>
                      <a:pt x="761" y="281"/>
                    </a:lnTo>
                    <a:lnTo>
                      <a:pt x="763" y="267"/>
                    </a:lnTo>
                    <a:lnTo>
                      <a:pt x="763" y="293"/>
                    </a:lnTo>
                    <a:lnTo>
                      <a:pt x="759" y="317"/>
                    </a:lnTo>
                    <a:lnTo>
                      <a:pt x="756" y="32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25" name="Freeform 63">
                <a:extLst>
                  <a:ext uri="{FF2B5EF4-FFF2-40B4-BE49-F238E27FC236}">
                    <a16:creationId xmlns:a16="http://schemas.microsoft.com/office/drawing/2014/main" id="{E157A388-321B-94D4-55B4-6EA963C848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84" y="-1050"/>
                <a:ext cx="615" cy="974"/>
              </a:xfrm>
              <a:custGeom>
                <a:avLst/>
                <a:gdLst>
                  <a:gd name="T0" fmla="*/ 187 w 615"/>
                  <a:gd name="T1" fmla="*/ 57 h 974"/>
                  <a:gd name="T2" fmla="*/ 246 w 615"/>
                  <a:gd name="T3" fmla="*/ 24 h 974"/>
                  <a:gd name="T4" fmla="*/ 277 w 615"/>
                  <a:gd name="T5" fmla="*/ 0 h 974"/>
                  <a:gd name="T6" fmla="*/ 362 w 615"/>
                  <a:gd name="T7" fmla="*/ 64 h 974"/>
                  <a:gd name="T8" fmla="*/ 402 w 615"/>
                  <a:gd name="T9" fmla="*/ 185 h 974"/>
                  <a:gd name="T10" fmla="*/ 433 w 615"/>
                  <a:gd name="T11" fmla="*/ 267 h 974"/>
                  <a:gd name="T12" fmla="*/ 438 w 615"/>
                  <a:gd name="T13" fmla="*/ 284 h 974"/>
                  <a:gd name="T14" fmla="*/ 440 w 615"/>
                  <a:gd name="T15" fmla="*/ 308 h 974"/>
                  <a:gd name="T16" fmla="*/ 459 w 615"/>
                  <a:gd name="T17" fmla="*/ 315 h 974"/>
                  <a:gd name="T18" fmla="*/ 492 w 615"/>
                  <a:gd name="T19" fmla="*/ 317 h 974"/>
                  <a:gd name="T20" fmla="*/ 504 w 615"/>
                  <a:gd name="T21" fmla="*/ 336 h 974"/>
                  <a:gd name="T22" fmla="*/ 511 w 615"/>
                  <a:gd name="T23" fmla="*/ 355 h 974"/>
                  <a:gd name="T24" fmla="*/ 518 w 615"/>
                  <a:gd name="T25" fmla="*/ 383 h 974"/>
                  <a:gd name="T26" fmla="*/ 546 w 615"/>
                  <a:gd name="T27" fmla="*/ 402 h 974"/>
                  <a:gd name="T28" fmla="*/ 561 w 615"/>
                  <a:gd name="T29" fmla="*/ 388 h 974"/>
                  <a:gd name="T30" fmla="*/ 582 w 615"/>
                  <a:gd name="T31" fmla="*/ 405 h 974"/>
                  <a:gd name="T32" fmla="*/ 610 w 615"/>
                  <a:gd name="T33" fmla="*/ 445 h 974"/>
                  <a:gd name="T34" fmla="*/ 570 w 615"/>
                  <a:gd name="T35" fmla="*/ 497 h 974"/>
                  <a:gd name="T36" fmla="*/ 537 w 615"/>
                  <a:gd name="T37" fmla="*/ 537 h 974"/>
                  <a:gd name="T38" fmla="*/ 509 w 615"/>
                  <a:gd name="T39" fmla="*/ 570 h 974"/>
                  <a:gd name="T40" fmla="*/ 492 w 615"/>
                  <a:gd name="T41" fmla="*/ 591 h 974"/>
                  <a:gd name="T42" fmla="*/ 461 w 615"/>
                  <a:gd name="T43" fmla="*/ 570 h 974"/>
                  <a:gd name="T44" fmla="*/ 442 w 615"/>
                  <a:gd name="T45" fmla="*/ 594 h 974"/>
                  <a:gd name="T46" fmla="*/ 423 w 615"/>
                  <a:gd name="T47" fmla="*/ 613 h 974"/>
                  <a:gd name="T48" fmla="*/ 416 w 615"/>
                  <a:gd name="T49" fmla="*/ 631 h 974"/>
                  <a:gd name="T50" fmla="*/ 393 w 615"/>
                  <a:gd name="T51" fmla="*/ 608 h 974"/>
                  <a:gd name="T52" fmla="*/ 381 w 615"/>
                  <a:gd name="T53" fmla="*/ 598 h 974"/>
                  <a:gd name="T54" fmla="*/ 357 w 615"/>
                  <a:gd name="T55" fmla="*/ 622 h 974"/>
                  <a:gd name="T56" fmla="*/ 355 w 615"/>
                  <a:gd name="T57" fmla="*/ 710 h 974"/>
                  <a:gd name="T58" fmla="*/ 315 w 615"/>
                  <a:gd name="T59" fmla="*/ 752 h 974"/>
                  <a:gd name="T60" fmla="*/ 298 w 615"/>
                  <a:gd name="T61" fmla="*/ 759 h 974"/>
                  <a:gd name="T62" fmla="*/ 279 w 615"/>
                  <a:gd name="T63" fmla="*/ 750 h 974"/>
                  <a:gd name="T64" fmla="*/ 267 w 615"/>
                  <a:gd name="T65" fmla="*/ 764 h 974"/>
                  <a:gd name="T66" fmla="*/ 267 w 615"/>
                  <a:gd name="T67" fmla="*/ 790 h 974"/>
                  <a:gd name="T68" fmla="*/ 246 w 615"/>
                  <a:gd name="T69" fmla="*/ 790 h 974"/>
                  <a:gd name="T70" fmla="*/ 213 w 615"/>
                  <a:gd name="T71" fmla="*/ 832 h 974"/>
                  <a:gd name="T72" fmla="*/ 194 w 615"/>
                  <a:gd name="T73" fmla="*/ 908 h 974"/>
                  <a:gd name="T74" fmla="*/ 161 w 615"/>
                  <a:gd name="T75" fmla="*/ 958 h 974"/>
                  <a:gd name="T76" fmla="*/ 121 w 615"/>
                  <a:gd name="T77" fmla="*/ 906 h 974"/>
                  <a:gd name="T78" fmla="*/ 95 w 615"/>
                  <a:gd name="T79" fmla="*/ 823 h 974"/>
                  <a:gd name="T80" fmla="*/ 67 w 615"/>
                  <a:gd name="T81" fmla="*/ 736 h 974"/>
                  <a:gd name="T82" fmla="*/ 36 w 615"/>
                  <a:gd name="T83" fmla="*/ 646 h 974"/>
                  <a:gd name="T84" fmla="*/ 5 w 615"/>
                  <a:gd name="T85" fmla="*/ 556 h 974"/>
                  <a:gd name="T86" fmla="*/ 15 w 615"/>
                  <a:gd name="T87" fmla="*/ 523 h 974"/>
                  <a:gd name="T88" fmla="*/ 33 w 615"/>
                  <a:gd name="T89" fmla="*/ 523 h 974"/>
                  <a:gd name="T90" fmla="*/ 45 w 615"/>
                  <a:gd name="T91" fmla="*/ 499 h 974"/>
                  <a:gd name="T92" fmla="*/ 41 w 615"/>
                  <a:gd name="T93" fmla="*/ 468 h 974"/>
                  <a:gd name="T94" fmla="*/ 67 w 615"/>
                  <a:gd name="T95" fmla="*/ 407 h 974"/>
                  <a:gd name="T96" fmla="*/ 71 w 615"/>
                  <a:gd name="T97" fmla="*/ 364 h 974"/>
                  <a:gd name="T98" fmla="*/ 67 w 615"/>
                  <a:gd name="T99" fmla="*/ 286 h 974"/>
                  <a:gd name="T100" fmla="*/ 81 w 615"/>
                  <a:gd name="T101" fmla="*/ 170 h 974"/>
                  <a:gd name="T102" fmla="*/ 121 w 615"/>
                  <a:gd name="T103" fmla="*/ 47 h 974"/>
                  <a:gd name="T104" fmla="*/ 159 w 615"/>
                  <a:gd name="T105" fmla="*/ 19 h 974"/>
                  <a:gd name="T106" fmla="*/ 468 w 615"/>
                  <a:gd name="T107" fmla="*/ 613 h 974"/>
                  <a:gd name="T108" fmla="*/ 449 w 615"/>
                  <a:gd name="T109" fmla="*/ 627 h 974"/>
                  <a:gd name="T110" fmla="*/ 452 w 615"/>
                  <a:gd name="T111" fmla="*/ 587 h 974"/>
                  <a:gd name="T112" fmla="*/ 421 w 615"/>
                  <a:gd name="T113" fmla="*/ 655 h 974"/>
                  <a:gd name="T114" fmla="*/ 407 w 615"/>
                  <a:gd name="T115" fmla="*/ 646 h 9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15" h="974">
                    <a:moveTo>
                      <a:pt x="166" y="45"/>
                    </a:moveTo>
                    <a:lnTo>
                      <a:pt x="168" y="50"/>
                    </a:lnTo>
                    <a:lnTo>
                      <a:pt x="178" y="55"/>
                    </a:lnTo>
                    <a:lnTo>
                      <a:pt x="187" y="57"/>
                    </a:lnTo>
                    <a:lnTo>
                      <a:pt x="194" y="57"/>
                    </a:lnTo>
                    <a:lnTo>
                      <a:pt x="204" y="55"/>
                    </a:lnTo>
                    <a:lnTo>
                      <a:pt x="223" y="38"/>
                    </a:lnTo>
                    <a:lnTo>
                      <a:pt x="246" y="24"/>
                    </a:lnTo>
                    <a:lnTo>
                      <a:pt x="258" y="12"/>
                    </a:lnTo>
                    <a:lnTo>
                      <a:pt x="260" y="5"/>
                    </a:lnTo>
                    <a:lnTo>
                      <a:pt x="265" y="3"/>
                    </a:lnTo>
                    <a:lnTo>
                      <a:pt x="277" y="0"/>
                    </a:lnTo>
                    <a:lnTo>
                      <a:pt x="301" y="10"/>
                    </a:lnTo>
                    <a:lnTo>
                      <a:pt x="329" y="24"/>
                    </a:lnTo>
                    <a:lnTo>
                      <a:pt x="353" y="36"/>
                    </a:lnTo>
                    <a:lnTo>
                      <a:pt x="362" y="64"/>
                    </a:lnTo>
                    <a:lnTo>
                      <a:pt x="374" y="95"/>
                    </a:lnTo>
                    <a:lnTo>
                      <a:pt x="383" y="128"/>
                    </a:lnTo>
                    <a:lnTo>
                      <a:pt x="393" y="152"/>
                    </a:lnTo>
                    <a:lnTo>
                      <a:pt x="402" y="185"/>
                    </a:lnTo>
                    <a:lnTo>
                      <a:pt x="412" y="211"/>
                    </a:lnTo>
                    <a:lnTo>
                      <a:pt x="423" y="244"/>
                    </a:lnTo>
                    <a:lnTo>
                      <a:pt x="428" y="263"/>
                    </a:lnTo>
                    <a:lnTo>
                      <a:pt x="433" y="267"/>
                    </a:lnTo>
                    <a:lnTo>
                      <a:pt x="433" y="274"/>
                    </a:lnTo>
                    <a:lnTo>
                      <a:pt x="435" y="279"/>
                    </a:lnTo>
                    <a:lnTo>
                      <a:pt x="435" y="282"/>
                    </a:lnTo>
                    <a:lnTo>
                      <a:pt x="438" y="284"/>
                    </a:lnTo>
                    <a:lnTo>
                      <a:pt x="440" y="289"/>
                    </a:lnTo>
                    <a:lnTo>
                      <a:pt x="438" y="293"/>
                    </a:lnTo>
                    <a:lnTo>
                      <a:pt x="438" y="300"/>
                    </a:lnTo>
                    <a:lnTo>
                      <a:pt x="440" y="308"/>
                    </a:lnTo>
                    <a:lnTo>
                      <a:pt x="445" y="312"/>
                    </a:lnTo>
                    <a:lnTo>
                      <a:pt x="449" y="315"/>
                    </a:lnTo>
                    <a:lnTo>
                      <a:pt x="454" y="312"/>
                    </a:lnTo>
                    <a:lnTo>
                      <a:pt x="459" y="315"/>
                    </a:lnTo>
                    <a:lnTo>
                      <a:pt x="466" y="319"/>
                    </a:lnTo>
                    <a:lnTo>
                      <a:pt x="478" y="319"/>
                    </a:lnTo>
                    <a:lnTo>
                      <a:pt x="487" y="319"/>
                    </a:lnTo>
                    <a:lnTo>
                      <a:pt x="492" y="317"/>
                    </a:lnTo>
                    <a:lnTo>
                      <a:pt x="501" y="317"/>
                    </a:lnTo>
                    <a:lnTo>
                      <a:pt x="506" y="324"/>
                    </a:lnTo>
                    <a:lnTo>
                      <a:pt x="506" y="331"/>
                    </a:lnTo>
                    <a:lnTo>
                      <a:pt x="504" y="336"/>
                    </a:lnTo>
                    <a:lnTo>
                      <a:pt x="499" y="341"/>
                    </a:lnTo>
                    <a:lnTo>
                      <a:pt x="501" y="345"/>
                    </a:lnTo>
                    <a:lnTo>
                      <a:pt x="506" y="350"/>
                    </a:lnTo>
                    <a:lnTo>
                      <a:pt x="511" y="355"/>
                    </a:lnTo>
                    <a:lnTo>
                      <a:pt x="516" y="362"/>
                    </a:lnTo>
                    <a:lnTo>
                      <a:pt x="518" y="369"/>
                    </a:lnTo>
                    <a:lnTo>
                      <a:pt x="516" y="376"/>
                    </a:lnTo>
                    <a:lnTo>
                      <a:pt x="518" y="383"/>
                    </a:lnTo>
                    <a:lnTo>
                      <a:pt x="523" y="388"/>
                    </a:lnTo>
                    <a:lnTo>
                      <a:pt x="532" y="395"/>
                    </a:lnTo>
                    <a:lnTo>
                      <a:pt x="539" y="400"/>
                    </a:lnTo>
                    <a:lnTo>
                      <a:pt x="546" y="402"/>
                    </a:lnTo>
                    <a:lnTo>
                      <a:pt x="551" y="397"/>
                    </a:lnTo>
                    <a:lnTo>
                      <a:pt x="551" y="393"/>
                    </a:lnTo>
                    <a:lnTo>
                      <a:pt x="553" y="388"/>
                    </a:lnTo>
                    <a:lnTo>
                      <a:pt x="561" y="388"/>
                    </a:lnTo>
                    <a:lnTo>
                      <a:pt x="565" y="390"/>
                    </a:lnTo>
                    <a:lnTo>
                      <a:pt x="572" y="390"/>
                    </a:lnTo>
                    <a:lnTo>
                      <a:pt x="575" y="395"/>
                    </a:lnTo>
                    <a:lnTo>
                      <a:pt x="582" y="405"/>
                    </a:lnTo>
                    <a:lnTo>
                      <a:pt x="591" y="423"/>
                    </a:lnTo>
                    <a:lnTo>
                      <a:pt x="589" y="435"/>
                    </a:lnTo>
                    <a:lnTo>
                      <a:pt x="596" y="447"/>
                    </a:lnTo>
                    <a:lnTo>
                      <a:pt x="610" y="445"/>
                    </a:lnTo>
                    <a:lnTo>
                      <a:pt x="613" y="447"/>
                    </a:lnTo>
                    <a:lnTo>
                      <a:pt x="615" y="452"/>
                    </a:lnTo>
                    <a:lnTo>
                      <a:pt x="596" y="492"/>
                    </a:lnTo>
                    <a:lnTo>
                      <a:pt x="570" y="497"/>
                    </a:lnTo>
                    <a:lnTo>
                      <a:pt x="561" y="509"/>
                    </a:lnTo>
                    <a:lnTo>
                      <a:pt x="546" y="516"/>
                    </a:lnTo>
                    <a:lnTo>
                      <a:pt x="544" y="530"/>
                    </a:lnTo>
                    <a:lnTo>
                      <a:pt x="537" y="537"/>
                    </a:lnTo>
                    <a:lnTo>
                      <a:pt x="527" y="539"/>
                    </a:lnTo>
                    <a:lnTo>
                      <a:pt x="516" y="537"/>
                    </a:lnTo>
                    <a:lnTo>
                      <a:pt x="511" y="542"/>
                    </a:lnTo>
                    <a:lnTo>
                      <a:pt x="509" y="570"/>
                    </a:lnTo>
                    <a:lnTo>
                      <a:pt x="499" y="570"/>
                    </a:lnTo>
                    <a:lnTo>
                      <a:pt x="499" y="579"/>
                    </a:lnTo>
                    <a:lnTo>
                      <a:pt x="497" y="584"/>
                    </a:lnTo>
                    <a:lnTo>
                      <a:pt x="492" y="591"/>
                    </a:lnTo>
                    <a:lnTo>
                      <a:pt x="483" y="582"/>
                    </a:lnTo>
                    <a:lnTo>
                      <a:pt x="475" y="572"/>
                    </a:lnTo>
                    <a:lnTo>
                      <a:pt x="471" y="572"/>
                    </a:lnTo>
                    <a:lnTo>
                      <a:pt x="461" y="570"/>
                    </a:lnTo>
                    <a:lnTo>
                      <a:pt x="457" y="572"/>
                    </a:lnTo>
                    <a:lnTo>
                      <a:pt x="452" y="577"/>
                    </a:lnTo>
                    <a:lnTo>
                      <a:pt x="447" y="584"/>
                    </a:lnTo>
                    <a:lnTo>
                      <a:pt x="442" y="594"/>
                    </a:lnTo>
                    <a:lnTo>
                      <a:pt x="433" y="589"/>
                    </a:lnTo>
                    <a:lnTo>
                      <a:pt x="426" y="584"/>
                    </a:lnTo>
                    <a:lnTo>
                      <a:pt x="426" y="598"/>
                    </a:lnTo>
                    <a:lnTo>
                      <a:pt x="423" y="613"/>
                    </a:lnTo>
                    <a:lnTo>
                      <a:pt x="431" y="627"/>
                    </a:lnTo>
                    <a:lnTo>
                      <a:pt x="431" y="639"/>
                    </a:lnTo>
                    <a:lnTo>
                      <a:pt x="423" y="636"/>
                    </a:lnTo>
                    <a:lnTo>
                      <a:pt x="416" y="631"/>
                    </a:lnTo>
                    <a:lnTo>
                      <a:pt x="397" y="629"/>
                    </a:lnTo>
                    <a:lnTo>
                      <a:pt x="386" y="634"/>
                    </a:lnTo>
                    <a:lnTo>
                      <a:pt x="386" y="624"/>
                    </a:lnTo>
                    <a:lnTo>
                      <a:pt x="393" y="608"/>
                    </a:lnTo>
                    <a:lnTo>
                      <a:pt x="388" y="608"/>
                    </a:lnTo>
                    <a:lnTo>
                      <a:pt x="383" y="610"/>
                    </a:lnTo>
                    <a:lnTo>
                      <a:pt x="381" y="610"/>
                    </a:lnTo>
                    <a:lnTo>
                      <a:pt x="381" y="598"/>
                    </a:lnTo>
                    <a:lnTo>
                      <a:pt x="376" y="584"/>
                    </a:lnTo>
                    <a:lnTo>
                      <a:pt x="374" y="591"/>
                    </a:lnTo>
                    <a:lnTo>
                      <a:pt x="371" y="605"/>
                    </a:lnTo>
                    <a:lnTo>
                      <a:pt x="357" y="622"/>
                    </a:lnTo>
                    <a:lnTo>
                      <a:pt x="362" y="639"/>
                    </a:lnTo>
                    <a:lnTo>
                      <a:pt x="357" y="679"/>
                    </a:lnTo>
                    <a:lnTo>
                      <a:pt x="362" y="695"/>
                    </a:lnTo>
                    <a:lnTo>
                      <a:pt x="355" y="710"/>
                    </a:lnTo>
                    <a:lnTo>
                      <a:pt x="345" y="724"/>
                    </a:lnTo>
                    <a:lnTo>
                      <a:pt x="329" y="726"/>
                    </a:lnTo>
                    <a:lnTo>
                      <a:pt x="317" y="738"/>
                    </a:lnTo>
                    <a:lnTo>
                      <a:pt x="315" y="752"/>
                    </a:lnTo>
                    <a:lnTo>
                      <a:pt x="308" y="754"/>
                    </a:lnTo>
                    <a:lnTo>
                      <a:pt x="301" y="743"/>
                    </a:lnTo>
                    <a:lnTo>
                      <a:pt x="298" y="738"/>
                    </a:lnTo>
                    <a:lnTo>
                      <a:pt x="298" y="759"/>
                    </a:lnTo>
                    <a:lnTo>
                      <a:pt x="293" y="762"/>
                    </a:lnTo>
                    <a:lnTo>
                      <a:pt x="289" y="750"/>
                    </a:lnTo>
                    <a:lnTo>
                      <a:pt x="284" y="740"/>
                    </a:lnTo>
                    <a:lnTo>
                      <a:pt x="279" y="750"/>
                    </a:lnTo>
                    <a:lnTo>
                      <a:pt x="282" y="773"/>
                    </a:lnTo>
                    <a:lnTo>
                      <a:pt x="275" y="773"/>
                    </a:lnTo>
                    <a:lnTo>
                      <a:pt x="272" y="766"/>
                    </a:lnTo>
                    <a:lnTo>
                      <a:pt x="267" y="764"/>
                    </a:lnTo>
                    <a:lnTo>
                      <a:pt x="270" y="773"/>
                    </a:lnTo>
                    <a:lnTo>
                      <a:pt x="275" y="785"/>
                    </a:lnTo>
                    <a:lnTo>
                      <a:pt x="275" y="792"/>
                    </a:lnTo>
                    <a:lnTo>
                      <a:pt x="267" y="790"/>
                    </a:lnTo>
                    <a:lnTo>
                      <a:pt x="263" y="785"/>
                    </a:lnTo>
                    <a:lnTo>
                      <a:pt x="256" y="792"/>
                    </a:lnTo>
                    <a:lnTo>
                      <a:pt x="249" y="797"/>
                    </a:lnTo>
                    <a:lnTo>
                      <a:pt x="246" y="790"/>
                    </a:lnTo>
                    <a:lnTo>
                      <a:pt x="246" y="783"/>
                    </a:lnTo>
                    <a:lnTo>
                      <a:pt x="232" y="790"/>
                    </a:lnTo>
                    <a:lnTo>
                      <a:pt x="220" y="809"/>
                    </a:lnTo>
                    <a:lnTo>
                      <a:pt x="213" y="832"/>
                    </a:lnTo>
                    <a:lnTo>
                      <a:pt x="218" y="835"/>
                    </a:lnTo>
                    <a:lnTo>
                      <a:pt x="225" y="840"/>
                    </a:lnTo>
                    <a:lnTo>
                      <a:pt x="211" y="875"/>
                    </a:lnTo>
                    <a:lnTo>
                      <a:pt x="194" y="908"/>
                    </a:lnTo>
                    <a:lnTo>
                      <a:pt x="189" y="958"/>
                    </a:lnTo>
                    <a:lnTo>
                      <a:pt x="182" y="965"/>
                    </a:lnTo>
                    <a:lnTo>
                      <a:pt x="178" y="974"/>
                    </a:lnTo>
                    <a:lnTo>
                      <a:pt x="161" y="958"/>
                    </a:lnTo>
                    <a:lnTo>
                      <a:pt x="154" y="944"/>
                    </a:lnTo>
                    <a:lnTo>
                      <a:pt x="135" y="929"/>
                    </a:lnTo>
                    <a:lnTo>
                      <a:pt x="128" y="920"/>
                    </a:lnTo>
                    <a:lnTo>
                      <a:pt x="121" y="906"/>
                    </a:lnTo>
                    <a:lnTo>
                      <a:pt x="119" y="889"/>
                    </a:lnTo>
                    <a:lnTo>
                      <a:pt x="111" y="868"/>
                    </a:lnTo>
                    <a:lnTo>
                      <a:pt x="104" y="847"/>
                    </a:lnTo>
                    <a:lnTo>
                      <a:pt x="95" y="823"/>
                    </a:lnTo>
                    <a:lnTo>
                      <a:pt x="88" y="802"/>
                    </a:lnTo>
                    <a:lnTo>
                      <a:pt x="81" y="778"/>
                    </a:lnTo>
                    <a:lnTo>
                      <a:pt x="74" y="757"/>
                    </a:lnTo>
                    <a:lnTo>
                      <a:pt x="67" y="736"/>
                    </a:lnTo>
                    <a:lnTo>
                      <a:pt x="59" y="712"/>
                    </a:lnTo>
                    <a:lnTo>
                      <a:pt x="50" y="691"/>
                    </a:lnTo>
                    <a:lnTo>
                      <a:pt x="43" y="667"/>
                    </a:lnTo>
                    <a:lnTo>
                      <a:pt x="36" y="646"/>
                    </a:lnTo>
                    <a:lnTo>
                      <a:pt x="29" y="624"/>
                    </a:lnTo>
                    <a:lnTo>
                      <a:pt x="22" y="601"/>
                    </a:lnTo>
                    <a:lnTo>
                      <a:pt x="15" y="579"/>
                    </a:lnTo>
                    <a:lnTo>
                      <a:pt x="5" y="556"/>
                    </a:lnTo>
                    <a:lnTo>
                      <a:pt x="0" y="537"/>
                    </a:lnTo>
                    <a:lnTo>
                      <a:pt x="3" y="532"/>
                    </a:lnTo>
                    <a:lnTo>
                      <a:pt x="10" y="525"/>
                    </a:lnTo>
                    <a:lnTo>
                      <a:pt x="15" y="523"/>
                    </a:lnTo>
                    <a:lnTo>
                      <a:pt x="22" y="532"/>
                    </a:lnTo>
                    <a:lnTo>
                      <a:pt x="29" y="537"/>
                    </a:lnTo>
                    <a:lnTo>
                      <a:pt x="33" y="532"/>
                    </a:lnTo>
                    <a:lnTo>
                      <a:pt x="33" y="523"/>
                    </a:lnTo>
                    <a:lnTo>
                      <a:pt x="31" y="513"/>
                    </a:lnTo>
                    <a:lnTo>
                      <a:pt x="33" y="504"/>
                    </a:lnTo>
                    <a:lnTo>
                      <a:pt x="41" y="499"/>
                    </a:lnTo>
                    <a:lnTo>
                      <a:pt x="45" y="499"/>
                    </a:lnTo>
                    <a:lnTo>
                      <a:pt x="48" y="494"/>
                    </a:lnTo>
                    <a:lnTo>
                      <a:pt x="45" y="487"/>
                    </a:lnTo>
                    <a:lnTo>
                      <a:pt x="41" y="480"/>
                    </a:lnTo>
                    <a:lnTo>
                      <a:pt x="41" y="468"/>
                    </a:lnTo>
                    <a:lnTo>
                      <a:pt x="50" y="445"/>
                    </a:lnTo>
                    <a:lnTo>
                      <a:pt x="64" y="428"/>
                    </a:lnTo>
                    <a:lnTo>
                      <a:pt x="69" y="419"/>
                    </a:lnTo>
                    <a:lnTo>
                      <a:pt x="67" y="407"/>
                    </a:lnTo>
                    <a:lnTo>
                      <a:pt x="74" y="390"/>
                    </a:lnTo>
                    <a:lnTo>
                      <a:pt x="76" y="381"/>
                    </a:lnTo>
                    <a:lnTo>
                      <a:pt x="76" y="374"/>
                    </a:lnTo>
                    <a:lnTo>
                      <a:pt x="71" y="364"/>
                    </a:lnTo>
                    <a:lnTo>
                      <a:pt x="67" y="350"/>
                    </a:lnTo>
                    <a:lnTo>
                      <a:pt x="64" y="329"/>
                    </a:lnTo>
                    <a:lnTo>
                      <a:pt x="62" y="308"/>
                    </a:lnTo>
                    <a:lnTo>
                      <a:pt x="67" y="286"/>
                    </a:lnTo>
                    <a:lnTo>
                      <a:pt x="76" y="263"/>
                    </a:lnTo>
                    <a:lnTo>
                      <a:pt x="74" y="234"/>
                    </a:lnTo>
                    <a:lnTo>
                      <a:pt x="69" y="204"/>
                    </a:lnTo>
                    <a:lnTo>
                      <a:pt x="81" y="170"/>
                    </a:lnTo>
                    <a:lnTo>
                      <a:pt x="93" y="135"/>
                    </a:lnTo>
                    <a:lnTo>
                      <a:pt x="100" y="114"/>
                    </a:lnTo>
                    <a:lnTo>
                      <a:pt x="111" y="73"/>
                    </a:lnTo>
                    <a:lnTo>
                      <a:pt x="121" y="47"/>
                    </a:lnTo>
                    <a:lnTo>
                      <a:pt x="126" y="33"/>
                    </a:lnTo>
                    <a:lnTo>
                      <a:pt x="130" y="19"/>
                    </a:lnTo>
                    <a:lnTo>
                      <a:pt x="145" y="19"/>
                    </a:lnTo>
                    <a:lnTo>
                      <a:pt x="159" y="19"/>
                    </a:lnTo>
                    <a:lnTo>
                      <a:pt x="163" y="38"/>
                    </a:lnTo>
                    <a:lnTo>
                      <a:pt x="166" y="45"/>
                    </a:lnTo>
                    <a:close/>
                    <a:moveTo>
                      <a:pt x="475" y="608"/>
                    </a:moveTo>
                    <a:lnTo>
                      <a:pt x="468" y="613"/>
                    </a:lnTo>
                    <a:lnTo>
                      <a:pt x="459" y="615"/>
                    </a:lnTo>
                    <a:lnTo>
                      <a:pt x="461" y="624"/>
                    </a:lnTo>
                    <a:lnTo>
                      <a:pt x="461" y="629"/>
                    </a:lnTo>
                    <a:lnTo>
                      <a:pt x="449" y="627"/>
                    </a:lnTo>
                    <a:lnTo>
                      <a:pt x="445" y="624"/>
                    </a:lnTo>
                    <a:lnTo>
                      <a:pt x="442" y="610"/>
                    </a:lnTo>
                    <a:lnTo>
                      <a:pt x="447" y="594"/>
                    </a:lnTo>
                    <a:lnTo>
                      <a:pt x="452" y="587"/>
                    </a:lnTo>
                    <a:lnTo>
                      <a:pt x="461" y="589"/>
                    </a:lnTo>
                    <a:lnTo>
                      <a:pt x="473" y="601"/>
                    </a:lnTo>
                    <a:lnTo>
                      <a:pt x="475" y="608"/>
                    </a:lnTo>
                    <a:close/>
                    <a:moveTo>
                      <a:pt x="421" y="655"/>
                    </a:moveTo>
                    <a:lnTo>
                      <a:pt x="416" y="660"/>
                    </a:lnTo>
                    <a:lnTo>
                      <a:pt x="409" y="660"/>
                    </a:lnTo>
                    <a:lnTo>
                      <a:pt x="407" y="650"/>
                    </a:lnTo>
                    <a:lnTo>
                      <a:pt x="407" y="646"/>
                    </a:lnTo>
                    <a:lnTo>
                      <a:pt x="409" y="643"/>
                    </a:lnTo>
                    <a:lnTo>
                      <a:pt x="414" y="646"/>
                    </a:lnTo>
                    <a:lnTo>
                      <a:pt x="421" y="65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26" name="Freeform 64">
                <a:extLst>
                  <a:ext uri="{FF2B5EF4-FFF2-40B4-BE49-F238E27FC236}">
                    <a16:creationId xmlns:a16="http://schemas.microsoft.com/office/drawing/2014/main" id="{A99F4B6B-4EFE-F332-7B02-C13CB76CA6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7" y="-662"/>
                <a:ext cx="1274" cy="1329"/>
              </a:xfrm>
              <a:custGeom>
                <a:avLst/>
                <a:gdLst>
                  <a:gd name="T0" fmla="*/ 160 w 1274"/>
                  <a:gd name="T1" fmla="*/ 66 h 1329"/>
                  <a:gd name="T2" fmla="*/ 238 w 1274"/>
                  <a:gd name="T3" fmla="*/ 19 h 1329"/>
                  <a:gd name="T4" fmla="*/ 278 w 1274"/>
                  <a:gd name="T5" fmla="*/ 246 h 1329"/>
                  <a:gd name="T6" fmla="*/ 278 w 1274"/>
                  <a:gd name="T7" fmla="*/ 222 h 1329"/>
                  <a:gd name="T8" fmla="*/ 364 w 1274"/>
                  <a:gd name="T9" fmla="*/ 142 h 1329"/>
                  <a:gd name="T10" fmla="*/ 888 w 1274"/>
                  <a:gd name="T11" fmla="*/ 293 h 1329"/>
                  <a:gd name="T12" fmla="*/ 928 w 1274"/>
                  <a:gd name="T13" fmla="*/ 355 h 1329"/>
                  <a:gd name="T14" fmla="*/ 952 w 1274"/>
                  <a:gd name="T15" fmla="*/ 397 h 1329"/>
                  <a:gd name="T16" fmla="*/ 855 w 1274"/>
                  <a:gd name="T17" fmla="*/ 390 h 1329"/>
                  <a:gd name="T18" fmla="*/ 808 w 1274"/>
                  <a:gd name="T19" fmla="*/ 411 h 1329"/>
                  <a:gd name="T20" fmla="*/ 671 w 1274"/>
                  <a:gd name="T21" fmla="*/ 437 h 1329"/>
                  <a:gd name="T22" fmla="*/ 583 w 1274"/>
                  <a:gd name="T23" fmla="*/ 489 h 1329"/>
                  <a:gd name="T24" fmla="*/ 579 w 1274"/>
                  <a:gd name="T25" fmla="*/ 475 h 1329"/>
                  <a:gd name="T26" fmla="*/ 524 w 1274"/>
                  <a:gd name="T27" fmla="*/ 504 h 1329"/>
                  <a:gd name="T28" fmla="*/ 494 w 1274"/>
                  <a:gd name="T29" fmla="*/ 511 h 1329"/>
                  <a:gd name="T30" fmla="*/ 423 w 1274"/>
                  <a:gd name="T31" fmla="*/ 627 h 1329"/>
                  <a:gd name="T32" fmla="*/ 392 w 1274"/>
                  <a:gd name="T33" fmla="*/ 582 h 1329"/>
                  <a:gd name="T34" fmla="*/ 347 w 1274"/>
                  <a:gd name="T35" fmla="*/ 494 h 1329"/>
                  <a:gd name="T36" fmla="*/ 217 w 1274"/>
                  <a:gd name="T37" fmla="*/ 447 h 1329"/>
                  <a:gd name="T38" fmla="*/ 44 w 1274"/>
                  <a:gd name="T39" fmla="*/ 407 h 1329"/>
                  <a:gd name="T40" fmla="*/ 0 w 1274"/>
                  <a:gd name="T41" fmla="*/ 355 h 1329"/>
                  <a:gd name="T42" fmla="*/ 186 w 1274"/>
                  <a:gd name="T43" fmla="*/ 255 h 1329"/>
                  <a:gd name="T44" fmla="*/ 252 w 1274"/>
                  <a:gd name="T45" fmla="*/ 220 h 1329"/>
                  <a:gd name="T46" fmla="*/ 281 w 1274"/>
                  <a:gd name="T47" fmla="*/ 291 h 1329"/>
                  <a:gd name="T48" fmla="*/ 394 w 1274"/>
                  <a:gd name="T49" fmla="*/ 272 h 1329"/>
                  <a:gd name="T50" fmla="*/ 494 w 1274"/>
                  <a:gd name="T51" fmla="*/ 326 h 1329"/>
                  <a:gd name="T52" fmla="*/ 583 w 1274"/>
                  <a:gd name="T53" fmla="*/ 307 h 1329"/>
                  <a:gd name="T54" fmla="*/ 780 w 1274"/>
                  <a:gd name="T55" fmla="*/ 243 h 1329"/>
                  <a:gd name="T56" fmla="*/ 813 w 1274"/>
                  <a:gd name="T57" fmla="*/ 307 h 1329"/>
                  <a:gd name="T58" fmla="*/ 919 w 1274"/>
                  <a:gd name="T59" fmla="*/ 317 h 1329"/>
                  <a:gd name="T60" fmla="*/ 914 w 1274"/>
                  <a:gd name="T61" fmla="*/ 286 h 1329"/>
                  <a:gd name="T62" fmla="*/ 921 w 1274"/>
                  <a:gd name="T63" fmla="*/ 329 h 1329"/>
                  <a:gd name="T64" fmla="*/ 969 w 1274"/>
                  <a:gd name="T65" fmla="*/ 390 h 1329"/>
                  <a:gd name="T66" fmla="*/ 992 w 1274"/>
                  <a:gd name="T67" fmla="*/ 362 h 1329"/>
                  <a:gd name="T68" fmla="*/ 898 w 1274"/>
                  <a:gd name="T69" fmla="*/ 449 h 1329"/>
                  <a:gd name="T70" fmla="*/ 910 w 1274"/>
                  <a:gd name="T71" fmla="*/ 466 h 1329"/>
                  <a:gd name="T72" fmla="*/ 1044 w 1274"/>
                  <a:gd name="T73" fmla="*/ 518 h 1329"/>
                  <a:gd name="T74" fmla="*/ 1082 w 1274"/>
                  <a:gd name="T75" fmla="*/ 575 h 1329"/>
                  <a:gd name="T76" fmla="*/ 1089 w 1274"/>
                  <a:gd name="T77" fmla="*/ 660 h 1329"/>
                  <a:gd name="T78" fmla="*/ 1066 w 1274"/>
                  <a:gd name="T79" fmla="*/ 776 h 1329"/>
                  <a:gd name="T80" fmla="*/ 1018 w 1274"/>
                  <a:gd name="T81" fmla="*/ 854 h 1329"/>
                  <a:gd name="T82" fmla="*/ 1094 w 1274"/>
                  <a:gd name="T83" fmla="*/ 849 h 1329"/>
                  <a:gd name="T84" fmla="*/ 1155 w 1274"/>
                  <a:gd name="T85" fmla="*/ 776 h 1329"/>
                  <a:gd name="T86" fmla="*/ 1274 w 1274"/>
                  <a:gd name="T87" fmla="*/ 981 h 1329"/>
                  <a:gd name="T88" fmla="*/ 1186 w 1274"/>
                  <a:gd name="T89" fmla="*/ 1161 h 1329"/>
                  <a:gd name="T90" fmla="*/ 1170 w 1274"/>
                  <a:gd name="T91" fmla="*/ 1229 h 1329"/>
                  <a:gd name="T92" fmla="*/ 895 w 1274"/>
                  <a:gd name="T93" fmla="*/ 1298 h 1329"/>
                  <a:gd name="T94" fmla="*/ 659 w 1274"/>
                  <a:gd name="T95" fmla="*/ 1277 h 1329"/>
                  <a:gd name="T96" fmla="*/ 676 w 1274"/>
                  <a:gd name="T97" fmla="*/ 1029 h 1329"/>
                  <a:gd name="T98" fmla="*/ 621 w 1274"/>
                  <a:gd name="T99" fmla="*/ 842 h 1329"/>
                  <a:gd name="T100" fmla="*/ 650 w 1274"/>
                  <a:gd name="T101" fmla="*/ 697 h 1329"/>
                  <a:gd name="T102" fmla="*/ 711 w 1274"/>
                  <a:gd name="T103" fmla="*/ 629 h 1329"/>
                  <a:gd name="T104" fmla="*/ 739 w 1274"/>
                  <a:gd name="T105" fmla="*/ 636 h 1329"/>
                  <a:gd name="T106" fmla="*/ 751 w 1274"/>
                  <a:gd name="T107" fmla="*/ 629 h 1329"/>
                  <a:gd name="T108" fmla="*/ 770 w 1274"/>
                  <a:gd name="T109" fmla="*/ 608 h 1329"/>
                  <a:gd name="T110" fmla="*/ 824 w 1274"/>
                  <a:gd name="T111" fmla="*/ 527 h 1329"/>
                  <a:gd name="T112" fmla="*/ 815 w 1274"/>
                  <a:gd name="T113" fmla="*/ 454 h 1329"/>
                  <a:gd name="T114" fmla="*/ 728 w 1274"/>
                  <a:gd name="T115" fmla="*/ 466 h 1329"/>
                  <a:gd name="T116" fmla="*/ 666 w 1274"/>
                  <a:gd name="T117" fmla="*/ 605 h 1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74" h="1329">
                    <a:moveTo>
                      <a:pt x="189" y="59"/>
                    </a:moveTo>
                    <a:lnTo>
                      <a:pt x="189" y="61"/>
                    </a:lnTo>
                    <a:lnTo>
                      <a:pt x="193" y="61"/>
                    </a:lnTo>
                    <a:lnTo>
                      <a:pt x="193" y="64"/>
                    </a:lnTo>
                    <a:lnTo>
                      <a:pt x="189" y="69"/>
                    </a:lnTo>
                    <a:lnTo>
                      <a:pt x="172" y="76"/>
                    </a:lnTo>
                    <a:lnTo>
                      <a:pt x="163" y="78"/>
                    </a:lnTo>
                    <a:lnTo>
                      <a:pt x="156" y="76"/>
                    </a:lnTo>
                    <a:lnTo>
                      <a:pt x="156" y="71"/>
                    </a:lnTo>
                    <a:lnTo>
                      <a:pt x="160" y="66"/>
                    </a:lnTo>
                    <a:lnTo>
                      <a:pt x="158" y="61"/>
                    </a:lnTo>
                    <a:lnTo>
                      <a:pt x="156" y="61"/>
                    </a:lnTo>
                    <a:lnTo>
                      <a:pt x="156" y="59"/>
                    </a:lnTo>
                    <a:lnTo>
                      <a:pt x="163" y="54"/>
                    </a:lnTo>
                    <a:lnTo>
                      <a:pt x="215" y="19"/>
                    </a:lnTo>
                    <a:lnTo>
                      <a:pt x="238" y="5"/>
                    </a:lnTo>
                    <a:lnTo>
                      <a:pt x="250" y="0"/>
                    </a:lnTo>
                    <a:lnTo>
                      <a:pt x="252" y="2"/>
                    </a:lnTo>
                    <a:lnTo>
                      <a:pt x="238" y="14"/>
                    </a:lnTo>
                    <a:lnTo>
                      <a:pt x="238" y="19"/>
                    </a:lnTo>
                    <a:lnTo>
                      <a:pt x="238" y="24"/>
                    </a:lnTo>
                    <a:lnTo>
                      <a:pt x="234" y="28"/>
                    </a:lnTo>
                    <a:lnTo>
                      <a:pt x="196" y="54"/>
                    </a:lnTo>
                    <a:lnTo>
                      <a:pt x="189" y="59"/>
                    </a:lnTo>
                    <a:close/>
                    <a:moveTo>
                      <a:pt x="307" y="201"/>
                    </a:moveTo>
                    <a:lnTo>
                      <a:pt x="304" y="208"/>
                    </a:lnTo>
                    <a:lnTo>
                      <a:pt x="307" y="213"/>
                    </a:lnTo>
                    <a:lnTo>
                      <a:pt x="290" y="232"/>
                    </a:lnTo>
                    <a:lnTo>
                      <a:pt x="283" y="243"/>
                    </a:lnTo>
                    <a:lnTo>
                      <a:pt x="278" y="246"/>
                    </a:lnTo>
                    <a:lnTo>
                      <a:pt x="274" y="239"/>
                    </a:lnTo>
                    <a:lnTo>
                      <a:pt x="274" y="232"/>
                    </a:lnTo>
                    <a:lnTo>
                      <a:pt x="278" y="227"/>
                    </a:lnTo>
                    <a:lnTo>
                      <a:pt x="281" y="220"/>
                    </a:lnTo>
                    <a:lnTo>
                      <a:pt x="281" y="210"/>
                    </a:lnTo>
                    <a:lnTo>
                      <a:pt x="278" y="208"/>
                    </a:lnTo>
                    <a:lnTo>
                      <a:pt x="274" y="217"/>
                    </a:lnTo>
                    <a:lnTo>
                      <a:pt x="278" y="217"/>
                    </a:lnTo>
                    <a:lnTo>
                      <a:pt x="278" y="220"/>
                    </a:lnTo>
                    <a:lnTo>
                      <a:pt x="278" y="222"/>
                    </a:lnTo>
                    <a:lnTo>
                      <a:pt x="257" y="220"/>
                    </a:lnTo>
                    <a:lnTo>
                      <a:pt x="250" y="213"/>
                    </a:lnTo>
                    <a:lnTo>
                      <a:pt x="250" y="203"/>
                    </a:lnTo>
                    <a:lnTo>
                      <a:pt x="257" y="191"/>
                    </a:lnTo>
                    <a:lnTo>
                      <a:pt x="278" y="165"/>
                    </a:lnTo>
                    <a:lnTo>
                      <a:pt x="288" y="158"/>
                    </a:lnTo>
                    <a:lnTo>
                      <a:pt x="319" y="144"/>
                    </a:lnTo>
                    <a:lnTo>
                      <a:pt x="335" y="139"/>
                    </a:lnTo>
                    <a:lnTo>
                      <a:pt x="352" y="139"/>
                    </a:lnTo>
                    <a:lnTo>
                      <a:pt x="364" y="142"/>
                    </a:lnTo>
                    <a:lnTo>
                      <a:pt x="373" y="147"/>
                    </a:lnTo>
                    <a:lnTo>
                      <a:pt x="366" y="154"/>
                    </a:lnTo>
                    <a:lnTo>
                      <a:pt x="333" y="161"/>
                    </a:lnTo>
                    <a:lnTo>
                      <a:pt x="333" y="161"/>
                    </a:lnTo>
                    <a:lnTo>
                      <a:pt x="338" y="165"/>
                    </a:lnTo>
                    <a:lnTo>
                      <a:pt x="340" y="168"/>
                    </a:lnTo>
                    <a:lnTo>
                      <a:pt x="335" y="175"/>
                    </a:lnTo>
                    <a:lnTo>
                      <a:pt x="307" y="201"/>
                    </a:lnTo>
                    <a:close/>
                    <a:moveTo>
                      <a:pt x="884" y="291"/>
                    </a:moveTo>
                    <a:lnTo>
                      <a:pt x="888" y="293"/>
                    </a:lnTo>
                    <a:lnTo>
                      <a:pt x="891" y="298"/>
                    </a:lnTo>
                    <a:lnTo>
                      <a:pt x="900" y="310"/>
                    </a:lnTo>
                    <a:lnTo>
                      <a:pt x="905" y="317"/>
                    </a:lnTo>
                    <a:lnTo>
                      <a:pt x="910" y="331"/>
                    </a:lnTo>
                    <a:lnTo>
                      <a:pt x="912" y="333"/>
                    </a:lnTo>
                    <a:lnTo>
                      <a:pt x="912" y="343"/>
                    </a:lnTo>
                    <a:lnTo>
                      <a:pt x="907" y="348"/>
                    </a:lnTo>
                    <a:lnTo>
                      <a:pt x="907" y="352"/>
                    </a:lnTo>
                    <a:lnTo>
                      <a:pt x="910" y="355"/>
                    </a:lnTo>
                    <a:lnTo>
                      <a:pt x="928" y="355"/>
                    </a:lnTo>
                    <a:lnTo>
                      <a:pt x="936" y="357"/>
                    </a:lnTo>
                    <a:lnTo>
                      <a:pt x="940" y="362"/>
                    </a:lnTo>
                    <a:lnTo>
                      <a:pt x="938" y="366"/>
                    </a:lnTo>
                    <a:lnTo>
                      <a:pt x="940" y="371"/>
                    </a:lnTo>
                    <a:lnTo>
                      <a:pt x="945" y="378"/>
                    </a:lnTo>
                    <a:lnTo>
                      <a:pt x="959" y="383"/>
                    </a:lnTo>
                    <a:lnTo>
                      <a:pt x="964" y="388"/>
                    </a:lnTo>
                    <a:lnTo>
                      <a:pt x="964" y="392"/>
                    </a:lnTo>
                    <a:lnTo>
                      <a:pt x="959" y="395"/>
                    </a:lnTo>
                    <a:lnTo>
                      <a:pt x="952" y="397"/>
                    </a:lnTo>
                    <a:lnTo>
                      <a:pt x="898" y="397"/>
                    </a:lnTo>
                    <a:lnTo>
                      <a:pt x="884" y="397"/>
                    </a:lnTo>
                    <a:lnTo>
                      <a:pt x="881" y="400"/>
                    </a:lnTo>
                    <a:lnTo>
                      <a:pt x="879" y="402"/>
                    </a:lnTo>
                    <a:lnTo>
                      <a:pt x="876" y="400"/>
                    </a:lnTo>
                    <a:lnTo>
                      <a:pt x="872" y="402"/>
                    </a:lnTo>
                    <a:lnTo>
                      <a:pt x="869" y="400"/>
                    </a:lnTo>
                    <a:lnTo>
                      <a:pt x="867" y="395"/>
                    </a:lnTo>
                    <a:lnTo>
                      <a:pt x="862" y="390"/>
                    </a:lnTo>
                    <a:lnTo>
                      <a:pt x="855" y="390"/>
                    </a:lnTo>
                    <a:lnTo>
                      <a:pt x="848" y="395"/>
                    </a:lnTo>
                    <a:lnTo>
                      <a:pt x="843" y="411"/>
                    </a:lnTo>
                    <a:lnTo>
                      <a:pt x="846" y="416"/>
                    </a:lnTo>
                    <a:lnTo>
                      <a:pt x="846" y="426"/>
                    </a:lnTo>
                    <a:lnTo>
                      <a:pt x="848" y="428"/>
                    </a:lnTo>
                    <a:lnTo>
                      <a:pt x="848" y="430"/>
                    </a:lnTo>
                    <a:lnTo>
                      <a:pt x="846" y="433"/>
                    </a:lnTo>
                    <a:lnTo>
                      <a:pt x="841" y="433"/>
                    </a:lnTo>
                    <a:lnTo>
                      <a:pt x="834" y="430"/>
                    </a:lnTo>
                    <a:lnTo>
                      <a:pt x="808" y="411"/>
                    </a:lnTo>
                    <a:lnTo>
                      <a:pt x="787" y="400"/>
                    </a:lnTo>
                    <a:lnTo>
                      <a:pt x="763" y="395"/>
                    </a:lnTo>
                    <a:lnTo>
                      <a:pt x="744" y="392"/>
                    </a:lnTo>
                    <a:lnTo>
                      <a:pt x="730" y="395"/>
                    </a:lnTo>
                    <a:lnTo>
                      <a:pt x="718" y="402"/>
                    </a:lnTo>
                    <a:lnTo>
                      <a:pt x="711" y="414"/>
                    </a:lnTo>
                    <a:lnTo>
                      <a:pt x="699" y="423"/>
                    </a:lnTo>
                    <a:lnTo>
                      <a:pt x="680" y="428"/>
                    </a:lnTo>
                    <a:lnTo>
                      <a:pt x="671" y="430"/>
                    </a:lnTo>
                    <a:lnTo>
                      <a:pt x="671" y="437"/>
                    </a:lnTo>
                    <a:lnTo>
                      <a:pt x="664" y="437"/>
                    </a:lnTo>
                    <a:lnTo>
                      <a:pt x="650" y="435"/>
                    </a:lnTo>
                    <a:lnTo>
                      <a:pt x="638" y="435"/>
                    </a:lnTo>
                    <a:lnTo>
                      <a:pt x="626" y="437"/>
                    </a:lnTo>
                    <a:lnTo>
                      <a:pt x="616" y="442"/>
                    </a:lnTo>
                    <a:lnTo>
                      <a:pt x="609" y="459"/>
                    </a:lnTo>
                    <a:lnTo>
                      <a:pt x="607" y="466"/>
                    </a:lnTo>
                    <a:lnTo>
                      <a:pt x="602" y="473"/>
                    </a:lnTo>
                    <a:lnTo>
                      <a:pt x="583" y="485"/>
                    </a:lnTo>
                    <a:lnTo>
                      <a:pt x="583" y="489"/>
                    </a:lnTo>
                    <a:lnTo>
                      <a:pt x="574" y="501"/>
                    </a:lnTo>
                    <a:lnTo>
                      <a:pt x="572" y="508"/>
                    </a:lnTo>
                    <a:lnTo>
                      <a:pt x="572" y="515"/>
                    </a:lnTo>
                    <a:lnTo>
                      <a:pt x="569" y="515"/>
                    </a:lnTo>
                    <a:lnTo>
                      <a:pt x="562" y="508"/>
                    </a:lnTo>
                    <a:lnTo>
                      <a:pt x="560" y="499"/>
                    </a:lnTo>
                    <a:lnTo>
                      <a:pt x="567" y="487"/>
                    </a:lnTo>
                    <a:lnTo>
                      <a:pt x="572" y="480"/>
                    </a:lnTo>
                    <a:lnTo>
                      <a:pt x="576" y="480"/>
                    </a:lnTo>
                    <a:lnTo>
                      <a:pt x="579" y="475"/>
                    </a:lnTo>
                    <a:lnTo>
                      <a:pt x="579" y="463"/>
                    </a:lnTo>
                    <a:lnTo>
                      <a:pt x="576" y="459"/>
                    </a:lnTo>
                    <a:lnTo>
                      <a:pt x="567" y="461"/>
                    </a:lnTo>
                    <a:lnTo>
                      <a:pt x="562" y="468"/>
                    </a:lnTo>
                    <a:lnTo>
                      <a:pt x="555" y="468"/>
                    </a:lnTo>
                    <a:lnTo>
                      <a:pt x="548" y="466"/>
                    </a:lnTo>
                    <a:lnTo>
                      <a:pt x="543" y="473"/>
                    </a:lnTo>
                    <a:lnTo>
                      <a:pt x="538" y="487"/>
                    </a:lnTo>
                    <a:lnTo>
                      <a:pt x="531" y="499"/>
                    </a:lnTo>
                    <a:lnTo>
                      <a:pt x="524" y="504"/>
                    </a:lnTo>
                    <a:lnTo>
                      <a:pt x="517" y="499"/>
                    </a:lnTo>
                    <a:lnTo>
                      <a:pt x="515" y="485"/>
                    </a:lnTo>
                    <a:lnTo>
                      <a:pt x="512" y="475"/>
                    </a:lnTo>
                    <a:lnTo>
                      <a:pt x="515" y="461"/>
                    </a:lnTo>
                    <a:lnTo>
                      <a:pt x="512" y="459"/>
                    </a:lnTo>
                    <a:lnTo>
                      <a:pt x="510" y="463"/>
                    </a:lnTo>
                    <a:lnTo>
                      <a:pt x="505" y="475"/>
                    </a:lnTo>
                    <a:lnTo>
                      <a:pt x="501" y="499"/>
                    </a:lnTo>
                    <a:lnTo>
                      <a:pt x="498" y="508"/>
                    </a:lnTo>
                    <a:lnTo>
                      <a:pt x="494" y="511"/>
                    </a:lnTo>
                    <a:lnTo>
                      <a:pt x="484" y="527"/>
                    </a:lnTo>
                    <a:lnTo>
                      <a:pt x="475" y="553"/>
                    </a:lnTo>
                    <a:lnTo>
                      <a:pt x="463" y="582"/>
                    </a:lnTo>
                    <a:lnTo>
                      <a:pt x="449" y="608"/>
                    </a:lnTo>
                    <a:lnTo>
                      <a:pt x="442" y="619"/>
                    </a:lnTo>
                    <a:lnTo>
                      <a:pt x="437" y="622"/>
                    </a:lnTo>
                    <a:lnTo>
                      <a:pt x="437" y="627"/>
                    </a:lnTo>
                    <a:lnTo>
                      <a:pt x="437" y="638"/>
                    </a:lnTo>
                    <a:lnTo>
                      <a:pt x="430" y="636"/>
                    </a:lnTo>
                    <a:lnTo>
                      <a:pt x="423" y="627"/>
                    </a:lnTo>
                    <a:lnTo>
                      <a:pt x="418" y="619"/>
                    </a:lnTo>
                    <a:lnTo>
                      <a:pt x="418" y="610"/>
                    </a:lnTo>
                    <a:lnTo>
                      <a:pt x="425" y="589"/>
                    </a:lnTo>
                    <a:lnTo>
                      <a:pt x="425" y="584"/>
                    </a:lnTo>
                    <a:lnTo>
                      <a:pt x="423" y="584"/>
                    </a:lnTo>
                    <a:lnTo>
                      <a:pt x="418" y="582"/>
                    </a:lnTo>
                    <a:lnTo>
                      <a:pt x="408" y="586"/>
                    </a:lnTo>
                    <a:lnTo>
                      <a:pt x="397" y="586"/>
                    </a:lnTo>
                    <a:lnTo>
                      <a:pt x="394" y="586"/>
                    </a:lnTo>
                    <a:lnTo>
                      <a:pt x="392" y="582"/>
                    </a:lnTo>
                    <a:lnTo>
                      <a:pt x="392" y="577"/>
                    </a:lnTo>
                    <a:lnTo>
                      <a:pt x="392" y="570"/>
                    </a:lnTo>
                    <a:lnTo>
                      <a:pt x="399" y="556"/>
                    </a:lnTo>
                    <a:lnTo>
                      <a:pt x="397" y="544"/>
                    </a:lnTo>
                    <a:lnTo>
                      <a:pt x="399" y="537"/>
                    </a:lnTo>
                    <a:lnTo>
                      <a:pt x="397" y="525"/>
                    </a:lnTo>
                    <a:lnTo>
                      <a:pt x="397" y="518"/>
                    </a:lnTo>
                    <a:lnTo>
                      <a:pt x="390" y="513"/>
                    </a:lnTo>
                    <a:lnTo>
                      <a:pt x="378" y="504"/>
                    </a:lnTo>
                    <a:lnTo>
                      <a:pt x="347" y="494"/>
                    </a:lnTo>
                    <a:lnTo>
                      <a:pt x="349" y="482"/>
                    </a:lnTo>
                    <a:lnTo>
                      <a:pt x="347" y="475"/>
                    </a:lnTo>
                    <a:lnTo>
                      <a:pt x="340" y="468"/>
                    </a:lnTo>
                    <a:lnTo>
                      <a:pt x="309" y="461"/>
                    </a:lnTo>
                    <a:lnTo>
                      <a:pt x="288" y="459"/>
                    </a:lnTo>
                    <a:lnTo>
                      <a:pt x="269" y="459"/>
                    </a:lnTo>
                    <a:lnTo>
                      <a:pt x="255" y="456"/>
                    </a:lnTo>
                    <a:lnTo>
                      <a:pt x="238" y="456"/>
                    </a:lnTo>
                    <a:lnTo>
                      <a:pt x="226" y="452"/>
                    </a:lnTo>
                    <a:lnTo>
                      <a:pt x="217" y="447"/>
                    </a:lnTo>
                    <a:lnTo>
                      <a:pt x="205" y="442"/>
                    </a:lnTo>
                    <a:lnTo>
                      <a:pt x="196" y="437"/>
                    </a:lnTo>
                    <a:lnTo>
                      <a:pt x="177" y="433"/>
                    </a:lnTo>
                    <a:lnTo>
                      <a:pt x="158" y="430"/>
                    </a:lnTo>
                    <a:lnTo>
                      <a:pt x="139" y="426"/>
                    </a:lnTo>
                    <a:lnTo>
                      <a:pt x="120" y="421"/>
                    </a:lnTo>
                    <a:lnTo>
                      <a:pt x="101" y="418"/>
                    </a:lnTo>
                    <a:lnTo>
                      <a:pt x="82" y="414"/>
                    </a:lnTo>
                    <a:lnTo>
                      <a:pt x="63" y="409"/>
                    </a:lnTo>
                    <a:lnTo>
                      <a:pt x="44" y="407"/>
                    </a:lnTo>
                    <a:lnTo>
                      <a:pt x="40" y="397"/>
                    </a:lnTo>
                    <a:lnTo>
                      <a:pt x="35" y="390"/>
                    </a:lnTo>
                    <a:lnTo>
                      <a:pt x="30" y="381"/>
                    </a:lnTo>
                    <a:lnTo>
                      <a:pt x="26" y="371"/>
                    </a:lnTo>
                    <a:lnTo>
                      <a:pt x="18" y="369"/>
                    </a:lnTo>
                    <a:lnTo>
                      <a:pt x="14" y="366"/>
                    </a:lnTo>
                    <a:lnTo>
                      <a:pt x="9" y="362"/>
                    </a:lnTo>
                    <a:lnTo>
                      <a:pt x="2" y="364"/>
                    </a:lnTo>
                    <a:lnTo>
                      <a:pt x="0" y="357"/>
                    </a:lnTo>
                    <a:lnTo>
                      <a:pt x="0" y="355"/>
                    </a:lnTo>
                    <a:lnTo>
                      <a:pt x="9" y="352"/>
                    </a:lnTo>
                    <a:lnTo>
                      <a:pt x="35" y="340"/>
                    </a:lnTo>
                    <a:lnTo>
                      <a:pt x="59" y="326"/>
                    </a:lnTo>
                    <a:lnTo>
                      <a:pt x="78" y="307"/>
                    </a:lnTo>
                    <a:lnTo>
                      <a:pt x="101" y="298"/>
                    </a:lnTo>
                    <a:lnTo>
                      <a:pt x="130" y="291"/>
                    </a:lnTo>
                    <a:lnTo>
                      <a:pt x="148" y="284"/>
                    </a:lnTo>
                    <a:lnTo>
                      <a:pt x="160" y="277"/>
                    </a:lnTo>
                    <a:lnTo>
                      <a:pt x="177" y="260"/>
                    </a:lnTo>
                    <a:lnTo>
                      <a:pt x="186" y="255"/>
                    </a:lnTo>
                    <a:lnTo>
                      <a:pt x="196" y="253"/>
                    </a:lnTo>
                    <a:lnTo>
                      <a:pt x="205" y="246"/>
                    </a:lnTo>
                    <a:lnTo>
                      <a:pt x="210" y="234"/>
                    </a:lnTo>
                    <a:lnTo>
                      <a:pt x="222" y="222"/>
                    </a:lnTo>
                    <a:lnTo>
                      <a:pt x="236" y="208"/>
                    </a:lnTo>
                    <a:lnTo>
                      <a:pt x="245" y="201"/>
                    </a:lnTo>
                    <a:lnTo>
                      <a:pt x="248" y="203"/>
                    </a:lnTo>
                    <a:lnTo>
                      <a:pt x="248" y="208"/>
                    </a:lnTo>
                    <a:lnTo>
                      <a:pt x="248" y="215"/>
                    </a:lnTo>
                    <a:lnTo>
                      <a:pt x="252" y="220"/>
                    </a:lnTo>
                    <a:lnTo>
                      <a:pt x="262" y="225"/>
                    </a:lnTo>
                    <a:lnTo>
                      <a:pt x="267" y="229"/>
                    </a:lnTo>
                    <a:lnTo>
                      <a:pt x="267" y="236"/>
                    </a:lnTo>
                    <a:lnTo>
                      <a:pt x="269" y="241"/>
                    </a:lnTo>
                    <a:lnTo>
                      <a:pt x="276" y="246"/>
                    </a:lnTo>
                    <a:lnTo>
                      <a:pt x="278" y="258"/>
                    </a:lnTo>
                    <a:lnTo>
                      <a:pt x="276" y="274"/>
                    </a:lnTo>
                    <a:lnTo>
                      <a:pt x="276" y="284"/>
                    </a:lnTo>
                    <a:lnTo>
                      <a:pt x="278" y="288"/>
                    </a:lnTo>
                    <a:lnTo>
                      <a:pt x="281" y="291"/>
                    </a:lnTo>
                    <a:lnTo>
                      <a:pt x="286" y="288"/>
                    </a:lnTo>
                    <a:lnTo>
                      <a:pt x="288" y="281"/>
                    </a:lnTo>
                    <a:lnTo>
                      <a:pt x="290" y="279"/>
                    </a:lnTo>
                    <a:lnTo>
                      <a:pt x="290" y="274"/>
                    </a:lnTo>
                    <a:lnTo>
                      <a:pt x="314" y="255"/>
                    </a:lnTo>
                    <a:lnTo>
                      <a:pt x="316" y="255"/>
                    </a:lnTo>
                    <a:lnTo>
                      <a:pt x="326" y="258"/>
                    </a:lnTo>
                    <a:lnTo>
                      <a:pt x="364" y="260"/>
                    </a:lnTo>
                    <a:lnTo>
                      <a:pt x="378" y="265"/>
                    </a:lnTo>
                    <a:lnTo>
                      <a:pt x="394" y="272"/>
                    </a:lnTo>
                    <a:lnTo>
                      <a:pt x="399" y="274"/>
                    </a:lnTo>
                    <a:lnTo>
                      <a:pt x="420" y="305"/>
                    </a:lnTo>
                    <a:lnTo>
                      <a:pt x="430" y="314"/>
                    </a:lnTo>
                    <a:lnTo>
                      <a:pt x="437" y="317"/>
                    </a:lnTo>
                    <a:lnTo>
                      <a:pt x="439" y="322"/>
                    </a:lnTo>
                    <a:lnTo>
                      <a:pt x="442" y="333"/>
                    </a:lnTo>
                    <a:lnTo>
                      <a:pt x="446" y="336"/>
                    </a:lnTo>
                    <a:lnTo>
                      <a:pt x="472" y="336"/>
                    </a:lnTo>
                    <a:lnTo>
                      <a:pt x="486" y="331"/>
                    </a:lnTo>
                    <a:lnTo>
                      <a:pt x="494" y="326"/>
                    </a:lnTo>
                    <a:lnTo>
                      <a:pt x="501" y="329"/>
                    </a:lnTo>
                    <a:lnTo>
                      <a:pt x="512" y="338"/>
                    </a:lnTo>
                    <a:lnTo>
                      <a:pt x="522" y="340"/>
                    </a:lnTo>
                    <a:lnTo>
                      <a:pt x="529" y="333"/>
                    </a:lnTo>
                    <a:lnTo>
                      <a:pt x="538" y="333"/>
                    </a:lnTo>
                    <a:lnTo>
                      <a:pt x="546" y="338"/>
                    </a:lnTo>
                    <a:lnTo>
                      <a:pt x="550" y="340"/>
                    </a:lnTo>
                    <a:lnTo>
                      <a:pt x="553" y="340"/>
                    </a:lnTo>
                    <a:lnTo>
                      <a:pt x="567" y="324"/>
                    </a:lnTo>
                    <a:lnTo>
                      <a:pt x="583" y="307"/>
                    </a:lnTo>
                    <a:lnTo>
                      <a:pt x="607" y="291"/>
                    </a:lnTo>
                    <a:lnTo>
                      <a:pt x="621" y="284"/>
                    </a:lnTo>
                    <a:lnTo>
                      <a:pt x="626" y="284"/>
                    </a:lnTo>
                    <a:lnTo>
                      <a:pt x="647" y="277"/>
                    </a:lnTo>
                    <a:lnTo>
                      <a:pt x="668" y="274"/>
                    </a:lnTo>
                    <a:lnTo>
                      <a:pt x="697" y="274"/>
                    </a:lnTo>
                    <a:lnTo>
                      <a:pt x="720" y="267"/>
                    </a:lnTo>
                    <a:lnTo>
                      <a:pt x="742" y="255"/>
                    </a:lnTo>
                    <a:lnTo>
                      <a:pt x="763" y="248"/>
                    </a:lnTo>
                    <a:lnTo>
                      <a:pt x="780" y="243"/>
                    </a:lnTo>
                    <a:lnTo>
                      <a:pt x="787" y="246"/>
                    </a:lnTo>
                    <a:lnTo>
                      <a:pt x="784" y="253"/>
                    </a:lnTo>
                    <a:lnTo>
                      <a:pt x="784" y="265"/>
                    </a:lnTo>
                    <a:lnTo>
                      <a:pt x="784" y="281"/>
                    </a:lnTo>
                    <a:lnTo>
                      <a:pt x="784" y="291"/>
                    </a:lnTo>
                    <a:lnTo>
                      <a:pt x="782" y="296"/>
                    </a:lnTo>
                    <a:lnTo>
                      <a:pt x="782" y="300"/>
                    </a:lnTo>
                    <a:lnTo>
                      <a:pt x="784" y="303"/>
                    </a:lnTo>
                    <a:lnTo>
                      <a:pt x="803" y="303"/>
                    </a:lnTo>
                    <a:lnTo>
                      <a:pt x="813" y="307"/>
                    </a:lnTo>
                    <a:lnTo>
                      <a:pt x="822" y="305"/>
                    </a:lnTo>
                    <a:lnTo>
                      <a:pt x="834" y="300"/>
                    </a:lnTo>
                    <a:lnTo>
                      <a:pt x="843" y="300"/>
                    </a:lnTo>
                    <a:lnTo>
                      <a:pt x="850" y="307"/>
                    </a:lnTo>
                    <a:lnTo>
                      <a:pt x="860" y="307"/>
                    </a:lnTo>
                    <a:lnTo>
                      <a:pt x="869" y="300"/>
                    </a:lnTo>
                    <a:lnTo>
                      <a:pt x="874" y="296"/>
                    </a:lnTo>
                    <a:lnTo>
                      <a:pt x="879" y="291"/>
                    </a:lnTo>
                    <a:lnTo>
                      <a:pt x="884" y="291"/>
                    </a:lnTo>
                    <a:close/>
                    <a:moveTo>
                      <a:pt x="919" y="317"/>
                    </a:moveTo>
                    <a:lnTo>
                      <a:pt x="919" y="322"/>
                    </a:lnTo>
                    <a:lnTo>
                      <a:pt x="914" y="319"/>
                    </a:lnTo>
                    <a:lnTo>
                      <a:pt x="912" y="317"/>
                    </a:lnTo>
                    <a:lnTo>
                      <a:pt x="907" y="312"/>
                    </a:lnTo>
                    <a:lnTo>
                      <a:pt x="902" y="300"/>
                    </a:lnTo>
                    <a:lnTo>
                      <a:pt x="895" y="293"/>
                    </a:lnTo>
                    <a:lnTo>
                      <a:pt x="902" y="281"/>
                    </a:lnTo>
                    <a:lnTo>
                      <a:pt x="907" y="279"/>
                    </a:lnTo>
                    <a:lnTo>
                      <a:pt x="914" y="281"/>
                    </a:lnTo>
                    <a:lnTo>
                      <a:pt x="914" y="286"/>
                    </a:lnTo>
                    <a:lnTo>
                      <a:pt x="912" y="296"/>
                    </a:lnTo>
                    <a:lnTo>
                      <a:pt x="914" y="307"/>
                    </a:lnTo>
                    <a:lnTo>
                      <a:pt x="919" y="317"/>
                    </a:lnTo>
                    <a:close/>
                    <a:moveTo>
                      <a:pt x="924" y="340"/>
                    </a:moveTo>
                    <a:lnTo>
                      <a:pt x="921" y="340"/>
                    </a:lnTo>
                    <a:lnTo>
                      <a:pt x="914" y="333"/>
                    </a:lnTo>
                    <a:lnTo>
                      <a:pt x="912" y="329"/>
                    </a:lnTo>
                    <a:lnTo>
                      <a:pt x="912" y="326"/>
                    </a:lnTo>
                    <a:lnTo>
                      <a:pt x="914" y="324"/>
                    </a:lnTo>
                    <a:lnTo>
                      <a:pt x="921" y="329"/>
                    </a:lnTo>
                    <a:lnTo>
                      <a:pt x="924" y="331"/>
                    </a:lnTo>
                    <a:lnTo>
                      <a:pt x="924" y="338"/>
                    </a:lnTo>
                    <a:lnTo>
                      <a:pt x="924" y="340"/>
                    </a:lnTo>
                    <a:close/>
                    <a:moveTo>
                      <a:pt x="1021" y="376"/>
                    </a:moveTo>
                    <a:lnTo>
                      <a:pt x="1023" y="381"/>
                    </a:lnTo>
                    <a:lnTo>
                      <a:pt x="1021" y="388"/>
                    </a:lnTo>
                    <a:lnTo>
                      <a:pt x="1011" y="395"/>
                    </a:lnTo>
                    <a:lnTo>
                      <a:pt x="990" y="397"/>
                    </a:lnTo>
                    <a:lnTo>
                      <a:pt x="976" y="395"/>
                    </a:lnTo>
                    <a:lnTo>
                      <a:pt x="969" y="390"/>
                    </a:lnTo>
                    <a:lnTo>
                      <a:pt x="966" y="388"/>
                    </a:lnTo>
                    <a:lnTo>
                      <a:pt x="966" y="383"/>
                    </a:lnTo>
                    <a:lnTo>
                      <a:pt x="971" y="383"/>
                    </a:lnTo>
                    <a:lnTo>
                      <a:pt x="976" y="385"/>
                    </a:lnTo>
                    <a:lnTo>
                      <a:pt x="980" y="383"/>
                    </a:lnTo>
                    <a:lnTo>
                      <a:pt x="990" y="376"/>
                    </a:lnTo>
                    <a:lnTo>
                      <a:pt x="992" y="371"/>
                    </a:lnTo>
                    <a:lnTo>
                      <a:pt x="995" y="369"/>
                    </a:lnTo>
                    <a:lnTo>
                      <a:pt x="990" y="364"/>
                    </a:lnTo>
                    <a:lnTo>
                      <a:pt x="992" y="362"/>
                    </a:lnTo>
                    <a:lnTo>
                      <a:pt x="1004" y="362"/>
                    </a:lnTo>
                    <a:lnTo>
                      <a:pt x="1009" y="364"/>
                    </a:lnTo>
                    <a:lnTo>
                      <a:pt x="1016" y="376"/>
                    </a:lnTo>
                    <a:lnTo>
                      <a:pt x="1021" y="376"/>
                    </a:lnTo>
                    <a:close/>
                    <a:moveTo>
                      <a:pt x="872" y="437"/>
                    </a:moveTo>
                    <a:lnTo>
                      <a:pt x="891" y="437"/>
                    </a:lnTo>
                    <a:lnTo>
                      <a:pt x="893" y="437"/>
                    </a:lnTo>
                    <a:lnTo>
                      <a:pt x="898" y="442"/>
                    </a:lnTo>
                    <a:lnTo>
                      <a:pt x="900" y="447"/>
                    </a:lnTo>
                    <a:lnTo>
                      <a:pt x="898" y="449"/>
                    </a:lnTo>
                    <a:lnTo>
                      <a:pt x="895" y="454"/>
                    </a:lnTo>
                    <a:lnTo>
                      <a:pt x="891" y="454"/>
                    </a:lnTo>
                    <a:lnTo>
                      <a:pt x="884" y="452"/>
                    </a:lnTo>
                    <a:lnTo>
                      <a:pt x="872" y="442"/>
                    </a:lnTo>
                    <a:lnTo>
                      <a:pt x="872" y="437"/>
                    </a:lnTo>
                    <a:close/>
                    <a:moveTo>
                      <a:pt x="843" y="447"/>
                    </a:moveTo>
                    <a:lnTo>
                      <a:pt x="853" y="449"/>
                    </a:lnTo>
                    <a:lnTo>
                      <a:pt x="874" y="461"/>
                    </a:lnTo>
                    <a:lnTo>
                      <a:pt x="893" y="466"/>
                    </a:lnTo>
                    <a:lnTo>
                      <a:pt x="910" y="466"/>
                    </a:lnTo>
                    <a:lnTo>
                      <a:pt x="924" y="468"/>
                    </a:lnTo>
                    <a:lnTo>
                      <a:pt x="931" y="475"/>
                    </a:lnTo>
                    <a:lnTo>
                      <a:pt x="938" y="482"/>
                    </a:lnTo>
                    <a:lnTo>
                      <a:pt x="943" y="489"/>
                    </a:lnTo>
                    <a:lnTo>
                      <a:pt x="952" y="494"/>
                    </a:lnTo>
                    <a:lnTo>
                      <a:pt x="964" y="494"/>
                    </a:lnTo>
                    <a:lnTo>
                      <a:pt x="976" y="496"/>
                    </a:lnTo>
                    <a:lnTo>
                      <a:pt x="983" y="501"/>
                    </a:lnTo>
                    <a:lnTo>
                      <a:pt x="1025" y="511"/>
                    </a:lnTo>
                    <a:lnTo>
                      <a:pt x="1044" y="518"/>
                    </a:lnTo>
                    <a:lnTo>
                      <a:pt x="1054" y="525"/>
                    </a:lnTo>
                    <a:lnTo>
                      <a:pt x="1058" y="530"/>
                    </a:lnTo>
                    <a:lnTo>
                      <a:pt x="1058" y="534"/>
                    </a:lnTo>
                    <a:lnTo>
                      <a:pt x="1061" y="541"/>
                    </a:lnTo>
                    <a:lnTo>
                      <a:pt x="1068" y="551"/>
                    </a:lnTo>
                    <a:lnTo>
                      <a:pt x="1070" y="551"/>
                    </a:lnTo>
                    <a:lnTo>
                      <a:pt x="1073" y="556"/>
                    </a:lnTo>
                    <a:lnTo>
                      <a:pt x="1075" y="565"/>
                    </a:lnTo>
                    <a:lnTo>
                      <a:pt x="1077" y="572"/>
                    </a:lnTo>
                    <a:lnTo>
                      <a:pt x="1082" y="575"/>
                    </a:lnTo>
                    <a:lnTo>
                      <a:pt x="1080" y="577"/>
                    </a:lnTo>
                    <a:lnTo>
                      <a:pt x="1068" y="572"/>
                    </a:lnTo>
                    <a:lnTo>
                      <a:pt x="1061" y="575"/>
                    </a:lnTo>
                    <a:lnTo>
                      <a:pt x="1058" y="584"/>
                    </a:lnTo>
                    <a:lnTo>
                      <a:pt x="1058" y="591"/>
                    </a:lnTo>
                    <a:lnTo>
                      <a:pt x="1061" y="596"/>
                    </a:lnTo>
                    <a:lnTo>
                      <a:pt x="1080" y="612"/>
                    </a:lnTo>
                    <a:lnTo>
                      <a:pt x="1087" y="631"/>
                    </a:lnTo>
                    <a:lnTo>
                      <a:pt x="1092" y="650"/>
                    </a:lnTo>
                    <a:lnTo>
                      <a:pt x="1089" y="660"/>
                    </a:lnTo>
                    <a:lnTo>
                      <a:pt x="1092" y="679"/>
                    </a:lnTo>
                    <a:lnTo>
                      <a:pt x="1094" y="707"/>
                    </a:lnTo>
                    <a:lnTo>
                      <a:pt x="1094" y="716"/>
                    </a:lnTo>
                    <a:lnTo>
                      <a:pt x="1092" y="726"/>
                    </a:lnTo>
                    <a:lnTo>
                      <a:pt x="1077" y="742"/>
                    </a:lnTo>
                    <a:lnTo>
                      <a:pt x="1077" y="740"/>
                    </a:lnTo>
                    <a:lnTo>
                      <a:pt x="1073" y="740"/>
                    </a:lnTo>
                    <a:lnTo>
                      <a:pt x="1070" y="742"/>
                    </a:lnTo>
                    <a:lnTo>
                      <a:pt x="1066" y="754"/>
                    </a:lnTo>
                    <a:lnTo>
                      <a:pt x="1066" y="776"/>
                    </a:lnTo>
                    <a:lnTo>
                      <a:pt x="1061" y="790"/>
                    </a:lnTo>
                    <a:lnTo>
                      <a:pt x="1054" y="792"/>
                    </a:lnTo>
                    <a:lnTo>
                      <a:pt x="1051" y="794"/>
                    </a:lnTo>
                    <a:lnTo>
                      <a:pt x="1051" y="799"/>
                    </a:lnTo>
                    <a:lnTo>
                      <a:pt x="1044" y="804"/>
                    </a:lnTo>
                    <a:lnTo>
                      <a:pt x="1032" y="806"/>
                    </a:lnTo>
                    <a:lnTo>
                      <a:pt x="1023" y="813"/>
                    </a:lnTo>
                    <a:lnTo>
                      <a:pt x="1021" y="835"/>
                    </a:lnTo>
                    <a:lnTo>
                      <a:pt x="1021" y="842"/>
                    </a:lnTo>
                    <a:lnTo>
                      <a:pt x="1018" y="854"/>
                    </a:lnTo>
                    <a:lnTo>
                      <a:pt x="1021" y="863"/>
                    </a:lnTo>
                    <a:lnTo>
                      <a:pt x="1025" y="870"/>
                    </a:lnTo>
                    <a:lnTo>
                      <a:pt x="1037" y="877"/>
                    </a:lnTo>
                    <a:lnTo>
                      <a:pt x="1054" y="882"/>
                    </a:lnTo>
                    <a:lnTo>
                      <a:pt x="1066" y="882"/>
                    </a:lnTo>
                    <a:lnTo>
                      <a:pt x="1073" y="877"/>
                    </a:lnTo>
                    <a:lnTo>
                      <a:pt x="1077" y="863"/>
                    </a:lnTo>
                    <a:lnTo>
                      <a:pt x="1084" y="858"/>
                    </a:lnTo>
                    <a:lnTo>
                      <a:pt x="1092" y="854"/>
                    </a:lnTo>
                    <a:lnTo>
                      <a:pt x="1094" y="849"/>
                    </a:lnTo>
                    <a:lnTo>
                      <a:pt x="1106" y="820"/>
                    </a:lnTo>
                    <a:lnTo>
                      <a:pt x="1106" y="816"/>
                    </a:lnTo>
                    <a:lnTo>
                      <a:pt x="1099" y="813"/>
                    </a:lnTo>
                    <a:lnTo>
                      <a:pt x="1099" y="811"/>
                    </a:lnTo>
                    <a:lnTo>
                      <a:pt x="1106" y="811"/>
                    </a:lnTo>
                    <a:lnTo>
                      <a:pt x="1113" y="806"/>
                    </a:lnTo>
                    <a:lnTo>
                      <a:pt x="1115" y="799"/>
                    </a:lnTo>
                    <a:lnTo>
                      <a:pt x="1125" y="794"/>
                    </a:lnTo>
                    <a:lnTo>
                      <a:pt x="1144" y="785"/>
                    </a:lnTo>
                    <a:lnTo>
                      <a:pt x="1155" y="776"/>
                    </a:lnTo>
                    <a:lnTo>
                      <a:pt x="1160" y="773"/>
                    </a:lnTo>
                    <a:lnTo>
                      <a:pt x="1172" y="776"/>
                    </a:lnTo>
                    <a:lnTo>
                      <a:pt x="1186" y="783"/>
                    </a:lnTo>
                    <a:lnTo>
                      <a:pt x="1200" y="794"/>
                    </a:lnTo>
                    <a:lnTo>
                      <a:pt x="1210" y="811"/>
                    </a:lnTo>
                    <a:lnTo>
                      <a:pt x="1229" y="856"/>
                    </a:lnTo>
                    <a:lnTo>
                      <a:pt x="1250" y="927"/>
                    </a:lnTo>
                    <a:lnTo>
                      <a:pt x="1266" y="967"/>
                    </a:lnTo>
                    <a:lnTo>
                      <a:pt x="1271" y="976"/>
                    </a:lnTo>
                    <a:lnTo>
                      <a:pt x="1274" y="981"/>
                    </a:lnTo>
                    <a:lnTo>
                      <a:pt x="1271" y="1040"/>
                    </a:lnTo>
                    <a:lnTo>
                      <a:pt x="1266" y="1064"/>
                    </a:lnTo>
                    <a:lnTo>
                      <a:pt x="1252" y="1081"/>
                    </a:lnTo>
                    <a:lnTo>
                      <a:pt x="1240" y="1097"/>
                    </a:lnTo>
                    <a:lnTo>
                      <a:pt x="1224" y="1123"/>
                    </a:lnTo>
                    <a:lnTo>
                      <a:pt x="1205" y="1137"/>
                    </a:lnTo>
                    <a:lnTo>
                      <a:pt x="1196" y="1144"/>
                    </a:lnTo>
                    <a:lnTo>
                      <a:pt x="1193" y="1149"/>
                    </a:lnTo>
                    <a:lnTo>
                      <a:pt x="1191" y="1149"/>
                    </a:lnTo>
                    <a:lnTo>
                      <a:pt x="1186" y="1161"/>
                    </a:lnTo>
                    <a:lnTo>
                      <a:pt x="1184" y="1180"/>
                    </a:lnTo>
                    <a:lnTo>
                      <a:pt x="1184" y="1192"/>
                    </a:lnTo>
                    <a:lnTo>
                      <a:pt x="1186" y="1199"/>
                    </a:lnTo>
                    <a:lnTo>
                      <a:pt x="1184" y="1203"/>
                    </a:lnTo>
                    <a:lnTo>
                      <a:pt x="1177" y="1213"/>
                    </a:lnTo>
                    <a:lnTo>
                      <a:pt x="1174" y="1218"/>
                    </a:lnTo>
                    <a:lnTo>
                      <a:pt x="1177" y="1222"/>
                    </a:lnTo>
                    <a:lnTo>
                      <a:pt x="1174" y="1225"/>
                    </a:lnTo>
                    <a:lnTo>
                      <a:pt x="1172" y="1225"/>
                    </a:lnTo>
                    <a:lnTo>
                      <a:pt x="1170" y="1229"/>
                    </a:lnTo>
                    <a:lnTo>
                      <a:pt x="1162" y="1239"/>
                    </a:lnTo>
                    <a:lnTo>
                      <a:pt x="1153" y="1265"/>
                    </a:lnTo>
                    <a:lnTo>
                      <a:pt x="1153" y="1270"/>
                    </a:lnTo>
                    <a:lnTo>
                      <a:pt x="1151" y="1270"/>
                    </a:lnTo>
                    <a:lnTo>
                      <a:pt x="1099" y="1279"/>
                    </a:lnTo>
                    <a:lnTo>
                      <a:pt x="1047" y="1289"/>
                    </a:lnTo>
                    <a:lnTo>
                      <a:pt x="995" y="1296"/>
                    </a:lnTo>
                    <a:lnTo>
                      <a:pt x="943" y="1305"/>
                    </a:lnTo>
                    <a:lnTo>
                      <a:pt x="943" y="1293"/>
                    </a:lnTo>
                    <a:lnTo>
                      <a:pt x="895" y="1298"/>
                    </a:lnTo>
                    <a:lnTo>
                      <a:pt x="848" y="1305"/>
                    </a:lnTo>
                    <a:lnTo>
                      <a:pt x="801" y="1310"/>
                    </a:lnTo>
                    <a:lnTo>
                      <a:pt x="751" y="1315"/>
                    </a:lnTo>
                    <a:lnTo>
                      <a:pt x="704" y="1319"/>
                    </a:lnTo>
                    <a:lnTo>
                      <a:pt x="657" y="1326"/>
                    </a:lnTo>
                    <a:lnTo>
                      <a:pt x="619" y="1329"/>
                    </a:lnTo>
                    <a:lnTo>
                      <a:pt x="628" y="1322"/>
                    </a:lnTo>
                    <a:lnTo>
                      <a:pt x="642" y="1308"/>
                    </a:lnTo>
                    <a:lnTo>
                      <a:pt x="652" y="1293"/>
                    </a:lnTo>
                    <a:lnTo>
                      <a:pt x="659" y="1277"/>
                    </a:lnTo>
                    <a:lnTo>
                      <a:pt x="666" y="1256"/>
                    </a:lnTo>
                    <a:lnTo>
                      <a:pt x="680" y="1225"/>
                    </a:lnTo>
                    <a:lnTo>
                      <a:pt x="687" y="1206"/>
                    </a:lnTo>
                    <a:lnTo>
                      <a:pt x="692" y="1182"/>
                    </a:lnTo>
                    <a:lnTo>
                      <a:pt x="694" y="1159"/>
                    </a:lnTo>
                    <a:lnTo>
                      <a:pt x="697" y="1133"/>
                    </a:lnTo>
                    <a:lnTo>
                      <a:pt x="697" y="1107"/>
                    </a:lnTo>
                    <a:lnTo>
                      <a:pt x="692" y="1081"/>
                    </a:lnTo>
                    <a:lnTo>
                      <a:pt x="685" y="1055"/>
                    </a:lnTo>
                    <a:lnTo>
                      <a:pt x="676" y="1029"/>
                    </a:lnTo>
                    <a:lnTo>
                      <a:pt x="668" y="1014"/>
                    </a:lnTo>
                    <a:lnTo>
                      <a:pt x="666" y="1010"/>
                    </a:lnTo>
                    <a:lnTo>
                      <a:pt x="650" y="976"/>
                    </a:lnTo>
                    <a:lnTo>
                      <a:pt x="628" y="932"/>
                    </a:lnTo>
                    <a:lnTo>
                      <a:pt x="628" y="927"/>
                    </a:lnTo>
                    <a:lnTo>
                      <a:pt x="640" y="896"/>
                    </a:lnTo>
                    <a:lnTo>
                      <a:pt x="640" y="891"/>
                    </a:lnTo>
                    <a:lnTo>
                      <a:pt x="635" y="870"/>
                    </a:lnTo>
                    <a:lnTo>
                      <a:pt x="631" y="858"/>
                    </a:lnTo>
                    <a:lnTo>
                      <a:pt x="621" y="842"/>
                    </a:lnTo>
                    <a:lnTo>
                      <a:pt x="621" y="839"/>
                    </a:lnTo>
                    <a:lnTo>
                      <a:pt x="635" y="818"/>
                    </a:lnTo>
                    <a:lnTo>
                      <a:pt x="642" y="802"/>
                    </a:lnTo>
                    <a:lnTo>
                      <a:pt x="650" y="780"/>
                    </a:lnTo>
                    <a:lnTo>
                      <a:pt x="652" y="759"/>
                    </a:lnTo>
                    <a:lnTo>
                      <a:pt x="652" y="733"/>
                    </a:lnTo>
                    <a:lnTo>
                      <a:pt x="652" y="716"/>
                    </a:lnTo>
                    <a:lnTo>
                      <a:pt x="647" y="709"/>
                    </a:lnTo>
                    <a:lnTo>
                      <a:pt x="647" y="702"/>
                    </a:lnTo>
                    <a:lnTo>
                      <a:pt x="650" y="697"/>
                    </a:lnTo>
                    <a:lnTo>
                      <a:pt x="666" y="690"/>
                    </a:lnTo>
                    <a:lnTo>
                      <a:pt x="671" y="681"/>
                    </a:lnTo>
                    <a:lnTo>
                      <a:pt x="668" y="662"/>
                    </a:lnTo>
                    <a:lnTo>
                      <a:pt x="671" y="655"/>
                    </a:lnTo>
                    <a:lnTo>
                      <a:pt x="678" y="653"/>
                    </a:lnTo>
                    <a:lnTo>
                      <a:pt x="683" y="650"/>
                    </a:lnTo>
                    <a:lnTo>
                      <a:pt x="687" y="641"/>
                    </a:lnTo>
                    <a:lnTo>
                      <a:pt x="692" y="638"/>
                    </a:lnTo>
                    <a:lnTo>
                      <a:pt x="702" y="641"/>
                    </a:lnTo>
                    <a:lnTo>
                      <a:pt x="711" y="629"/>
                    </a:lnTo>
                    <a:lnTo>
                      <a:pt x="723" y="603"/>
                    </a:lnTo>
                    <a:lnTo>
                      <a:pt x="732" y="589"/>
                    </a:lnTo>
                    <a:lnTo>
                      <a:pt x="739" y="584"/>
                    </a:lnTo>
                    <a:lnTo>
                      <a:pt x="739" y="586"/>
                    </a:lnTo>
                    <a:lnTo>
                      <a:pt x="737" y="596"/>
                    </a:lnTo>
                    <a:lnTo>
                      <a:pt x="735" y="603"/>
                    </a:lnTo>
                    <a:lnTo>
                      <a:pt x="739" y="612"/>
                    </a:lnTo>
                    <a:lnTo>
                      <a:pt x="737" y="619"/>
                    </a:lnTo>
                    <a:lnTo>
                      <a:pt x="735" y="631"/>
                    </a:lnTo>
                    <a:lnTo>
                      <a:pt x="739" y="636"/>
                    </a:lnTo>
                    <a:lnTo>
                      <a:pt x="735" y="655"/>
                    </a:lnTo>
                    <a:lnTo>
                      <a:pt x="735" y="664"/>
                    </a:lnTo>
                    <a:lnTo>
                      <a:pt x="739" y="671"/>
                    </a:lnTo>
                    <a:lnTo>
                      <a:pt x="744" y="667"/>
                    </a:lnTo>
                    <a:lnTo>
                      <a:pt x="746" y="655"/>
                    </a:lnTo>
                    <a:lnTo>
                      <a:pt x="749" y="648"/>
                    </a:lnTo>
                    <a:lnTo>
                      <a:pt x="746" y="648"/>
                    </a:lnTo>
                    <a:lnTo>
                      <a:pt x="746" y="643"/>
                    </a:lnTo>
                    <a:lnTo>
                      <a:pt x="749" y="634"/>
                    </a:lnTo>
                    <a:lnTo>
                      <a:pt x="751" y="629"/>
                    </a:lnTo>
                    <a:lnTo>
                      <a:pt x="754" y="629"/>
                    </a:lnTo>
                    <a:lnTo>
                      <a:pt x="756" y="634"/>
                    </a:lnTo>
                    <a:lnTo>
                      <a:pt x="756" y="643"/>
                    </a:lnTo>
                    <a:lnTo>
                      <a:pt x="751" y="667"/>
                    </a:lnTo>
                    <a:lnTo>
                      <a:pt x="749" y="674"/>
                    </a:lnTo>
                    <a:lnTo>
                      <a:pt x="751" y="676"/>
                    </a:lnTo>
                    <a:lnTo>
                      <a:pt x="758" y="660"/>
                    </a:lnTo>
                    <a:lnTo>
                      <a:pt x="765" y="636"/>
                    </a:lnTo>
                    <a:lnTo>
                      <a:pt x="770" y="617"/>
                    </a:lnTo>
                    <a:lnTo>
                      <a:pt x="770" y="608"/>
                    </a:lnTo>
                    <a:lnTo>
                      <a:pt x="765" y="584"/>
                    </a:lnTo>
                    <a:lnTo>
                      <a:pt x="763" y="575"/>
                    </a:lnTo>
                    <a:lnTo>
                      <a:pt x="765" y="567"/>
                    </a:lnTo>
                    <a:lnTo>
                      <a:pt x="772" y="558"/>
                    </a:lnTo>
                    <a:lnTo>
                      <a:pt x="787" y="546"/>
                    </a:lnTo>
                    <a:lnTo>
                      <a:pt x="798" y="541"/>
                    </a:lnTo>
                    <a:lnTo>
                      <a:pt x="813" y="539"/>
                    </a:lnTo>
                    <a:lnTo>
                      <a:pt x="822" y="534"/>
                    </a:lnTo>
                    <a:lnTo>
                      <a:pt x="827" y="530"/>
                    </a:lnTo>
                    <a:lnTo>
                      <a:pt x="824" y="527"/>
                    </a:lnTo>
                    <a:lnTo>
                      <a:pt x="815" y="525"/>
                    </a:lnTo>
                    <a:lnTo>
                      <a:pt x="808" y="520"/>
                    </a:lnTo>
                    <a:lnTo>
                      <a:pt x="801" y="513"/>
                    </a:lnTo>
                    <a:lnTo>
                      <a:pt x="798" y="504"/>
                    </a:lnTo>
                    <a:lnTo>
                      <a:pt x="798" y="492"/>
                    </a:lnTo>
                    <a:lnTo>
                      <a:pt x="803" y="480"/>
                    </a:lnTo>
                    <a:lnTo>
                      <a:pt x="813" y="468"/>
                    </a:lnTo>
                    <a:lnTo>
                      <a:pt x="815" y="461"/>
                    </a:lnTo>
                    <a:lnTo>
                      <a:pt x="810" y="456"/>
                    </a:lnTo>
                    <a:lnTo>
                      <a:pt x="815" y="454"/>
                    </a:lnTo>
                    <a:lnTo>
                      <a:pt x="827" y="454"/>
                    </a:lnTo>
                    <a:lnTo>
                      <a:pt x="836" y="452"/>
                    </a:lnTo>
                    <a:lnTo>
                      <a:pt x="841" y="447"/>
                    </a:lnTo>
                    <a:lnTo>
                      <a:pt x="843" y="447"/>
                    </a:lnTo>
                    <a:close/>
                    <a:moveTo>
                      <a:pt x="730" y="501"/>
                    </a:moveTo>
                    <a:lnTo>
                      <a:pt x="725" y="504"/>
                    </a:lnTo>
                    <a:lnTo>
                      <a:pt x="723" y="501"/>
                    </a:lnTo>
                    <a:lnTo>
                      <a:pt x="720" y="492"/>
                    </a:lnTo>
                    <a:lnTo>
                      <a:pt x="725" y="473"/>
                    </a:lnTo>
                    <a:lnTo>
                      <a:pt x="728" y="466"/>
                    </a:lnTo>
                    <a:lnTo>
                      <a:pt x="737" y="468"/>
                    </a:lnTo>
                    <a:lnTo>
                      <a:pt x="735" y="470"/>
                    </a:lnTo>
                    <a:lnTo>
                      <a:pt x="739" y="487"/>
                    </a:lnTo>
                    <a:lnTo>
                      <a:pt x="737" y="496"/>
                    </a:lnTo>
                    <a:lnTo>
                      <a:pt x="730" y="501"/>
                    </a:lnTo>
                    <a:close/>
                    <a:moveTo>
                      <a:pt x="680" y="615"/>
                    </a:moveTo>
                    <a:lnTo>
                      <a:pt x="678" y="617"/>
                    </a:lnTo>
                    <a:lnTo>
                      <a:pt x="673" y="617"/>
                    </a:lnTo>
                    <a:lnTo>
                      <a:pt x="671" y="615"/>
                    </a:lnTo>
                    <a:lnTo>
                      <a:pt x="666" y="605"/>
                    </a:lnTo>
                    <a:lnTo>
                      <a:pt x="668" y="603"/>
                    </a:lnTo>
                    <a:lnTo>
                      <a:pt x="676" y="605"/>
                    </a:lnTo>
                    <a:lnTo>
                      <a:pt x="678" y="608"/>
                    </a:lnTo>
                    <a:lnTo>
                      <a:pt x="680" y="615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27" name="Freeform 65">
                <a:extLst>
                  <a:ext uri="{FF2B5EF4-FFF2-40B4-BE49-F238E27FC236}">
                    <a16:creationId xmlns:a16="http://schemas.microsoft.com/office/drawing/2014/main" id="{33F83751-8B9A-4D7A-3A53-07A448C44A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6" y="-875"/>
                <a:ext cx="1090" cy="1249"/>
              </a:xfrm>
              <a:custGeom>
                <a:avLst/>
                <a:gdLst>
                  <a:gd name="T0" fmla="*/ 574 w 1090"/>
                  <a:gd name="T1" fmla="*/ 154 h 1249"/>
                  <a:gd name="T2" fmla="*/ 619 w 1090"/>
                  <a:gd name="T3" fmla="*/ 166 h 1249"/>
                  <a:gd name="T4" fmla="*/ 669 w 1090"/>
                  <a:gd name="T5" fmla="*/ 192 h 1249"/>
                  <a:gd name="T6" fmla="*/ 693 w 1090"/>
                  <a:gd name="T7" fmla="*/ 225 h 1249"/>
                  <a:gd name="T8" fmla="*/ 740 w 1090"/>
                  <a:gd name="T9" fmla="*/ 218 h 1249"/>
                  <a:gd name="T10" fmla="*/ 813 w 1090"/>
                  <a:gd name="T11" fmla="*/ 265 h 1249"/>
                  <a:gd name="T12" fmla="*/ 879 w 1090"/>
                  <a:gd name="T13" fmla="*/ 234 h 1249"/>
                  <a:gd name="T14" fmla="*/ 915 w 1090"/>
                  <a:gd name="T15" fmla="*/ 246 h 1249"/>
                  <a:gd name="T16" fmla="*/ 983 w 1090"/>
                  <a:gd name="T17" fmla="*/ 248 h 1249"/>
                  <a:gd name="T18" fmla="*/ 1031 w 1090"/>
                  <a:gd name="T19" fmla="*/ 263 h 1249"/>
                  <a:gd name="T20" fmla="*/ 1090 w 1090"/>
                  <a:gd name="T21" fmla="*/ 263 h 1249"/>
                  <a:gd name="T22" fmla="*/ 1078 w 1090"/>
                  <a:gd name="T23" fmla="*/ 267 h 1249"/>
                  <a:gd name="T24" fmla="*/ 1033 w 1090"/>
                  <a:gd name="T25" fmla="*/ 300 h 1249"/>
                  <a:gd name="T26" fmla="*/ 915 w 1090"/>
                  <a:gd name="T27" fmla="*/ 362 h 1249"/>
                  <a:gd name="T28" fmla="*/ 804 w 1090"/>
                  <a:gd name="T29" fmla="*/ 480 h 1249"/>
                  <a:gd name="T30" fmla="*/ 740 w 1090"/>
                  <a:gd name="T31" fmla="*/ 546 h 1249"/>
                  <a:gd name="T32" fmla="*/ 723 w 1090"/>
                  <a:gd name="T33" fmla="*/ 565 h 1249"/>
                  <a:gd name="T34" fmla="*/ 716 w 1090"/>
                  <a:gd name="T35" fmla="*/ 629 h 1249"/>
                  <a:gd name="T36" fmla="*/ 714 w 1090"/>
                  <a:gd name="T37" fmla="*/ 693 h 1249"/>
                  <a:gd name="T38" fmla="*/ 662 w 1090"/>
                  <a:gd name="T39" fmla="*/ 731 h 1249"/>
                  <a:gd name="T40" fmla="*/ 636 w 1090"/>
                  <a:gd name="T41" fmla="*/ 773 h 1249"/>
                  <a:gd name="T42" fmla="*/ 655 w 1090"/>
                  <a:gd name="T43" fmla="*/ 806 h 1249"/>
                  <a:gd name="T44" fmla="*/ 667 w 1090"/>
                  <a:gd name="T45" fmla="*/ 842 h 1249"/>
                  <a:gd name="T46" fmla="*/ 657 w 1090"/>
                  <a:gd name="T47" fmla="*/ 899 h 1249"/>
                  <a:gd name="T48" fmla="*/ 657 w 1090"/>
                  <a:gd name="T49" fmla="*/ 936 h 1249"/>
                  <a:gd name="T50" fmla="*/ 660 w 1090"/>
                  <a:gd name="T51" fmla="*/ 979 h 1249"/>
                  <a:gd name="T52" fmla="*/ 695 w 1090"/>
                  <a:gd name="T53" fmla="*/ 1005 h 1249"/>
                  <a:gd name="T54" fmla="*/ 730 w 1090"/>
                  <a:gd name="T55" fmla="*/ 1026 h 1249"/>
                  <a:gd name="T56" fmla="*/ 771 w 1090"/>
                  <a:gd name="T57" fmla="*/ 1045 h 1249"/>
                  <a:gd name="T58" fmla="*/ 823 w 1090"/>
                  <a:gd name="T59" fmla="*/ 1100 h 1249"/>
                  <a:gd name="T60" fmla="*/ 886 w 1090"/>
                  <a:gd name="T61" fmla="*/ 1137 h 1249"/>
                  <a:gd name="T62" fmla="*/ 851 w 1090"/>
                  <a:gd name="T63" fmla="*/ 1232 h 1249"/>
                  <a:gd name="T64" fmla="*/ 702 w 1090"/>
                  <a:gd name="T65" fmla="*/ 1239 h 1249"/>
                  <a:gd name="T66" fmla="*/ 553 w 1090"/>
                  <a:gd name="T67" fmla="*/ 1244 h 1249"/>
                  <a:gd name="T68" fmla="*/ 402 w 1090"/>
                  <a:gd name="T69" fmla="*/ 1246 h 1249"/>
                  <a:gd name="T70" fmla="*/ 253 w 1090"/>
                  <a:gd name="T71" fmla="*/ 1249 h 1249"/>
                  <a:gd name="T72" fmla="*/ 102 w 1090"/>
                  <a:gd name="T73" fmla="*/ 1249 h 1249"/>
                  <a:gd name="T74" fmla="*/ 104 w 1090"/>
                  <a:gd name="T75" fmla="*/ 1107 h 1249"/>
                  <a:gd name="T76" fmla="*/ 104 w 1090"/>
                  <a:gd name="T77" fmla="*/ 962 h 1249"/>
                  <a:gd name="T78" fmla="*/ 92 w 1090"/>
                  <a:gd name="T79" fmla="*/ 854 h 1249"/>
                  <a:gd name="T80" fmla="*/ 52 w 1090"/>
                  <a:gd name="T81" fmla="*/ 814 h 1249"/>
                  <a:gd name="T82" fmla="*/ 52 w 1090"/>
                  <a:gd name="T83" fmla="*/ 792 h 1249"/>
                  <a:gd name="T84" fmla="*/ 85 w 1090"/>
                  <a:gd name="T85" fmla="*/ 752 h 1249"/>
                  <a:gd name="T86" fmla="*/ 90 w 1090"/>
                  <a:gd name="T87" fmla="*/ 691 h 1249"/>
                  <a:gd name="T88" fmla="*/ 83 w 1090"/>
                  <a:gd name="T89" fmla="*/ 650 h 1249"/>
                  <a:gd name="T90" fmla="*/ 57 w 1090"/>
                  <a:gd name="T91" fmla="*/ 582 h 1249"/>
                  <a:gd name="T92" fmla="*/ 62 w 1090"/>
                  <a:gd name="T93" fmla="*/ 523 h 1249"/>
                  <a:gd name="T94" fmla="*/ 50 w 1090"/>
                  <a:gd name="T95" fmla="*/ 428 h 1249"/>
                  <a:gd name="T96" fmla="*/ 36 w 1090"/>
                  <a:gd name="T97" fmla="*/ 345 h 1249"/>
                  <a:gd name="T98" fmla="*/ 28 w 1090"/>
                  <a:gd name="T99" fmla="*/ 310 h 1249"/>
                  <a:gd name="T100" fmla="*/ 12 w 1090"/>
                  <a:gd name="T101" fmla="*/ 232 h 1249"/>
                  <a:gd name="T102" fmla="*/ 10 w 1090"/>
                  <a:gd name="T103" fmla="*/ 180 h 1249"/>
                  <a:gd name="T104" fmla="*/ 0 w 1090"/>
                  <a:gd name="T105" fmla="*/ 81 h 1249"/>
                  <a:gd name="T106" fmla="*/ 137 w 1090"/>
                  <a:gd name="T107" fmla="*/ 83 h 1249"/>
                  <a:gd name="T108" fmla="*/ 291 w 1090"/>
                  <a:gd name="T109" fmla="*/ 83 h 1249"/>
                  <a:gd name="T110" fmla="*/ 322 w 1090"/>
                  <a:gd name="T111" fmla="*/ 5 h 1249"/>
                  <a:gd name="T112" fmla="*/ 331 w 1090"/>
                  <a:gd name="T113" fmla="*/ 24 h 1249"/>
                  <a:gd name="T114" fmla="*/ 355 w 1090"/>
                  <a:gd name="T115" fmla="*/ 109 h 1249"/>
                  <a:gd name="T116" fmla="*/ 359 w 1090"/>
                  <a:gd name="T117" fmla="*/ 128 h 1249"/>
                  <a:gd name="T118" fmla="*/ 447 w 1090"/>
                  <a:gd name="T119" fmla="*/ 151 h 1249"/>
                  <a:gd name="T120" fmla="*/ 496 w 1090"/>
                  <a:gd name="T121" fmla="*/ 177 h 1249"/>
                  <a:gd name="T122" fmla="*/ 544 w 1090"/>
                  <a:gd name="T123" fmla="*/ 156 h 1249"/>
                  <a:gd name="T124" fmla="*/ 544 w 1090"/>
                  <a:gd name="T125" fmla="*/ 156 h 1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90" h="1249">
                    <a:moveTo>
                      <a:pt x="544" y="156"/>
                    </a:moveTo>
                    <a:lnTo>
                      <a:pt x="560" y="154"/>
                    </a:lnTo>
                    <a:lnTo>
                      <a:pt x="574" y="154"/>
                    </a:lnTo>
                    <a:lnTo>
                      <a:pt x="589" y="156"/>
                    </a:lnTo>
                    <a:lnTo>
                      <a:pt x="598" y="156"/>
                    </a:lnTo>
                    <a:lnTo>
                      <a:pt x="619" y="166"/>
                    </a:lnTo>
                    <a:lnTo>
                      <a:pt x="636" y="173"/>
                    </a:lnTo>
                    <a:lnTo>
                      <a:pt x="657" y="187"/>
                    </a:lnTo>
                    <a:lnTo>
                      <a:pt x="669" y="192"/>
                    </a:lnTo>
                    <a:lnTo>
                      <a:pt x="676" y="206"/>
                    </a:lnTo>
                    <a:lnTo>
                      <a:pt x="683" y="225"/>
                    </a:lnTo>
                    <a:lnTo>
                      <a:pt x="693" y="225"/>
                    </a:lnTo>
                    <a:lnTo>
                      <a:pt x="700" y="213"/>
                    </a:lnTo>
                    <a:lnTo>
                      <a:pt x="716" y="211"/>
                    </a:lnTo>
                    <a:lnTo>
                      <a:pt x="740" y="218"/>
                    </a:lnTo>
                    <a:lnTo>
                      <a:pt x="764" y="239"/>
                    </a:lnTo>
                    <a:lnTo>
                      <a:pt x="794" y="258"/>
                    </a:lnTo>
                    <a:lnTo>
                      <a:pt x="813" y="265"/>
                    </a:lnTo>
                    <a:lnTo>
                      <a:pt x="832" y="265"/>
                    </a:lnTo>
                    <a:lnTo>
                      <a:pt x="856" y="253"/>
                    </a:lnTo>
                    <a:lnTo>
                      <a:pt x="879" y="234"/>
                    </a:lnTo>
                    <a:lnTo>
                      <a:pt x="896" y="230"/>
                    </a:lnTo>
                    <a:lnTo>
                      <a:pt x="908" y="230"/>
                    </a:lnTo>
                    <a:lnTo>
                      <a:pt x="915" y="246"/>
                    </a:lnTo>
                    <a:lnTo>
                      <a:pt x="922" y="251"/>
                    </a:lnTo>
                    <a:lnTo>
                      <a:pt x="941" y="248"/>
                    </a:lnTo>
                    <a:lnTo>
                      <a:pt x="983" y="248"/>
                    </a:lnTo>
                    <a:lnTo>
                      <a:pt x="1014" y="241"/>
                    </a:lnTo>
                    <a:lnTo>
                      <a:pt x="1024" y="251"/>
                    </a:lnTo>
                    <a:lnTo>
                      <a:pt x="1031" y="263"/>
                    </a:lnTo>
                    <a:lnTo>
                      <a:pt x="1045" y="265"/>
                    </a:lnTo>
                    <a:lnTo>
                      <a:pt x="1061" y="260"/>
                    </a:lnTo>
                    <a:lnTo>
                      <a:pt x="1090" y="263"/>
                    </a:lnTo>
                    <a:lnTo>
                      <a:pt x="1087" y="265"/>
                    </a:lnTo>
                    <a:lnTo>
                      <a:pt x="1083" y="263"/>
                    </a:lnTo>
                    <a:lnTo>
                      <a:pt x="1078" y="267"/>
                    </a:lnTo>
                    <a:lnTo>
                      <a:pt x="1071" y="274"/>
                    </a:lnTo>
                    <a:lnTo>
                      <a:pt x="1057" y="286"/>
                    </a:lnTo>
                    <a:lnTo>
                      <a:pt x="1033" y="300"/>
                    </a:lnTo>
                    <a:lnTo>
                      <a:pt x="1005" y="312"/>
                    </a:lnTo>
                    <a:lnTo>
                      <a:pt x="948" y="338"/>
                    </a:lnTo>
                    <a:lnTo>
                      <a:pt x="915" y="362"/>
                    </a:lnTo>
                    <a:lnTo>
                      <a:pt x="898" y="376"/>
                    </a:lnTo>
                    <a:lnTo>
                      <a:pt x="842" y="445"/>
                    </a:lnTo>
                    <a:lnTo>
                      <a:pt x="804" y="480"/>
                    </a:lnTo>
                    <a:lnTo>
                      <a:pt x="747" y="532"/>
                    </a:lnTo>
                    <a:lnTo>
                      <a:pt x="740" y="539"/>
                    </a:lnTo>
                    <a:lnTo>
                      <a:pt x="740" y="546"/>
                    </a:lnTo>
                    <a:lnTo>
                      <a:pt x="738" y="546"/>
                    </a:lnTo>
                    <a:lnTo>
                      <a:pt x="728" y="558"/>
                    </a:lnTo>
                    <a:lnTo>
                      <a:pt x="723" y="565"/>
                    </a:lnTo>
                    <a:lnTo>
                      <a:pt x="714" y="568"/>
                    </a:lnTo>
                    <a:lnTo>
                      <a:pt x="716" y="598"/>
                    </a:lnTo>
                    <a:lnTo>
                      <a:pt x="716" y="629"/>
                    </a:lnTo>
                    <a:lnTo>
                      <a:pt x="719" y="660"/>
                    </a:lnTo>
                    <a:lnTo>
                      <a:pt x="719" y="691"/>
                    </a:lnTo>
                    <a:lnTo>
                      <a:pt x="714" y="693"/>
                    </a:lnTo>
                    <a:lnTo>
                      <a:pt x="709" y="700"/>
                    </a:lnTo>
                    <a:lnTo>
                      <a:pt x="700" y="702"/>
                    </a:lnTo>
                    <a:lnTo>
                      <a:pt x="662" y="731"/>
                    </a:lnTo>
                    <a:lnTo>
                      <a:pt x="655" y="738"/>
                    </a:lnTo>
                    <a:lnTo>
                      <a:pt x="648" y="754"/>
                    </a:lnTo>
                    <a:lnTo>
                      <a:pt x="636" y="773"/>
                    </a:lnTo>
                    <a:lnTo>
                      <a:pt x="634" y="783"/>
                    </a:lnTo>
                    <a:lnTo>
                      <a:pt x="634" y="797"/>
                    </a:lnTo>
                    <a:lnTo>
                      <a:pt x="655" y="806"/>
                    </a:lnTo>
                    <a:lnTo>
                      <a:pt x="662" y="818"/>
                    </a:lnTo>
                    <a:lnTo>
                      <a:pt x="667" y="830"/>
                    </a:lnTo>
                    <a:lnTo>
                      <a:pt x="667" y="842"/>
                    </a:lnTo>
                    <a:lnTo>
                      <a:pt x="657" y="863"/>
                    </a:lnTo>
                    <a:lnTo>
                      <a:pt x="655" y="873"/>
                    </a:lnTo>
                    <a:lnTo>
                      <a:pt x="657" y="899"/>
                    </a:lnTo>
                    <a:lnTo>
                      <a:pt x="652" y="908"/>
                    </a:lnTo>
                    <a:lnTo>
                      <a:pt x="657" y="929"/>
                    </a:lnTo>
                    <a:lnTo>
                      <a:pt x="657" y="936"/>
                    </a:lnTo>
                    <a:lnTo>
                      <a:pt x="655" y="960"/>
                    </a:lnTo>
                    <a:lnTo>
                      <a:pt x="655" y="967"/>
                    </a:lnTo>
                    <a:lnTo>
                      <a:pt x="660" y="979"/>
                    </a:lnTo>
                    <a:lnTo>
                      <a:pt x="660" y="981"/>
                    </a:lnTo>
                    <a:lnTo>
                      <a:pt x="678" y="998"/>
                    </a:lnTo>
                    <a:lnTo>
                      <a:pt x="695" y="1005"/>
                    </a:lnTo>
                    <a:lnTo>
                      <a:pt x="709" y="1007"/>
                    </a:lnTo>
                    <a:lnTo>
                      <a:pt x="721" y="1015"/>
                    </a:lnTo>
                    <a:lnTo>
                      <a:pt x="730" y="1026"/>
                    </a:lnTo>
                    <a:lnTo>
                      <a:pt x="740" y="1033"/>
                    </a:lnTo>
                    <a:lnTo>
                      <a:pt x="754" y="1036"/>
                    </a:lnTo>
                    <a:lnTo>
                      <a:pt x="771" y="1045"/>
                    </a:lnTo>
                    <a:lnTo>
                      <a:pt x="792" y="1069"/>
                    </a:lnTo>
                    <a:lnTo>
                      <a:pt x="804" y="1088"/>
                    </a:lnTo>
                    <a:lnTo>
                      <a:pt x="823" y="1100"/>
                    </a:lnTo>
                    <a:lnTo>
                      <a:pt x="856" y="1114"/>
                    </a:lnTo>
                    <a:lnTo>
                      <a:pt x="875" y="1128"/>
                    </a:lnTo>
                    <a:lnTo>
                      <a:pt x="886" y="1137"/>
                    </a:lnTo>
                    <a:lnTo>
                      <a:pt x="894" y="1166"/>
                    </a:lnTo>
                    <a:lnTo>
                      <a:pt x="903" y="1230"/>
                    </a:lnTo>
                    <a:lnTo>
                      <a:pt x="851" y="1232"/>
                    </a:lnTo>
                    <a:lnTo>
                      <a:pt x="801" y="1234"/>
                    </a:lnTo>
                    <a:lnTo>
                      <a:pt x="752" y="1237"/>
                    </a:lnTo>
                    <a:lnTo>
                      <a:pt x="702" y="1239"/>
                    </a:lnTo>
                    <a:lnTo>
                      <a:pt x="652" y="1239"/>
                    </a:lnTo>
                    <a:lnTo>
                      <a:pt x="603" y="1242"/>
                    </a:lnTo>
                    <a:lnTo>
                      <a:pt x="553" y="1244"/>
                    </a:lnTo>
                    <a:lnTo>
                      <a:pt x="501" y="1244"/>
                    </a:lnTo>
                    <a:lnTo>
                      <a:pt x="452" y="1246"/>
                    </a:lnTo>
                    <a:lnTo>
                      <a:pt x="402" y="1246"/>
                    </a:lnTo>
                    <a:lnTo>
                      <a:pt x="352" y="1246"/>
                    </a:lnTo>
                    <a:lnTo>
                      <a:pt x="303" y="1249"/>
                    </a:lnTo>
                    <a:lnTo>
                      <a:pt x="253" y="1249"/>
                    </a:lnTo>
                    <a:lnTo>
                      <a:pt x="203" y="1249"/>
                    </a:lnTo>
                    <a:lnTo>
                      <a:pt x="154" y="1249"/>
                    </a:lnTo>
                    <a:lnTo>
                      <a:pt x="102" y="1249"/>
                    </a:lnTo>
                    <a:lnTo>
                      <a:pt x="104" y="1201"/>
                    </a:lnTo>
                    <a:lnTo>
                      <a:pt x="104" y="1154"/>
                    </a:lnTo>
                    <a:lnTo>
                      <a:pt x="104" y="1107"/>
                    </a:lnTo>
                    <a:lnTo>
                      <a:pt x="104" y="1059"/>
                    </a:lnTo>
                    <a:lnTo>
                      <a:pt x="104" y="1010"/>
                    </a:lnTo>
                    <a:lnTo>
                      <a:pt x="104" y="962"/>
                    </a:lnTo>
                    <a:lnTo>
                      <a:pt x="104" y="915"/>
                    </a:lnTo>
                    <a:lnTo>
                      <a:pt x="104" y="868"/>
                    </a:lnTo>
                    <a:lnTo>
                      <a:pt x="92" y="854"/>
                    </a:lnTo>
                    <a:lnTo>
                      <a:pt x="69" y="840"/>
                    </a:lnTo>
                    <a:lnTo>
                      <a:pt x="62" y="832"/>
                    </a:lnTo>
                    <a:lnTo>
                      <a:pt x="52" y="814"/>
                    </a:lnTo>
                    <a:lnTo>
                      <a:pt x="47" y="804"/>
                    </a:lnTo>
                    <a:lnTo>
                      <a:pt x="45" y="799"/>
                    </a:lnTo>
                    <a:lnTo>
                      <a:pt x="52" y="792"/>
                    </a:lnTo>
                    <a:lnTo>
                      <a:pt x="73" y="771"/>
                    </a:lnTo>
                    <a:lnTo>
                      <a:pt x="80" y="762"/>
                    </a:lnTo>
                    <a:lnTo>
                      <a:pt x="85" y="752"/>
                    </a:lnTo>
                    <a:lnTo>
                      <a:pt x="90" y="731"/>
                    </a:lnTo>
                    <a:lnTo>
                      <a:pt x="88" y="714"/>
                    </a:lnTo>
                    <a:lnTo>
                      <a:pt x="90" y="691"/>
                    </a:lnTo>
                    <a:lnTo>
                      <a:pt x="85" y="672"/>
                    </a:lnTo>
                    <a:lnTo>
                      <a:pt x="85" y="662"/>
                    </a:lnTo>
                    <a:lnTo>
                      <a:pt x="83" y="650"/>
                    </a:lnTo>
                    <a:lnTo>
                      <a:pt x="66" y="620"/>
                    </a:lnTo>
                    <a:lnTo>
                      <a:pt x="62" y="594"/>
                    </a:lnTo>
                    <a:lnTo>
                      <a:pt x="57" y="582"/>
                    </a:lnTo>
                    <a:lnTo>
                      <a:pt x="57" y="549"/>
                    </a:lnTo>
                    <a:lnTo>
                      <a:pt x="57" y="542"/>
                    </a:lnTo>
                    <a:lnTo>
                      <a:pt x="62" y="523"/>
                    </a:lnTo>
                    <a:lnTo>
                      <a:pt x="54" y="513"/>
                    </a:lnTo>
                    <a:lnTo>
                      <a:pt x="52" y="504"/>
                    </a:lnTo>
                    <a:lnTo>
                      <a:pt x="50" y="428"/>
                    </a:lnTo>
                    <a:lnTo>
                      <a:pt x="47" y="416"/>
                    </a:lnTo>
                    <a:lnTo>
                      <a:pt x="50" y="381"/>
                    </a:lnTo>
                    <a:lnTo>
                      <a:pt x="36" y="345"/>
                    </a:lnTo>
                    <a:lnTo>
                      <a:pt x="31" y="331"/>
                    </a:lnTo>
                    <a:lnTo>
                      <a:pt x="28" y="317"/>
                    </a:lnTo>
                    <a:lnTo>
                      <a:pt x="28" y="310"/>
                    </a:lnTo>
                    <a:lnTo>
                      <a:pt x="19" y="284"/>
                    </a:lnTo>
                    <a:lnTo>
                      <a:pt x="12" y="256"/>
                    </a:lnTo>
                    <a:lnTo>
                      <a:pt x="12" y="232"/>
                    </a:lnTo>
                    <a:lnTo>
                      <a:pt x="12" y="215"/>
                    </a:lnTo>
                    <a:lnTo>
                      <a:pt x="12" y="201"/>
                    </a:lnTo>
                    <a:lnTo>
                      <a:pt x="10" y="180"/>
                    </a:lnTo>
                    <a:lnTo>
                      <a:pt x="12" y="166"/>
                    </a:lnTo>
                    <a:lnTo>
                      <a:pt x="12" y="149"/>
                    </a:lnTo>
                    <a:lnTo>
                      <a:pt x="0" y="81"/>
                    </a:lnTo>
                    <a:lnTo>
                      <a:pt x="17" y="81"/>
                    </a:lnTo>
                    <a:lnTo>
                      <a:pt x="78" y="83"/>
                    </a:lnTo>
                    <a:lnTo>
                      <a:pt x="137" y="83"/>
                    </a:lnTo>
                    <a:lnTo>
                      <a:pt x="196" y="83"/>
                    </a:lnTo>
                    <a:lnTo>
                      <a:pt x="258" y="83"/>
                    </a:lnTo>
                    <a:lnTo>
                      <a:pt x="291" y="83"/>
                    </a:lnTo>
                    <a:lnTo>
                      <a:pt x="291" y="36"/>
                    </a:lnTo>
                    <a:lnTo>
                      <a:pt x="291" y="0"/>
                    </a:lnTo>
                    <a:lnTo>
                      <a:pt x="322" y="5"/>
                    </a:lnTo>
                    <a:lnTo>
                      <a:pt x="331" y="12"/>
                    </a:lnTo>
                    <a:lnTo>
                      <a:pt x="333" y="14"/>
                    </a:lnTo>
                    <a:lnTo>
                      <a:pt x="331" y="24"/>
                    </a:lnTo>
                    <a:lnTo>
                      <a:pt x="336" y="55"/>
                    </a:lnTo>
                    <a:lnTo>
                      <a:pt x="340" y="78"/>
                    </a:lnTo>
                    <a:lnTo>
                      <a:pt x="355" y="109"/>
                    </a:lnTo>
                    <a:lnTo>
                      <a:pt x="355" y="109"/>
                    </a:lnTo>
                    <a:lnTo>
                      <a:pt x="355" y="121"/>
                    </a:lnTo>
                    <a:lnTo>
                      <a:pt x="359" y="128"/>
                    </a:lnTo>
                    <a:lnTo>
                      <a:pt x="366" y="135"/>
                    </a:lnTo>
                    <a:lnTo>
                      <a:pt x="397" y="142"/>
                    </a:lnTo>
                    <a:lnTo>
                      <a:pt x="447" y="151"/>
                    </a:lnTo>
                    <a:lnTo>
                      <a:pt x="478" y="161"/>
                    </a:lnTo>
                    <a:lnTo>
                      <a:pt x="485" y="173"/>
                    </a:lnTo>
                    <a:lnTo>
                      <a:pt x="496" y="177"/>
                    </a:lnTo>
                    <a:lnTo>
                      <a:pt x="518" y="175"/>
                    </a:lnTo>
                    <a:lnTo>
                      <a:pt x="532" y="170"/>
                    </a:lnTo>
                    <a:lnTo>
                      <a:pt x="544" y="156"/>
                    </a:lnTo>
                    <a:close/>
                    <a:moveTo>
                      <a:pt x="544" y="156"/>
                    </a:moveTo>
                    <a:lnTo>
                      <a:pt x="544" y="159"/>
                    </a:lnTo>
                    <a:lnTo>
                      <a:pt x="544" y="156"/>
                    </a:lnTo>
                    <a:lnTo>
                      <a:pt x="544" y="1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28" name="Freeform 66">
                <a:extLst>
                  <a:ext uri="{FF2B5EF4-FFF2-40B4-BE49-F238E27FC236}">
                    <a16:creationId xmlns:a16="http://schemas.microsoft.com/office/drawing/2014/main" id="{13DD0803-547B-6C4A-84BE-6C6BFC413B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6" y="962"/>
                <a:ext cx="1123" cy="960"/>
              </a:xfrm>
              <a:custGeom>
                <a:avLst/>
                <a:gdLst>
                  <a:gd name="T0" fmla="*/ 688 w 1123"/>
                  <a:gd name="T1" fmla="*/ 109 h 960"/>
                  <a:gd name="T2" fmla="*/ 712 w 1123"/>
                  <a:gd name="T3" fmla="*/ 182 h 960"/>
                  <a:gd name="T4" fmla="*/ 823 w 1123"/>
                  <a:gd name="T5" fmla="*/ 296 h 960"/>
                  <a:gd name="T6" fmla="*/ 868 w 1123"/>
                  <a:gd name="T7" fmla="*/ 341 h 960"/>
                  <a:gd name="T8" fmla="*/ 922 w 1123"/>
                  <a:gd name="T9" fmla="*/ 357 h 960"/>
                  <a:gd name="T10" fmla="*/ 927 w 1123"/>
                  <a:gd name="T11" fmla="*/ 364 h 960"/>
                  <a:gd name="T12" fmla="*/ 894 w 1123"/>
                  <a:gd name="T13" fmla="*/ 476 h 960"/>
                  <a:gd name="T14" fmla="*/ 929 w 1123"/>
                  <a:gd name="T15" fmla="*/ 523 h 960"/>
                  <a:gd name="T16" fmla="*/ 991 w 1123"/>
                  <a:gd name="T17" fmla="*/ 558 h 960"/>
                  <a:gd name="T18" fmla="*/ 1045 w 1123"/>
                  <a:gd name="T19" fmla="*/ 620 h 960"/>
                  <a:gd name="T20" fmla="*/ 1057 w 1123"/>
                  <a:gd name="T21" fmla="*/ 662 h 960"/>
                  <a:gd name="T22" fmla="*/ 1069 w 1123"/>
                  <a:gd name="T23" fmla="*/ 717 h 960"/>
                  <a:gd name="T24" fmla="*/ 1093 w 1123"/>
                  <a:gd name="T25" fmla="*/ 733 h 960"/>
                  <a:gd name="T26" fmla="*/ 1090 w 1123"/>
                  <a:gd name="T27" fmla="*/ 726 h 960"/>
                  <a:gd name="T28" fmla="*/ 1095 w 1123"/>
                  <a:gd name="T29" fmla="*/ 719 h 960"/>
                  <a:gd name="T30" fmla="*/ 1121 w 1123"/>
                  <a:gd name="T31" fmla="*/ 752 h 960"/>
                  <a:gd name="T32" fmla="*/ 1114 w 1123"/>
                  <a:gd name="T33" fmla="*/ 814 h 960"/>
                  <a:gd name="T34" fmla="*/ 1093 w 1123"/>
                  <a:gd name="T35" fmla="*/ 818 h 960"/>
                  <a:gd name="T36" fmla="*/ 1074 w 1123"/>
                  <a:gd name="T37" fmla="*/ 844 h 960"/>
                  <a:gd name="T38" fmla="*/ 1067 w 1123"/>
                  <a:gd name="T39" fmla="*/ 844 h 960"/>
                  <a:gd name="T40" fmla="*/ 1059 w 1123"/>
                  <a:gd name="T41" fmla="*/ 833 h 960"/>
                  <a:gd name="T42" fmla="*/ 1055 w 1123"/>
                  <a:gd name="T43" fmla="*/ 837 h 960"/>
                  <a:gd name="T44" fmla="*/ 1059 w 1123"/>
                  <a:gd name="T45" fmla="*/ 861 h 960"/>
                  <a:gd name="T46" fmla="*/ 1048 w 1123"/>
                  <a:gd name="T47" fmla="*/ 882 h 960"/>
                  <a:gd name="T48" fmla="*/ 1052 w 1123"/>
                  <a:gd name="T49" fmla="*/ 897 h 960"/>
                  <a:gd name="T50" fmla="*/ 1038 w 1123"/>
                  <a:gd name="T51" fmla="*/ 906 h 960"/>
                  <a:gd name="T52" fmla="*/ 1038 w 1123"/>
                  <a:gd name="T53" fmla="*/ 946 h 960"/>
                  <a:gd name="T54" fmla="*/ 979 w 1123"/>
                  <a:gd name="T55" fmla="*/ 956 h 960"/>
                  <a:gd name="T56" fmla="*/ 934 w 1123"/>
                  <a:gd name="T57" fmla="*/ 937 h 960"/>
                  <a:gd name="T58" fmla="*/ 958 w 1123"/>
                  <a:gd name="T59" fmla="*/ 911 h 960"/>
                  <a:gd name="T60" fmla="*/ 970 w 1123"/>
                  <a:gd name="T61" fmla="*/ 878 h 960"/>
                  <a:gd name="T62" fmla="*/ 906 w 1123"/>
                  <a:gd name="T63" fmla="*/ 854 h 960"/>
                  <a:gd name="T64" fmla="*/ 764 w 1123"/>
                  <a:gd name="T65" fmla="*/ 863 h 960"/>
                  <a:gd name="T66" fmla="*/ 622 w 1123"/>
                  <a:gd name="T67" fmla="*/ 870 h 960"/>
                  <a:gd name="T68" fmla="*/ 480 w 1123"/>
                  <a:gd name="T69" fmla="*/ 875 h 960"/>
                  <a:gd name="T70" fmla="*/ 338 w 1123"/>
                  <a:gd name="T71" fmla="*/ 880 h 960"/>
                  <a:gd name="T72" fmla="*/ 197 w 1123"/>
                  <a:gd name="T73" fmla="*/ 882 h 960"/>
                  <a:gd name="T74" fmla="*/ 197 w 1123"/>
                  <a:gd name="T75" fmla="*/ 802 h 960"/>
                  <a:gd name="T76" fmla="*/ 194 w 1123"/>
                  <a:gd name="T77" fmla="*/ 722 h 960"/>
                  <a:gd name="T78" fmla="*/ 192 w 1123"/>
                  <a:gd name="T79" fmla="*/ 639 h 960"/>
                  <a:gd name="T80" fmla="*/ 192 w 1123"/>
                  <a:gd name="T81" fmla="*/ 558 h 960"/>
                  <a:gd name="T82" fmla="*/ 190 w 1123"/>
                  <a:gd name="T83" fmla="*/ 476 h 960"/>
                  <a:gd name="T84" fmla="*/ 190 w 1123"/>
                  <a:gd name="T85" fmla="*/ 393 h 960"/>
                  <a:gd name="T86" fmla="*/ 187 w 1123"/>
                  <a:gd name="T87" fmla="*/ 331 h 960"/>
                  <a:gd name="T88" fmla="*/ 145 w 1123"/>
                  <a:gd name="T89" fmla="*/ 284 h 960"/>
                  <a:gd name="T90" fmla="*/ 112 w 1123"/>
                  <a:gd name="T91" fmla="*/ 232 h 960"/>
                  <a:gd name="T92" fmla="*/ 140 w 1123"/>
                  <a:gd name="T93" fmla="*/ 201 h 960"/>
                  <a:gd name="T94" fmla="*/ 126 w 1123"/>
                  <a:gd name="T95" fmla="*/ 171 h 960"/>
                  <a:gd name="T96" fmla="*/ 67 w 1123"/>
                  <a:gd name="T97" fmla="*/ 147 h 960"/>
                  <a:gd name="T98" fmla="*/ 48 w 1123"/>
                  <a:gd name="T99" fmla="*/ 107 h 960"/>
                  <a:gd name="T100" fmla="*/ 17 w 1123"/>
                  <a:gd name="T101" fmla="*/ 71 h 960"/>
                  <a:gd name="T102" fmla="*/ 0 w 1123"/>
                  <a:gd name="T103" fmla="*/ 22 h 960"/>
                  <a:gd name="T104" fmla="*/ 121 w 1123"/>
                  <a:gd name="T105" fmla="*/ 19 h 960"/>
                  <a:gd name="T106" fmla="*/ 242 w 1123"/>
                  <a:gd name="T107" fmla="*/ 17 h 960"/>
                  <a:gd name="T108" fmla="*/ 362 w 1123"/>
                  <a:gd name="T109" fmla="*/ 12 h 960"/>
                  <a:gd name="T110" fmla="*/ 485 w 1123"/>
                  <a:gd name="T111" fmla="*/ 7 h 960"/>
                  <a:gd name="T112" fmla="*/ 606 w 1123"/>
                  <a:gd name="T113" fmla="*/ 3 h 960"/>
                  <a:gd name="T114" fmla="*/ 662 w 1123"/>
                  <a:gd name="T115" fmla="*/ 19 h 960"/>
                  <a:gd name="T116" fmla="*/ 679 w 1123"/>
                  <a:gd name="T117" fmla="*/ 41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123" h="960">
                    <a:moveTo>
                      <a:pt x="695" y="50"/>
                    </a:moveTo>
                    <a:lnTo>
                      <a:pt x="686" y="83"/>
                    </a:lnTo>
                    <a:lnTo>
                      <a:pt x="688" y="109"/>
                    </a:lnTo>
                    <a:lnTo>
                      <a:pt x="695" y="142"/>
                    </a:lnTo>
                    <a:lnTo>
                      <a:pt x="702" y="166"/>
                    </a:lnTo>
                    <a:lnTo>
                      <a:pt x="712" y="182"/>
                    </a:lnTo>
                    <a:lnTo>
                      <a:pt x="740" y="211"/>
                    </a:lnTo>
                    <a:lnTo>
                      <a:pt x="790" y="253"/>
                    </a:lnTo>
                    <a:lnTo>
                      <a:pt x="823" y="296"/>
                    </a:lnTo>
                    <a:lnTo>
                      <a:pt x="837" y="336"/>
                    </a:lnTo>
                    <a:lnTo>
                      <a:pt x="851" y="350"/>
                    </a:lnTo>
                    <a:lnTo>
                      <a:pt x="868" y="341"/>
                    </a:lnTo>
                    <a:lnTo>
                      <a:pt x="889" y="343"/>
                    </a:lnTo>
                    <a:lnTo>
                      <a:pt x="911" y="350"/>
                    </a:lnTo>
                    <a:lnTo>
                      <a:pt x="922" y="357"/>
                    </a:lnTo>
                    <a:lnTo>
                      <a:pt x="925" y="360"/>
                    </a:lnTo>
                    <a:lnTo>
                      <a:pt x="927" y="362"/>
                    </a:lnTo>
                    <a:lnTo>
                      <a:pt x="927" y="364"/>
                    </a:lnTo>
                    <a:lnTo>
                      <a:pt x="925" y="374"/>
                    </a:lnTo>
                    <a:lnTo>
                      <a:pt x="901" y="443"/>
                    </a:lnTo>
                    <a:lnTo>
                      <a:pt x="894" y="476"/>
                    </a:lnTo>
                    <a:lnTo>
                      <a:pt x="894" y="485"/>
                    </a:lnTo>
                    <a:lnTo>
                      <a:pt x="908" y="502"/>
                    </a:lnTo>
                    <a:lnTo>
                      <a:pt x="929" y="523"/>
                    </a:lnTo>
                    <a:lnTo>
                      <a:pt x="948" y="537"/>
                    </a:lnTo>
                    <a:lnTo>
                      <a:pt x="965" y="542"/>
                    </a:lnTo>
                    <a:lnTo>
                      <a:pt x="991" y="558"/>
                    </a:lnTo>
                    <a:lnTo>
                      <a:pt x="1026" y="584"/>
                    </a:lnTo>
                    <a:lnTo>
                      <a:pt x="1043" y="606"/>
                    </a:lnTo>
                    <a:lnTo>
                      <a:pt x="1045" y="620"/>
                    </a:lnTo>
                    <a:lnTo>
                      <a:pt x="1050" y="634"/>
                    </a:lnTo>
                    <a:lnTo>
                      <a:pt x="1057" y="648"/>
                    </a:lnTo>
                    <a:lnTo>
                      <a:pt x="1057" y="662"/>
                    </a:lnTo>
                    <a:lnTo>
                      <a:pt x="1052" y="677"/>
                    </a:lnTo>
                    <a:lnTo>
                      <a:pt x="1057" y="696"/>
                    </a:lnTo>
                    <a:lnTo>
                      <a:pt x="1069" y="717"/>
                    </a:lnTo>
                    <a:lnTo>
                      <a:pt x="1081" y="731"/>
                    </a:lnTo>
                    <a:lnTo>
                      <a:pt x="1090" y="733"/>
                    </a:lnTo>
                    <a:lnTo>
                      <a:pt x="1093" y="733"/>
                    </a:lnTo>
                    <a:lnTo>
                      <a:pt x="1093" y="731"/>
                    </a:lnTo>
                    <a:lnTo>
                      <a:pt x="1090" y="729"/>
                    </a:lnTo>
                    <a:lnTo>
                      <a:pt x="1090" y="726"/>
                    </a:lnTo>
                    <a:lnTo>
                      <a:pt x="1090" y="722"/>
                    </a:lnTo>
                    <a:lnTo>
                      <a:pt x="1093" y="722"/>
                    </a:lnTo>
                    <a:lnTo>
                      <a:pt x="1095" y="719"/>
                    </a:lnTo>
                    <a:lnTo>
                      <a:pt x="1102" y="724"/>
                    </a:lnTo>
                    <a:lnTo>
                      <a:pt x="1116" y="736"/>
                    </a:lnTo>
                    <a:lnTo>
                      <a:pt x="1121" y="752"/>
                    </a:lnTo>
                    <a:lnTo>
                      <a:pt x="1123" y="774"/>
                    </a:lnTo>
                    <a:lnTo>
                      <a:pt x="1119" y="795"/>
                    </a:lnTo>
                    <a:lnTo>
                      <a:pt x="1114" y="814"/>
                    </a:lnTo>
                    <a:lnTo>
                      <a:pt x="1104" y="821"/>
                    </a:lnTo>
                    <a:lnTo>
                      <a:pt x="1100" y="821"/>
                    </a:lnTo>
                    <a:lnTo>
                      <a:pt x="1093" y="818"/>
                    </a:lnTo>
                    <a:lnTo>
                      <a:pt x="1088" y="818"/>
                    </a:lnTo>
                    <a:lnTo>
                      <a:pt x="1081" y="826"/>
                    </a:lnTo>
                    <a:lnTo>
                      <a:pt x="1074" y="844"/>
                    </a:lnTo>
                    <a:lnTo>
                      <a:pt x="1074" y="844"/>
                    </a:lnTo>
                    <a:lnTo>
                      <a:pt x="1069" y="847"/>
                    </a:lnTo>
                    <a:lnTo>
                      <a:pt x="1067" y="844"/>
                    </a:lnTo>
                    <a:lnTo>
                      <a:pt x="1067" y="844"/>
                    </a:lnTo>
                    <a:lnTo>
                      <a:pt x="1064" y="837"/>
                    </a:lnTo>
                    <a:lnTo>
                      <a:pt x="1059" y="833"/>
                    </a:lnTo>
                    <a:lnTo>
                      <a:pt x="1057" y="833"/>
                    </a:lnTo>
                    <a:lnTo>
                      <a:pt x="1055" y="833"/>
                    </a:lnTo>
                    <a:lnTo>
                      <a:pt x="1055" y="837"/>
                    </a:lnTo>
                    <a:lnTo>
                      <a:pt x="1055" y="842"/>
                    </a:lnTo>
                    <a:lnTo>
                      <a:pt x="1055" y="844"/>
                    </a:lnTo>
                    <a:lnTo>
                      <a:pt x="1059" y="861"/>
                    </a:lnTo>
                    <a:lnTo>
                      <a:pt x="1057" y="870"/>
                    </a:lnTo>
                    <a:lnTo>
                      <a:pt x="1050" y="878"/>
                    </a:lnTo>
                    <a:lnTo>
                      <a:pt x="1048" y="882"/>
                    </a:lnTo>
                    <a:lnTo>
                      <a:pt x="1055" y="889"/>
                    </a:lnTo>
                    <a:lnTo>
                      <a:pt x="1055" y="894"/>
                    </a:lnTo>
                    <a:lnTo>
                      <a:pt x="1052" y="897"/>
                    </a:lnTo>
                    <a:lnTo>
                      <a:pt x="1048" y="897"/>
                    </a:lnTo>
                    <a:lnTo>
                      <a:pt x="1043" y="899"/>
                    </a:lnTo>
                    <a:lnTo>
                      <a:pt x="1038" y="906"/>
                    </a:lnTo>
                    <a:lnTo>
                      <a:pt x="1048" y="915"/>
                    </a:lnTo>
                    <a:lnTo>
                      <a:pt x="1045" y="930"/>
                    </a:lnTo>
                    <a:lnTo>
                      <a:pt x="1038" y="946"/>
                    </a:lnTo>
                    <a:lnTo>
                      <a:pt x="1038" y="951"/>
                    </a:lnTo>
                    <a:lnTo>
                      <a:pt x="1005" y="953"/>
                    </a:lnTo>
                    <a:lnTo>
                      <a:pt x="979" y="956"/>
                    </a:lnTo>
                    <a:lnTo>
                      <a:pt x="951" y="958"/>
                    </a:lnTo>
                    <a:lnTo>
                      <a:pt x="922" y="960"/>
                    </a:lnTo>
                    <a:lnTo>
                      <a:pt x="934" y="937"/>
                    </a:lnTo>
                    <a:lnTo>
                      <a:pt x="941" y="930"/>
                    </a:lnTo>
                    <a:lnTo>
                      <a:pt x="948" y="920"/>
                    </a:lnTo>
                    <a:lnTo>
                      <a:pt x="958" y="911"/>
                    </a:lnTo>
                    <a:lnTo>
                      <a:pt x="970" y="894"/>
                    </a:lnTo>
                    <a:lnTo>
                      <a:pt x="972" y="885"/>
                    </a:lnTo>
                    <a:lnTo>
                      <a:pt x="970" y="878"/>
                    </a:lnTo>
                    <a:lnTo>
                      <a:pt x="960" y="868"/>
                    </a:lnTo>
                    <a:lnTo>
                      <a:pt x="953" y="852"/>
                    </a:lnTo>
                    <a:lnTo>
                      <a:pt x="906" y="854"/>
                    </a:lnTo>
                    <a:lnTo>
                      <a:pt x="859" y="859"/>
                    </a:lnTo>
                    <a:lnTo>
                      <a:pt x="811" y="861"/>
                    </a:lnTo>
                    <a:lnTo>
                      <a:pt x="764" y="863"/>
                    </a:lnTo>
                    <a:lnTo>
                      <a:pt x="717" y="866"/>
                    </a:lnTo>
                    <a:lnTo>
                      <a:pt x="669" y="868"/>
                    </a:lnTo>
                    <a:lnTo>
                      <a:pt x="622" y="870"/>
                    </a:lnTo>
                    <a:lnTo>
                      <a:pt x="575" y="870"/>
                    </a:lnTo>
                    <a:lnTo>
                      <a:pt x="528" y="873"/>
                    </a:lnTo>
                    <a:lnTo>
                      <a:pt x="480" y="875"/>
                    </a:lnTo>
                    <a:lnTo>
                      <a:pt x="433" y="875"/>
                    </a:lnTo>
                    <a:lnTo>
                      <a:pt x="386" y="878"/>
                    </a:lnTo>
                    <a:lnTo>
                      <a:pt x="338" y="880"/>
                    </a:lnTo>
                    <a:lnTo>
                      <a:pt x="291" y="880"/>
                    </a:lnTo>
                    <a:lnTo>
                      <a:pt x="244" y="880"/>
                    </a:lnTo>
                    <a:lnTo>
                      <a:pt x="197" y="882"/>
                    </a:lnTo>
                    <a:lnTo>
                      <a:pt x="197" y="856"/>
                    </a:lnTo>
                    <a:lnTo>
                      <a:pt x="197" y="830"/>
                    </a:lnTo>
                    <a:lnTo>
                      <a:pt x="197" y="802"/>
                    </a:lnTo>
                    <a:lnTo>
                      <a:pt x="194" y="776"/>
                    </a:lnTo>
                    <a:lnTo>
                      <a:pt x="194" y="750"/>
                    </a:lnTo>
                    <a:lnTo>
                      <a:pt x="194" y="722"/>
                    </a:lnTo>
                    <a:lnTo>
                      <a:pt x="194" y="696"/>
                    </a:lnTo>
                    <a:lnTo>
                      <a:pt x="194" y="667"/>
                    </a:lnTo>
                    <a:lnTo>
                      <a:pt x="192" y="639"/>
                    </a:lnTo>
                    <a:lnTo>
                      <a:pt x="192" y="613"/>
                    </a:lnTo>
                    <a:lnTo>
                      <a:pt x="192" y="584"/>
                    </a:lnTo>
                    <a:lnTo>
                      <a:pt x="192" y="558"/>
                    </a:lnTo>
                    <a:lnTo>
                      <a:pt x="192" y="530"/>
                    </a:lnTo>
                    <a:lnTo>
                      <a:pt x="190" y="502"/>
                    </a:lnTo>
                    <a:lnTo>
                      <a:pt x="190" y="476"/>
                    </a:lnTo>
                    <a:lnTo>
                      <a:pt x="190" y="447"/>
                    </a:lnTo>
                    <a:lnTo>
                      <a:pt x="190" y="421"/>
                    </a:lnTo>
                    <a:lnTo>
                      <a:pt x="190" y="393"/>
                    </a:lnTo>
                    <a:lnTo>
                      <a:pt x="187" y="367"/>
                    </a:lnTo>
                    <a:lnTo>
                      <a:pt x="187" y="338"/>
                    </a:lnTo>
                    <a:lnTo>
                      <a:pt x="187" y="331"/>
                    </a:lnTo>
                    <a:lnTo>
                      <a:pt x="161" y="317"/>
                    </a:lnTo>
                    <a:lnTo>
                      <a:pt x="149" y="303"/>
                    </a:lnTo>
                    <a:lnTo>
                      <a:pt x="145" y="284"/>
                    </a:lnTo>
                    <a:lnTo>
                      <a:pt x="133" y="268"/>
                    </a:lnTo>
                    <a:lnTo>
                      <a:pt x="116" y="251"/>
                    </a:lnTo>
                    <a:lnTo>
                      <a:pt x="112" y="232"/>
                    </a:lnTo>
                    <a:lnTo>
                      <a:pt x="123" y="211"/>
                    </a:lnTo>
                    <a:lnTo>
                      <a:pt x="133" y="201"/>
                    </a:lnTo>
                    <a:lnTo>
                      <a:pt x="140" y="201"/>
                    </a:lnTo>
                    <a:lnTo>
                      <a:pt x="142" y="192"/>
                    </a:lnTo>
                    <a:lnTo>
                      <a:pt x="135" y="175"/>
                    </a:lnTo>
                    <a:lnTo>
                      <a:pt x="126" y="171"/>
                    </a:lnTo>
                    <a:lnTo>
                      <a:pt x="116" y="175"/>
                    </a:lnTo>
                    <a:lnTo>
                      <a:pt x="104" y="175"/>
                    </a:lnTo>
                    <a:lnTo>
                      <a:pt x="67" y="147"/>
                    </a:lnTo>
                    <a:lnTo>
                      <a:pt x="64" y="145"/>
                    </a:lnTo>
                    <a:lnTo>
                      <a:pt x="52" y="128"/>
                    </a:lnTo>
                    <a:lnTo>
                      <a:pt x="48" y="107"/>
                    </a:lnTo>
                    <a:lnTo>
                      <a:pt x="38" y="93"/>
                    </a:lnTo>
                    <a:lnTo>
                      <a:pt x="26" y="85"/>
                    </a:lnTo>
                    <a:lnTo>
                      <a:pt x="17" y="71"/>
                    </a:lnTo>
                    <a:lnTo>
                      <a:pt x="12" y="50"/>
                    </a:lnTo>
                    <a:lnTo>
                      <a:pt x="3" y="29"/>
                    </a:lnTo>
                    <a:lnTo>
                      <a:pt x="0" y="22"/>
                    </a:lnTo>
                    <a:lnTo>
                      <a:pt x="41" y="22"/>
                    </a:lnTo>
                    <a:lnTo>
                      <a:pt x="81" y="19"/>
                    </a:lnTo>
                    <a:lnTo>
                      <a:pt x="121" y="19"/>
                    </a:lnTo>
                    <a:lnTo>
                      <a:pt x="161" y="19"/>
                    </a:lnTo>
                    <a:lnTo>
                      <a:pt x="201" y="17"/>
                    </a:lnTo>
                    <a:lnTo>
                      <a:pt x="242" y="17"/>
                    </a:lnTo>
                    <a:lnTo>
                      <a:pt x="282" y="17"/>
                    </a:lnTo>
                    <a:lnTo>
                      <a:pt x="322" y="15"/>
                    </a:lnTo>
                    <a:lnTo>
                      <a:pt x="362" y="12"/>
                    </a:lnTo>
                    <a:lnTo>
                      <a:pt x="405" y="12"/>
                    </a:lnTo>
                    <a:lnTo>
                      <a:pt x="445" y="10"/>
                    </a:lnTo>
                    <a:lnTo>
                      <a:pt x="485" y="7"/>
                    </a:lnTo>
                    <a:lnTo>
                      <a:pt x="525" y="7"/>
                    </a:lnTo>
                    <a:lnTo>
                      <a:pt x="565" y="5"/>
                    </a:lnTo>
                    <a:lnTo>
                      <a:pt x="606" y="3"/>
                    </a:lnTo>
                    <a:lnTo>
                      <a:pt x="646" y="0"/>
                    </a:lnTo>
                    <a:lnTo>
                      <a:pt x="655" y="15"/>
                    </a:lnTo>
                    <a:lnTo>
                      <a:pt x="662" y="19"/>
                    </a:lnTo>
                    <a:lnTo>
                      <a:pt x="665" y="24"/>
                    </a:lnTo>
                    <a:lnTo>
                      <a:pt x="676" y="31"/>
                    </a:lnTo>
                    <a:lnTo>
                      <a:pt x="679" y="41"/>
                    </a:lnTo>
                    <a:lnTo>
                      <a:pt x="695" y="5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29" name="Freeform 67">
                <a:extLst>
                  <a:ext uri="{FF2B5EF4-FFF2-40B4-BE49-F238E27FC236}">
                    <a16:creationId xmlns:a16="http://schemas.microsoft.com/office/drawing/2014/main" id="{0F89754E-A4E3-8703-5570-E5B93383E0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1" y="2104"/>
                <a:ext cx="605" cy="1031"/>
              </a:xfrm>
              <a:custGeom>
                <a:avLst/>
                <a:gdLst>
                  <a:gd name="T0" fmla="*/ 579 w 605"/>
                  <a:gd name="T1" fmla="*/ 17 h 1031"/>
                  <a:gd name="T2" fmla="*/ 576 w 605"/>
                  <a:gd name="T3" fmla="*/ 69 h 1031"/>
                  <a:gd name="T4" fmla="*/ 574 w 605"/>
                  <a:gd name="T5" fmla="*/ 187 h 1031"/>
                  <a:gd name="T6" fmla="*/ 572 w 605"/>
                  <a:gd name="T7" fmla="*/ 305 h 1031"/>
                  <a:gd name="T8" fmla="*/ 567 w 605"/>
                  <a:gd name="T9" fmla="*/ 421 h 1031"/>
                  <a:gd name="T10" fmla="*/ 564 w 605"/>
                  <a:gd name="T11" fmla="*/ 540 h 1031"/>
                  <a:gd name="T12" fmla="*/ 562 w 605"/>
                  <a:gd name="T13" fmla="*/ 658 h 1031"/>
                  <a:gd name="T14" fmla="*/ 576 w 605"/>
                  <a:gd name="T15" fmla="*/ 776 h 1031"/>
                  <a:gd name="T16" fmla="*/ 593 w 605"/>
                  <a:gd name="T17" fmla="*/ 894 h 1031"/>
                  <a:gd name="T18" fmla="*/ 550 w 605"/>
                  <a:gd name="T19" fmla="*/ 984 h 1031"/>
                  <a:gd name="T20" fmla="*/ 510 w 605"/>
                  <a:gd name="T21" fmla="*/ 975 h 1031"/>
                  <a:gd name="T22" fmla="*/ 446 w 605"/>
                  <a:gd name="T23" fmla="*/ 996 h 1031"/>
                  <a:gd name="T24" fmla="*/ 401 w 605"/>
                  <a:gd name="T25" fmla="*/ 1031 h 1031"/>
                  <a:gd name="T26" fmla="*/ 387 w 605"/>
                  <a:gd name="T27" fmla="*/ 1024 h 1031"/>
                  <a:gd name="T28" fmla="*/ 366 w 605"/>
                  <a:gd name="T29" fmla="*/ 975 h 1031"/>
                  <a:gd name="T30" fmla="*/ 340 w 605"/>
                  <a:gd name="T31" fmla="*/ 946 h 1031"/>
                  <a:gd name="T32" fmla="*/ 335 w 605"/>
                  <a:gd name="T33" fmla="*/ 920 h 1031"/>
                  <a:gd name="T34" fmla="*/ 307 w 605"/>
                  <a:gd name="T35" fmla="*/ 866 h 1031"/>
                  <a:gd name="T36" fmla="*/ 174 w 605"/>
                  <a:gd name="T37" fmla="*/ 873 h 1031"/>
                  <a:gd name="T38" fmla="*/ 42 w 605"/>
                  <a:gd name="T39" fmla="*/ 880 h 1031"/>
                  <a:gd name="T40" fmla="*/ 7 w 605"/>
                  <a:gd name="T41" fmla="*/ 868 h 1031"/>
                  <a:gd name="T42" fmla="*/ 4 w 605"/>
                  <a:gd name="T43" fmla="*/ 823 h 1031"/>
                  <a:gd name="T44" fmla="*/ 18 w 605"/>
                  <a:gd name="T45" fmla="*/ 788 h 1031"/>
                  <a:gd name="T46" fmla="*/ 37 w 605"/>
                  <a:gd name="T47" fmla="*/ 745 h 1031"/>
                  <a:gd name="T48" fmla="*/ 80 w 605"/>
                  <a:gd name="T49" fmla="*/ 672 h 1031"/>
                  <a:gd name="T50" fmla="*/ 92 w 605"/>
                  <a:gd name="T51" fmla="*/ 639 h 1031"/>
                  <a:gd name="T52" fmla="*/ 113 w 605"/>
                  <a:gd name="T53" fmla="*/ 615 h 1031"/>
                  <a:gd name="T54" fmla="*/ 113 w 605"/>
                  <a:gd name="T55" fmla="*/ 594 h 1031"/>
                  <a:gd name="T56" fmla="*/ 82 w 605"/>
                  <a:gd name="T57" fmla="*/ 563 h 1031"/>
                  <a:gd name="T58" fmla="*/ 73 w 605"/>
                  <a:gd name="T59" fmla="*/ 535 h 1031"/>
                  <a:gd name="T60" fmla="*/ 82 w 605"/>
                  <a:gd name="T61" fmla="*/ 514 h 1031"/>
                  <a:gd name="T62" fmla="*/ 80 w 605"/>
                  <a:gd name="T63" fmla="*/ 480 h 1031"/>
                  <a:gd name="T64" fmla="*/ 68 w 605"/>
                  <a:gd name="T65" fmla="*/ 452 h 1031"/>
                  <a:gd name="T66" fmla="*/ 73 w 605"/>
                  <a:gd name="T67" fmla="*/ 405 h 1031"/>
                  <a:gd name="T68" fmla="*/ 66 w 605"/>
                  <a:gd name="T69" fmla="*/ 362 h 1031"/>
                  <a:gd name="T70" fmla="*/ 54 w 605"/>
                  <a:gd name="T71" fmla="*/ 341 h 1031"/>
                  <a:gd name="T72" fmla="*/ 59 w 605"/>
                  <a:gd name="T73" fmla="*/ 320 h 1031"/>
                  <a:gd name="T74" fmla="*/ 70 w 605"/>
                  <a:gd name="T75" fmla="*/ 294 h 1031"/>
                  <a:gd name="T76" fmla="*/ 80 w 605"/>
                  <a:gd name="T77" fmla="*/ 265 h 1031"/>
                  <a:gd name="T78" fmla="*/ 75 w 605"/>
                  <a:gd name="T79" fmla="*/ 246 h 1031"/>
                  <a:gd name="T80" fmla="*/ 99 w 605"/>
                  <a:gd name="T81" fmla="*/ 232 h 1031"/>
                  <a:gd name="T82" fmla="*/ 99 w 605"/>
                  <a:gd name="T83" fmla="*/ 204 h 1031"/>
                  <a:gd name="T84" fmla="*/ 122 w 605"/>
                  <a:gd name="T85" fmla="*/ 166 h 1031"/>
                  <a:gd name="T86" fmla="*/ 151 w 605"/>
                  <a:gd name="T87" fmla="*/ 133 h 1031"/>
                  <a:gd name="T88" fmla="*/ 163 w 605"/>
                  <a:gd name="T89" fmla="*/ 83 h 1031"/>
                  <a:gd name="T90" fmla="*/ 177 w 605"/>
                  <a:gd name="T91" fmla="*/ 60 h 1031"/>
                  <a:gd name="T92" fmla="*/ 196 w 605"/>
                  <a:gd name="T93" fmla="*/ 31 h 1031"/>
                  <a:gd name="T94" fmla="*/ 286 w 605"/>
                  <a:gd name="T95" fmla="*/ 19 h 1031"/>
                  <a:gd name="T96" fmla="*/ 423 w 605"/>
                  <a:gd name="T97" fmla="*/ 10 h 1031"/>
                  <a:gd name="T98" fmla="*/ 562 w 605"/>
                  <a:gd name="T99" fmla="*/ 0 h 1031"/>
                  <a:gd name="T100" fmla="*/ 560 w 605"/>
                  <a:gd name="T101" fmla="*/ 1012 h 1031"/>
                  <a:gd name="T102" fmla="*/ 574 w 605"/>
                  <a:gd name="T103" fmla="*/ 1010 h 10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05" h="1031">
                    <a:moveTo>
                      <a:pt x="562" y="0"/>
                    </a:moveTo>
                    <a:lnTo>
                      <a:pt x="579" y="12"/>
                    </a:lnTo>
                    <a:lnTo>
                      <a:pt x="579" y="17"/>
                    </a:lnTo>
                    <a:lnTo>
                      <a:pt x="579" y="19"/>
                    </a:lnTo>
                    <a:lnTo>
                      <a:pt x="576" y="31"/>
                    </a:lnTo>
                    <a:lnTo>
                      <a:pt x="576" y="69"/>
                    </a:lnTo>
                    <a:lnTo>
                      <a:pt x="576" y="109"/>
                    </a:lnTo>
                    <a:lnTo>
                      <a:pt x="574" y="147"/>
                    </a:lnTo>
                    <a:lnTo>
                      <a:pt x="574" y="187"/>
                    </a:lnTo>
                    <a:lnTo>
                      <a:pt x="574" y="225"/>
                    </a:lnTo>
                    <a:lnTo>
                      <a:pt x="572" y="265"/>
                    </a:lnTo>
                    <a:lnTo>
                      <a:pt x="572" y="305"/>
                    </a:lnTo>
                    <a:lnTo>
                      <a:pt x="569" y="343"/>
                    </a:lnTo>
                    <a:lnTo>
                      <a:pt x="569" y="383"/>
                    </a:lnTo>
                    <a:lnTo>
                      <a:pt x="567" y="421"/>
                    </a:lnTo>
                    <a:lnTo>
                      <a:pt x="567" y="461"/>
                    </a:lnTo>
                    <a:lnTo>
                      <a:pt x="567" y="499"/>
                    </a:lnTo>
                    <a:lnTo>
                      <a:pt x="564" y="540"/>
                    </a:lnTo>
                    <a:lnTo>
                      <a:pt x="564" y="580"/>
                    </a:lnTo>
                    <a:lnTo>
                      <a:pt x="562" y="618"/>
                    </a:lnTo>
                    <a:lnTo>
                      <a:pt x="562" y="658"/>
                    </a:lnTo>
                    <a:lnTo>
                      <a:pt x="567" y="698"/>
                    </a:lnTo>
                    <a:lnTo>
                      <a:pt x="572" y="736"/>
                    </a:lnTo>
                    <a:lnTo>
                      <a:pt x="576" y="776"/>
                    </a:lnTo>
                    <a:lnTo>
                      <a:pt x="581" y="816"/>
                    </a:lnTo>
                    <a:lnTo>
                      <a:pt x="588" y="854"/>
                    </a:lnTo>
                    <a:lnTo>
                      <a:pt x="593" y="894"/>
                    </a:lnTo>
                    <a:lnTo>
                      <a:pt x="598" y="934"/>
                    </a:lnTo>
                    <a:lnTo>
                      <a:pt x="605" y="977"/>
                    </a:lnTo>
                    <a:lnTo>
                      <a:pt x="550" y="984"/>
                    </a:lnTo>
                    <a:lnTo>
                      <a:pt x="527" y="977"/>
                    </a:lnTo>
                    <a:lnTo>
                      <a:pt x="517" y="975"/>
                    </a:lnTo>
                    <a:lnTo>
                      <a:pt x="510" y="975"/>
                    </a:lnTo>
                    <a:lnTo>
                      <a:pt x="484" y="986"/>
                    </a:lnTo>
                    <a:lnTo>
                      <a:pt x="453" y="998"/>
                    </a:lnTo>
                    <a:lnTo>
                      <a:pt x="446" y="996"/>
                    </a:lnTo>
                    <a:lnTo>
                      <a:pt x="434" y="996"/>
                    </a:lnTo>
                    <a:lnTo>
                      <a:pt x="416" y="1024"/>
                    </a:lnTo>
                    <a:lnTo>
                      <a:pt x="401" y="1031"/>
                    </a:lnTo>
                    <a:lnTo>
                      <a:pt x="397" y="1029"/>
                    </a:lnTo>
                    <a:lnTo>
                      <a:pt x="392" y="1029"/>
                    </a:lnTo>
                    <a:lnTo>
                      <a:pt x="387" y="1024"/>
                    </a:lnTo>
                    <a:lnTo>
                      <a:pt x="380" y="1010"/>
                    </a:lnTo>
                    <a:lnTo>
                      <a:pt x="378" y="998"/>
                    </a:lnTo>
                    <a:lnTo>
                      <a:pt x="366" y="975"/>
                    </a:lnTo>
                    <a:lnTo>
                      <a:pt x="356" y="963"/>
                    </a:lnTo>
                    <a:lnTo>
                      <a:pt x="345" y="956"/>
                    </a:lnTo>
                    <a:lnTo>
                      <a:pt x="340" y="946"/>
                    </a:lnTo>
                    <a:lnTo>
                      <a:pt x="340" y="939"/>
                    </a:lnTo>
                    <a:lnTo>
                      <a:pt x="335" y="930"/>
                    </a:lnTo>
                    <a:lnTo>
                      <a:pt x="335" y="920"/>
                    </a:lnTo>
                    <a:lnTo>
                      <a:pt x="347" y="887"/>
                    </a:lnTo>
                    <a:lnTo>
                      <a:pt x="349" y="863"/>
                    </a:lnTo>
                    <a:lnTo>
                      <a:pt x="307" y="866"/>
                    </a:lnTo>
                    <a:lnTo>
                      <a:pt x="262" y="868"/>
                    </a:lnTo>
                    <a:lnTo>
                      <a:pt x="219" y="871"/>
                    </a:lnTo>
                    <a:lnTo>
                      <a:pt x="174" y="873"/>
                    </a:lnTo>
                    <a:lnTo>
                      <a:pt x="132" y="875"/>
                    </a:lnTo>
                    <a:lnTo>
                      <a:pt x="87" y="878"/>
                    </a:lnTo>
                    <a:lnTo>
                      <a:pt x="42" y="880"/>
                    </a:lnTo>
                    <a:lnTo>
                      <a:pt x="0" y="882"/>
                    </a:lnTo>
                    <a:lnTo>
                      <a:pt x="0" y="878"/>
                    </a:lnTo>
                    <a:lnTo>
                      <a:pt x="7" y="868"/>
                    </a:lnTo>
                    <a:lnTo>
                      <a:pt x="9" y="859"/>
                    </a:lnTo>
                    <a:lnTo>
                      <a:pt x="2" y="837"/>
                    </a:lnTo>
                    <a:lnTo>
                      <a:pt x="4" y="823"/>
                    </a:lnTo>
                    <a:lnTo>
                      <a:pt x="14" y="821"/>
                    </a:lnTo>
                    <a:lnTo>
                      <a:pt x="18" y="809"/>
                    </a:lnTo>
                    <a:lnTo>
                      <a:pt x="18" y="788"/>
                    </a:lnTo>
                    <a:lnTo>
                      <a:pt x="21" y="771"/>
                    </a:lnTo>
                    <a:lnTo>
                      <a:pt x="30" y="764"/>
                    </a:lnTo>
                    <a:lnTo>
                      <a:pt x="37" y="745"/>
                    </a:lnTo>
                    <a:lnTo>
                      <a:pt x="42" y="717"/>
                    </a:lnTo>
                    <a:lnTo>
                      <a:pt x="56" y="693"/>
                    </a:lnTo>
                    <a:lnTo>
                      <a:pt x="80" y="672"/>
                    </a:lnTo>
                    <a:lnTo>
                      <a:pt x="89" y="658"/>
                    </a:lnTo>
                    <a:lnTo>
                      <a:pt x="89" y="644"/>
                    </a:lnTo>
                    <a:lnTo>
                      <a:pt x="92" y="639"/>
                    </a:lnTo>
                    <a:lnTo>
                      <a:pt x="96" y="634"/>
                    </a:lnTo>
                    <a:lnTo>
                      <a:pt x="104" y="627"/>
                    </a:lnTo>
                    <a:lnTo>
                      <a:pt x="113" y="615"/>
                    </a:lnTo>
                    <a:lnTo>
                      <a:pt x="115" y="606"/>
                    </a:lnTo>
                    <a:lnTo>
                      <a:pt x="115" y="601"/>
                    </a:lnTo>
                    <a:lnTo>
                      <a:pt x="113" y="594"/>
                    </a:lnTo>
                    <a:lnTo>
                      <a:pt x="106" y="584"/>
                    </a:lnTo>
                    <a:lnTo>
                      <a:pt x="92" y="577"/>
                    </a:lnTo>
                    <a:lnTo>
                      <a:pt x="82" y="563"/>
                    </a:lnTo>
                    <a:lnTo>
                      <a:pt x="82" y="551"/>
                    </a:lnTo>
                    <a:lnTo>
                      <a:pt x="80" y="542"/>
                    </a:lnTo>
                    <a:lnTo>
                      <a:pt x="73" y="535"/>
                    </a:lnTo>
                    <a:lnTo>
                      <a:pt x="75" y="528"/>
                    </a:lnTo>
                    <a:lnTo>
                      <a:pt x="82" y="521"/>
                    </a:lnTo>
                    <a:lnTo>
                      <a:pt x="82" y="514"/>
                    </a:lnTo>
                    <a:lnTo>
                      <a:pt x="75" y="506"/>
                    </a:lnTo>
                    <a:lnTo>
                      <a:pt x="75" y="497"/>
                    </a:lnTo>
                    <a:lnTo>
                      <a:pt x="80" y="480"/>
                    </a:lnTo>
                    <a:lnTo>
                      <a:pt x="80" y="469"/>
                    </a:lnTo>
                    <a:lnTo>
                      <a:pt x="70" y="464"/>
                    </a:lnTo>
                    <a:lnTo>
                      <a:pt x="68" y="452"/>
                    </a:lnTo>
                    <a:lnTo>
                      <a:pt x="68" y="447"/>
                    </a:lnTo>
                    <a:lnTo>
                      <a:pt x="75" y="409"/>
                    </a:lnTo>
                    <a:lnTo>
                      <a:pt x="73" y="405"/>
                    </a:lnTo>
                    <a:lnTo>
                      <a:pt x="63" y="393"/>
                    </a:lnTo>
                    <a:lnTo>
                      <a:pt x="61" y="381"/>
                    </a:lnTo>
                    <a:lnTo>
                      <a:pt x="66" y="362"/>
                    </a:lnTo>
                    <a:lnTo>
                      <a:pt x="63" y="350"/>
                    </a:lnTo>
                    <a:lnTo>
                      <a:pt x="56" y="346"/>
                    </a:lnTo>
                    <a:lnTo>
                      <a:pt x="54" y="341"/>
                    </a:lnTo>
                    <a:lnTo>
                      <a:pt x="52" y="334"/>
                    </a:lnTo>
                    <a:lnTo>
                      <a:pt x="59" y="327"/>
                    </a:lnTo>
                    <a:lnTo>
                      <a:pt x="59" y="320"/>
                    </a:lnTo>
                    <a:lnTo>
                      <a:pt x="52" y="315"/>
                    </a:lnTo>
                    <a:lnTo>
                      <a:pt x="56" y="305"/>
                    </a:lnTo>
                    <a:lnTo>
                      <a:pt x="70" y="294"/>
                    </a:lnTo>
                    <a:lnTo>
                      <a:pt x="73" y="287"/>
                    </a:lnTo>
                    <a:lnTo>
                      <a:pt x="78" y="279"/>
                    </a:lnTo>
                    <a:lnTo>
                      <a:pt x="80" y="265"/>
                    </a:lnTo>
                    <a:lnTo>
                      <a:pt x="78" y="256"/>
                    </a:lnTo>
                    <a:lnTo>
                      <a:pt x="73" y="249"/>
                    </a:lnTo>
                    <a:lnTo>
                      <a:pt x="75" y="246"/>
                    </a:lnTo>
                    <a:lnTo>
                      <a:pt x="78" y="244"/>
                    </a:lnTo>
                    <a:lnTo>
                      <a:pt x="94" y="237"/>
                    </a:lnTo>
                    <a:lnTo>
                      <a:pt x="99" y="232"/>
                    </a:lnTo>
                    <a:lnTo>
                      <a:pt x="99" y="227"/>
                    </a:lnTo>
                    <a:lnTo>
                      <a:pt x="94" y="216"/>
                    </a:lnTo>
                    <a:lnTo>
                      <a:pt x="99" y="204"/>
                    </a:lnTo>
                    <a:lnTo>
                      <a:pt x="113" y="190"/>
                    </a:lnTo>
                    <a:lnTo>
                      <a:pt x="122" y="175"/>
                    </a:lnTo>
                    <a:lnTo>
                      <a:pt x="122" y="166"/>
                    </a:lnTo>
                    <a:lnTo>
                      <a:pt x="130" y="159"/>
                    </a:lnTo>
                    <a:lnTo>
                      <a:pt x="144" y="152"/>
                    </a:lnTo>
                    <a:lnTo>
                      <a:pt x="151" y="133"/>
                    </a:lnTo>
                    <a:lnTo>
                      <a:pt x="153" y="100"/>
                    </a:lnTo>
                    <a:lnTo>
                      <a:pt x="156" y="86"/>
                    </a:lnTo>
                    <a:lnTo>
                      <a:pt x="163" y="83"/>
                    </a:lnTo>
                    <a:lnTo>
                      <a:pt x="167" y="78"/>
                    </a:lnTo>
                    <a:lnTo>
                      <a:pt x="167" y="69"/>
                    </a:lnTo>
                    <a:lnTo>
                      <a:pt x="177" y="60"/>
                    </a:lnTo>
                    <a:lnTo>
                      <a:pt x="191" y="48"/>
                    </a:lnTo>
                    <a:lnTo>
                      <a:pt x="198" y="38"/>
                    </a:lnTo>
                    <a:lnTo>
                      <a:pt x="196" y="31"/>
                    </a:lnTo>
                    <a:lnTo>
                      <a:pt x="196" y="26"/>
                    </a:lnTo>
                    <a:lnTo>
                      <a:pt x="238" y="24"/>
                    </a:lnTo>
                    <a:lnTo>
                      <a:pt x="286" y="19"/>
                    </a:lnTo>
                    <a:lnTo>
                      <a:pt x="330" y="17"/>
                    </a:lnTo>
                    <a:lnTo>
                      <a:pt x="378" y="15"/>
                    </a:lnTo>
                    <a:lnTo>
                      <a:pt x="423" y="10"/>
                    </a:lnTo>
                    <a:lnTo>
                      <a:pt x="468" y="8"/>
                    </a:lnTo>
                    <a:lnTo>
                      <a:pt x="515" y="3"/>
                    </a:lnTo>
                    <a:lnTo>
                      <a:pt x="562" y="0"/>
                    </a:lnTo>
                    <a:close/>
                    <a:moveTo>
                      <a:pt x="579" y="1012"/>
                    </a:moveTo>
                    <a:lnTo>
                      <a:pt x="576" y="1015"/>
                    </a:lnTo>
                    <a:lnTo>
                      <a:pt x="560" y="1012"/>
                    </a:lnTo>
                    <a:lnTo>
                      <a:pt x="548" y="1008"/>
                    </a:lnTo>
                    <a:lnTo>
                      <a:pt x="546" y="1005"/>
                    </a:lnTo>
                    <a:lnTo>
                      <a:pt x="574" y="1010"/>
                    </a:lnTo>
                    <a:lnTo>
                      <a:pt x="579" y="101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30" name="Freeform 68">
                <a:extLst>
                  <a:ext uri="{FF2B5EF4-FFF2-40B4-BE49-F238E27FC236}">
                    <a16:creationId xmlns:a16="http://schemas.microsoft.com/office/drawing/2014/main" id="{3D4140E4-B7D7-5321-4F76-A038653F33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3" y="-1102"/>
                <a:ext cx="1716" cy="1104"/>
              </a:xfrm>
              <a:custGeom>
                <a:avLst/>
                <a:gdLst>
                  <a:gd name="T0" fmla="*/ 1650 w 1716"/>
                  <a:gd name="T1" fmla="*/ 1052 h 1104"/>
                  <a:gd name="T2" fmla="*/ 1645 w 1716"/>
                  <a:gd name="T3" fmla="*/ 1104 h 1104"/>
                  <a:gd name="T4" fmla="*/ 1642 w 1716"/>
                  <a:gd name="T5" fmla="*/ 1104 h 1104"/>
                  <a:gd name="T6" fmla="*/ 1543 w 1716"/>
                  <a:gd name="T7" fmla="*/ 1095 h 1104"/>
                  <a:gd name="T8" fmla="*/ 1411 w 1716"/>
                  <a:gd name="T9" fmla="*/ 1083 h 1104"/>
                  <a:gd name="T10" fmla="*/ 1281 w 1716"/>
                  <a:gd name="T11" fmla="*/ 1069 h 1104"/>
                  <a:gd name="T12" fmla="*/ 1151 w 1716"/>
                  <a:gd name="T13" fmla="*/ 1052 h 1104"/>
                  <a:gd name="T14" fmla="*/ 1021 w 1716"/>
                  <a:gd name="T15" fmla="*/ 1036 h 1104"/>
                  <a:gd name="T16" fmla="*/ 888 w 1716"/>
                  <a:gd name="T17" fmla="*/ 1017 h 1104"/>
                  <a:gd name="T18" fmla="*/ 758 w 1716"/>
                  <a:gd name="T19" fmla="*/ 998 h 1104"/>
                  <a:gd name="T20" fmla="*/ 628 w 1716"/>
                  <a:gd name="T21" fmla="*/ 977 h 1104"/>
                  <a:gd name="T22" fmla="*/ 583 w 1716"/>
                  <a:gd name="T23" fmla="*/ 1050 h 1104"/>
                  <a:gd name="T24" fmla="*/ 560 w 1716"/>
                  <a:gd name="T25" fmla="*/ 1052 h 1104"/>
                  <a:gd name="T26" fmla="*/ 541 w 1716"/>
                  <a:gd name="T27" fmla="*/ 1017 h 1104"/>
                  <a:gd name="T28" fmla="*/ 517 w 1716"/>
                  <a:gd name="T29" fmla="*/ 1038 h 1104"/>
                  <a:gd name="T30" fmla="*/ 515 w 1716"/>
                  <a:gd name="T31" fmla="*/ 1055 h 1104"/>
                  <a:gd name="T32" fmla="*/ 430 w 1716"/>
                  <a:gd name="T33" fmla="*/ 1041 h 1104"/>
                  <a:gd name="T34" fmla="*/ 383 w 1716"/>
                  <a:gd name="T35" fmla="*/ 1045 h 1104"/>
                  <a:gd name="T36" fmla="*/ 331 w 1716"/>
                  <a:gd name="T37" fmla="*/ 1033 h 1104"/>
                  <a:gd name="T38" fmla="*/ 312 w 1716"/>
                  <a:gd name="T39" fmla="*/ 1050 h 1104"/>
                  <a:gd name="T40" fmla="*/ 288 w 1716"/>
                  <a:gd name="T41" fmla="*/ 1029 h 1104"/>
                  <a:gd name="T42" fmla="*/ 283 w 1716"/>
                  <a:gd name="T43" fmla="*/ 977 h 1104"/>
                  <a:gd name="T44" fmla="*/ 255 w 1716"/>
                  <a:gd name="T45" fmla="*/ 953 h 1104"/>
                  <a:gd name="T46" fmla="*/ 236 w 1716"/>
                  <a:gd name="T47" fmla="*/ 922 h 1104"/>
                  <a:gd name="T48" fmla="*/ 238 w 1716"/>
                  <a:gd name="T49" fmla="*/ 882 h 1104"/>
                  <a:gd name="T50" fmla="*/ 219 w 1716"/>
                  <a:gd name="T51" fmla="*/ 821 h 1104"/>
                  <a:gd name="T52" fmla="*/ 217 w 1716"/>
                  <a:gd name="T53" fmla="*/ 776 h 1104"/>
                  <a:gd name="T54" fmla="*/ 198 w 1716"/>
                  <a:gd name="T55" fmla="*/ 752 h 1104"/>
                  <a:gd name="T56" fmla="*/ 189 w 1716"/>
                  <a:gd name="T57" fmla="*/ 754 h 1104"/>
                  <a:gd name="T58" fmla="*/ 139 w 1716"/>
                  <a:gd name="T59" fmla="*/ 780 h 1104"/>
                  <a:gd name="T60" fmla="*/ 108 w 1716"/>
                  <a:gd name="T61" fmla="*/ 757 h 1104"/>
                  <a:gd name="T62" fmla="*/ 118 w 1716"/>
                  <a:gd name="T63" fmla="*/ 714 h 1104"/>
                  <a:gd name="T64" fmla="*/ 141 w 1716"/>
                  <a:gd name="T65" fmla="*/ 695 h 1104"/>
                  <a:gd name="T66" fmla="*/ 141 w 1716"/>
                  <a:gd name="T67" fmla="*/ 648 h 1104"/>
                  <a:gd name="T68" fmla="*/ 158 w 1716"/>
                  <a:gd name="T69" fmla="*/ 601 h 1104"/>
                  <a:gd name="T70" fmla="*/ 182 w 1716"/>
                  <a:gd name="T71" fmla="*/ 549 h 1104"/>
                  <a:gd name="T72" fmla="*/ 177 w 1716"/>
                  <a:gd name="T73" fmla="*/ 535 h 1104"/>
                  <a:gd name="T74" fmla="*/ 141 w 1716"/>
                  <a:gd name="T75" fmla="*/ 525 h 1104"/>
                  <a:gd name="T76" fmla="*/ 127 w 1716"/>
                  <a:gd name="T77" fmla="*/ 509 h 1104"/>
                  <a:gd name="T78" fmla="*/ 113 w 1716"/>
                  <a:gd name="T79" fmla="*/ 483 h 1104"/>
                  <a:gd name="T80" fmla="*/ 71 w 1716"/>
                  <a:gd name="T81" fmla="*/ 388 h 1104"/>
                  <a:gd name="T82" fmla="*/ 23 w 1716"/>
                  <a:gd name="T83" fmla="*/ 334 h 1104"/>
                  <a:gd name="T84" fmla="*/ 28 w 1716"/>
                  <a:gd name="T85" fmla="*/ 329 h 1104"/>
                  <a:gd name="T86" fmla="*/ 33 w 1716"/>
                  <a:gd name="T87" fmla="*/ 282 h 1104"/>
                  <a:gd name="T88" fmla="*/ 11 w 1716"/>
                  <a:gd name="T89" fmla="*/ 230 h 1104"/>
                  <a:gd name="T90" fmla="*/ 35 w 1716"/>
                  <a:gd name="T91" fmla="*/ 50 h 1104"/>
                  <a:gd name="T92" fmla="*/ 189 w 1716"/>
                  <a:gd name="T93" fmla="*/ 31 h 1104"/>
                  <a:gd name="T94" fmla="*/ 366 w 1716"/>
                  <a:gd name="T95" fmla="*/ 66 h 1104"/>
                  <a:gd name="T96" fmla="*/ 602 w 1716"/>
                  <a:gd name="T97" fmla="*/ 111 h 1104"/>
                  <a:gd name="T98" fmla="*/ 839 w 1716"/>
                  <a:gd name="T99" fmla="*/ 151 h 1104"/>
                  <a:gd name="T100" fmla="*/ 1016 w 1716"/>
                  <a:gd name="T101" fmla="*/ 177 h 1104"/>
                  <a:gd name="T102" fmla="*/ 1255 w 1716"/>
                  <a:gd name="T103" fmla="*/ 211 h 1104"/>
                  <a:gd name="T104" fmla="*/ 1494 w 1716"/>
                  <a:gd name="T105" fmla="*/ 237 h 1104"/>
                  <a:gd name="T106" fmla="*/ 1716 w 1716"/>
                  <a:gd name="T107" fmla="*/ 260 h 1104"/>
                  <a:gd name="T108" fmla="*/ 1702 w 1716"/>
                  <a:gd name="T109" fmla="*/ 421 h 1104"/>
                  <a:gd name="T110" fmla="*/ 1690 w 1716"/>
                  <a:gd name="T111" fmla="*/ 584 h 1104"/>
                  <a:gd name="T112" fmla="*/ 1676 w 1716"/>
                  <a:gd name="T113" fmla="*/ 745 h 1104"/>
                  <a:gd name="T114" fmla="*/ 1661 w 1716"/>
                  <a:gd name="T115" fmla="*/ 906 h 1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16" h="1104">
                    <a:moveTo>
                      <a:pt x="1661" y="906"/>
                    </a:moveTo>
                    <a:lnTo>
                      <a:pt x="1659" y="955"/>
                    </a:lnTo>
                    <a:lnTo>
                      <a:pt x="1654" y="1005"/>
                    </a:lnTo>
                    <a:lnTo>
                      <a:pt x="1650" y="1052"/>
                    </a:lnTo>
                    <a:lnTo>
                      <a:pt x="1645" y="1102"/>
                    </a:lnTo>
                    <a:lnTo>
                      <a:pt x="1645" y="1102"/>
                    </a:lnTo>
                    <a:lnTo>
                      <a:pt x="1645" y="1104"/>
                    </a:lnTo>
                    <a:lnTo>
                      <a:pt x="1645" y="1104"/>
                    </a:lnTo>
                    <a:lnTo>
                      <a:pt x="1645" y="1104"/>
                    </a:lnTo>
                    <a:lnTo>
                      <a:pt x="1645" y="1104"/>
                    </a:lnTo>
                    <a:lnTo>
                      <a:pt x="1642" y="1104"/>
                    </a:lnTo>
                    <a:lnTo>
                      <a:pt x="1642" y="1104"/>
                    </a:lnTo>
                    <a:lnTo>
                      <a:pt x="1640" y="1104"/>
                    </a:lnTo>
                    <a:lnTo>
                      <a:pt x="1607" y="1102"/>
                    </a:lnTo>
                    <a:lnTo>
                      <a:pt x="1576" y="1100"/>
                    </a:lnTo>
                    <a:lnTo>
                      <a:pt x="1543" y="1095"/>
                    </a:lnTo>
                    <a:lnTo>
                      <a:pt x="1510" y="1093"/>
                    </a:lnTo>
                    <a:lnTo>
                      <a:pt x="1477" y="1090"/>
                    </a:lnTo>
                    <a:lnTo>
                      <a:pt x="1444" y="1085"/>
                    </a:lnTo>
                    <a:lnTo>
                      <a:pt x="1411" y="1083"/>
                    </a:lnTo>
                    <a:lnTo>
                      <a:pt x="1380" y="1078"/>
                    </a:lnTo>
                    <a:lnTo>
                      <a:pt x="1347" y="1076"/>
                    </a:lnTo>
                    <a:lnTo>
                      <a:pt x="1314" y="1071"/>
                    </a:lnTo>
                    <a:lnTo>
                      <a:pt x="1281" y="1069"/>
                    </a:lnTo>
                    <a:lnTo>
                      <a:pt x="1248" y="1064"/>
                    </a:lnTo>
                    <a:lnTo>
                      <a:pt x="1215" y="1059"/>
                    </a:lnTo>
                    <a:lnTo>
                      <a:pt x="1184" y="1057"/>
                    </a:lnTo>
                    <a:lnTo>
                      <a:pt x="1151" y="1052"/>
                    </a:lnTo>
                    <a:lnTo>
                      <a:pt x="1118" y="1048"/>
                    </a:lnTo>
                    <a:lnTo>
                      <a:pt x="1085" y="1043"/>
                    </a:lnTo>
                    <a:lnTo>
                      <a:pt x="1052" y="1041"/>
                    </a:lnTo>
                    <a:lnTo>
                      <a:pt x="1021" y="1036"/>
                    </a:lnTo>
                    <a:lnTo>
                      <a:pt x="988" y="1031"/>
                    </a:lnTo>
                    <a:lnTo>
                      <a:pt x="955" y="1026"/>
                    </a:lnTo>
                    <a:lnTo>
                      <a:pt x="922" y="1022"/>
                    </a:lnTo>
                    <a:lnTo>
                      <a:pt x="888" y="1017"/>
                    </a:lnTo>
                    <a:lnTo>
                      <a:pt x="858" y="1012"/>
                    </a:lnTo>
                    <a:lnTo>
                      <a:pt x="825" y="1007"/>
                    </a:lnTo>
                    <a:lnTo>
                      <a:pt x="791" y="1003"/>
                    </a:lnTo>
                    <a:lnTo>
                      <a:pt x="758" y="998"/>
                    </a:lnTo>
                    <a:lnTo>
                      <a:pt x="728" y="993"/>
                    </a:lnTo>
                    <a:lnTo>
                      <a:pt x="695" y="986"/>
                    </a:lnTo>
                    <a:lnTo>
                      <a:pt x="661" y="981"/>
                    </a:lnTo>
                    <a:lnTo>
                      <a:pt x="628" y="977"/>
                    </a:lnTo>
                    <a:lnTo>
                      <a:pt x="598" y="972"/>
                    </a:lnTo>
                    <a:lnTo>
                      <a:pt x="593" y="998"/>
                    </a:lnTo>
                    <a:lnTo>
                      <a:pt x="588" y="1024"/>
                    </a:lnTo>
                    <a:lnTo>
                      <a:pt x="583" y="1050"/>
                    </a:lnTo>
                    <a:lnTo>
                      <a:pt x="579" y="1076"/>
                    </a:lnTo>
                    <a:lnTo>
                      <a:pt x="572" y="1069"/>
                    </a:lnTo>
                    <a:lnTo>
                      <a:pt x="565" y="1062"/>
                    </a:lnTo>
                    <a:lnTo>
                      <a:pt x="560" y="1052"/>
                    </a:lnTo>
                    <a:lnTo>
                      <a:pt x="555" y="1031"/>
                    </a:lnTo>
                    <a:lnTo>
                      <a:pt x="550" y="1024"/>
                    </a:lnTo>
                    <a:lnTo>
                      <a:pt x="546" y="1017"/>
                    </a:lnTo>
                    <a:lnTo>
                      <a:pt x="541" y="1017"/>
                    </a:lnTo>
                    <a:lnTo>
                      <a:pt x="534" y="1017"/>
                    </a:lnTo>
                    <a:lnTo>
                      <a:pt x="529" y="1022"/>
                    </a:lnTo>
                    <a:lnTo>
                      <a:pt x="524" y="1029"/>
                    </a:lnTo>
                    <a:lnTo>
                      <a:pt x="517" y="1038"/>
                    </a:lnTo>
                    <a:lnTo>
                      <a:pt x="517" y="1048"/>
                    </a:lnTo>
                    <a:lnTo>
                      <a:pt x="520" y="1052"/>
                    </a:lnTo>
                    <a:lnTo>
                      <a:pt x="517" y="1055"/>
                    </a:lnTo>
                    <a:lnTo>
                      <a:pt x="515" y="1055"/>
                    </a:lnTo>
                    <a:lnTo>
                      <a:pt x="491" y="1048"/>
                    </a:lnTo>
                    <a:lnTo>
                      <a:pt x="470" y="1048"/>
                    </a:lnTo>
                    <a:lnTo>
                      <a:pt x="456" y="1043"/>
                    </a:lnTo>
                    <a:lnTo>
                      <a:pt x="430" y="1041"/>
                    </a:lnTo>
                    <a:lnTo>
                      <a:pt x="406" y="1033"/>
                    </a:lnTo>
                    <a:lnTo>
                      <a:pt x="397" y="1033"/>
                    </a:lnTo>
                    <a:lnTo>
                      <a:pt x="392" y="1036"/>
                    </a:lnTo>
                    <a:lnTo>
                      <a:pt x="383" y="1045"/>
                    </a:lnTo>
                    <a:lnTo>
                      <a:pt x="380" y="1048"/>
                    </a:lnTo>
                    <a:lnTo>
                      <a:pt x="378" y="1048"/>
                    </a:lnTo>
                    <a:lnTo>
                      <a:pt x="342" y="1033"/>
                    </a:lnTo>
                    <a:lnTo>
                      <a:pt x="331" y="1033"/>
                    </a:lnTo>
                    <a:lnTo>
                      <a:pt x="319" y="1038"/>
                    </a:lnTo>
                    <a:lnTo>
                      <a:pt x="316" y="1043"/>
                    </a:lnTo>
                    <a:lnTo>
                      <a:pt x="314" y="1050"/>
                    </a:lnTo>
                    <a:lnTo>
                      <a:pt x="312" y="1050"/>
                    </a:lnTo>
                    <a:lnTo>
                      <a:pt x="307" y="1050"/>
                    </a:lnTo>
                    <a:lnTo>
                      <a:pt x="300" y="1043"/>
                    </a:lnTo>
                    <a:lnTo>
                      <a:pt x="293" y="1033"/>
                    </a:lnTo>
                    <a:lnTo>
                      <a:pt x="288" y="1029"/>
                    </a:lnTo>
                    <a:lnTo>
                      <a:pt x="290" y="1017"/>
                    </a:lnTo>
                    <a:lnTo>
                      <a:pt x="286" y="1000"/>
                    </a:lnTo>
                    <a:lnTo>
                      <a:pt x="286" y="989"/>
                    </a:lnTo>
                    <a:lnTo>
                      <a:pt x="283" y="977"/>
                    </a:lnTo>
                    <a:lnTo>
                      <a:pt x="279" y="965"/>
                    </a:lnTo>
                    <a:lnTo>
                      <a:pt x="274" y="958"/>
                    </a:lnTo>
                    <a:lnTo>
                      <a:pt x="267" y="953"/>
                    </a:lnTo>
                    <a:lnTo>
                      <a:pt x="255" y="953"/>
                    </a:lnTo>
                    <a:lnTo>
                      <a:pt x="253" y="951"/>
                    </a:lnTo>
                    <a:lnTo>
                      <a:pt x="241" y="934"/>
                    </a:lnTo>
                    <a:lnTo>
                      <a:pt x="238" y="927"/>
                    </a:lnTo>
                    <a:lnTo>
                      <a:pt x="236" y="922"/>
                    </a:lnTo>
                    <a:lnTo>
                      <a:pt x="245" y="908"/>
                    </a:lnTo>
                    <a:lnTo>
                      <a:pt x="245" y="901"/>
                    </a:lnTo>
                    <a:lnTo>
                      <a:pt x="243" y="892"/>
                    </a:lnTo>
                    <a:lnTo>
                      <a:pt x="238" y="882"/>
                    </a:lnTo>
                    <a:lnTo>
                      <a:pt x="234" y="875"/>
                    </a:lnTo>
                    <a:lnTo>
                      <a:pt x="229" y="858"/>
                    </a:lnTo>
                    <a:lnTo>
                      <a:pt x="219" y="837"/>
                    </a:lnTo>
                    <a:lnTo>
                      <a:pt x="219" y="821"/>
                    </a:lnTo>
                    <a:lnTo>
                      <a:pt x="215" y="806"/>
                    </a:lnTo>
                    <a:lnTo>
                      <a:pt x="217" y="795"/>
                    </a:lnTo>
                    <a:lnTo>
                      <a:pt x="215" y="785"/>
                    </a:lnTo>
                    <a:lnTo>
                      <a:pt x="217" y="776"/>
                    </a:lnTo>
                    <a:lnTo>
                      <a:pt x="215" y="773"/>
                    </a:lnTo>
                    <a:lnTo>
                      <a:pt x="215" y="771"/>
                    </a:lnTo>
                    <a:lnTo>
                      <a:pt x="208" y="764"/>
                    </a:lnTo>
                    <a:lnTo>
                      <a:pt x="198" y="752"/>
                    </a:lnTo>
                    <a:lnTo>
                      <a:pt x="193" y="747"/>
                    </a:lnTo>
                    <a:lnTo>
                      <a:pt x="191" y="747"/>
                    </a:lnTo>
                    <a:lnTo>
                      <a:pt x="191" y="750"/>
                    </a:lnTo>
                    <a:lnTo>
                      <a:pt x="189" y="754"/>
                    </a:lnTo>
                    <a:lnTo>
                      <a:pt x="170" y="769"/>
                    </a:lnTo>
                    <a:lnTo>
                      <a:pt x="153" y="773"/>
                    </a:lnTo>
                    <a:lnTo>
                      <a:pt x="146" y="778"/>
                    </a:lnTo>
                    <a:lnTo>
                      <a:pt x="139" y="780"/>
                    </a:lnTo>
                    <a:lnTo>
                      <a:pt x="134" y="780"/>
                    </a:lnTo>
                    <a:lnTo>
                      <a:pt x="132" y="778"/>
                    </a:lnTo>
                    <a:lnTo>
                      <a:pt x="120" y="764"/>
                    </a:lnTo>
                    <a:lnTo>
                      <a:pt x="108" y="757"/>
                    </a:lnTo>
                    <a:lnTo>
                      <a:pt x="108" y="754"/>
                    </a:lnTo>
                    <a:lnTo>
                      <a:pt x="111" y="745"/>
                    </a:lnTo>
                    <a:lnTo>
                      <a:pt x="118" y="736"/>
                    </a:lnTo>
                    <a:lnTo>
                      <a:pt x="118" y="714"/>
                    </a:lnTo>
                    <a:lnTo>
                      <a:pt x="120" y="707"/>
                    </a:lnTo>
                    <a:lnTo>
                      <a:pt x="125" y="702"/>
                    </a:lnTo>
                    <a:lnTo>
                      <a:pt x="139" y="698"/>
                    </a:lnTo>
                    <a:lnTo>
                      <a:pt x="141" y="695"/>
                    </a:lnTo>
                    <a:lnTo>
                      <a:pt x="141" y="676"/>
                    </a:lnTo>
                    <a:lnTo>
                      <a:pt x="137" y="667"/>
                    </a:lnTo>
                    <a:lnTo>
                      <a:pt x="137" y="662"/>
                    </a:lnTo>
                    <a:lnTo>
                      <a:pt x="141" y="648"/>
                    </a:lnTo>
                    <a:lnTo>
                      <a:pt x="139" y="636"/>
                    </a:lnTo>
                    <a:lnTo>
                      <a:pt x="149" y="629"/>
                    </a:lnTo>
                    <a:lnTo>
                      <a:pt x="151" y="615"/>
                    </a:lnTo>
                    <a:lnTo>
                      <a:pt x="158" y="601"/>
                    </a:lnTo>
                    <a:lnTo>
                      <a:pt x="167" y="579"/>
                    </a:lnTo>
                    <a:lnTo>
                      <a:pt x="170" y="568"/>
                    </a:lnTo>
                    <a:lnTo>
                      <a:pt x="177" y="558"/>
                    </a:lnTo>
                    <a:lnTo>
                      <a:pt x="182" y="549"/>
                    </a:lnTo>
                    <a:lnTo>
                      <a:pt x="182" y="542"/>
                    </a:lnTo>
                    <a:lnTo>
                      <a:pt x="182" y="537"/>
                    </a:lnTo>
                    <a:lnTo>
                      <a:pt x="182" y="535"/>
                    </a:lnTo>
                    <a:lnTo>
                      <a:pt x="177" y="535"/>
                    </a:lnTo>
                    <a:lnTo>
                      <a:pt x="156" y="535"/>
                    </a:lnTo>
                    <a:lnTo>
                      <a:pt x="151" y="532"/>
                    </a:lnTo>
                    <a:lnTo>
                      <a:pt x="144" y="530"/>
                    </a:lnTo>
                    <a:lnTo>
                      <a:pt x="141" y="525"/>
                    </a:lnTo>
                    <a:lnTo>
                      <a:pt x="144" y="516"/>
                    </a:lnTo>
                    <a:lnTo>
                      <a:pt x="139" y="509"/>
                    </a:lnTo>
                    <a:lnTo>
                      <a:pt x="137" y="509"/>
                    </a:lnTo>
                    <a:lnTo>
                      <a:pt x="127" y="509"/>
                    </a:lnTo>
                    <a:lnTo>
                      <a:pt x="127" y="509"/>
                    </a:lnTo>
                    <a:lnTo>
                      <a:pt x="125" y="506"/>
                    </a:lnTo>
                    <a:lnTo>
                      <a:pt x="123" y="499"/>
                    </a:lnTo>
                    <a:lnTo>
                      <a:pt x="113" y="483"/>
                    </a:lnTo>
                    <a:lnTo>
                      <a:pt x="108" y="464"/>
                    </a:lnTo>
                    <a:lnTo>
                      <a:pt x="97" y="447"/>
                    </a:lnTo>
                    <a:lnTo>
                      <a:pt x="89" y="426"/>
                    </a:lnTo>
                    <a:lnTo>
                      <a:pt x="71" y="388"/>
                    </a:lnTo>
                    <a:lnTo>
                      <a:pt x="66" y="381"/>
                    </a:lnTo>
                    <a:lnTo>
                      <a:pt x="47" y="367"/>
                    </a:lnTo>
                    <a:lnTo>
                      <a:pt x="35" y="348"/>
                    </a:lnTo>
                    <a:lnTo>
                      <a:pt x="23" y="334"/>
                    </a:lnTo>
                    <a:lnTo>
                      <a:pt x="21" y="331"/>
                    </a:lnTo>
                    <a:lnTo>
                      <a:pt x="21" y="331"/>
                    </a:lnTo>
                    <a:lnTo>
                      <a:pt x="23" y="329"/>
                    </a:lnTo>
                    <a:lnTo>
                      <a:pt x="28" y="329"/>
                    </a:lnTo>
                    <a:lnTo>
                      <a:pt x="30" y="322"/>
                    </a:lnTo>
                    <a:lnTo>
                      <a:pt x="28" y="310"/>
                    </a:lnTo>
                    <a:lnTo>
                      <a:pt x="33" y="298"/>
                    </a:lnTo>
                    <a:lnTo>
                      <a:pt x="33" y="282"/>
                    </a:lnTo>
                    <a:lnTo>
                      <a:pt x="30" y="277"/>
                    </a:lnTo>
                    <a:lnTo>
                      <a:pt x="23" y="260"/>
                    </a:lnTo>
                    <a:lnTo>
                      <a:pt x="19" y="244"/>
                    </a:lnTo>
                    <a:lnTo>
                      <a:pt x="11" y="230"/>
                    </a:lnTo>
                    <a:lnTo>
                      <a:pt x="0" y="206"/>
                    </a:lnTo>
                    <a:lnTo>
                      <a:pt x="11" y="154"/>
                    </a:lnTo>
                    <a:lnTo>
                      <a:pt x="23" y="102"/>
                    </a:lnTo>
                    <a:lnTo>
                      <a:pt x="35" y="50"/>
                    </a:lnTo>
                    <a:lnTo>
                      <a:pt x="47" y="0"/>
                    </a:lnTo>
                    <a:lnTo>
                      <a:pt x="73" y="5"/>
                    </a:lnTo>
                    <a:lnTo>
                      <a:pt x="132" y="17"/>
                    </a:lnTo>
                    <a:lnTo>
                      <a:pt x="189" y="31"/>
                    </a:lnTo>
                    <a:lnTo>
                      <a:pt x="248" y="43"/>
                    </a:lnTo>
                    <a:lnTo>
                      <a:pt x="307" y="55"/>
                    </a:lnTo>
                    <a:lnTo>
                      <a:pt x="321" y="57"/>
                    </a:lnTo>
                    <a:lnTo>
                      <a:pt x="366" y="66"/>
                    </a:lnTo>
                    <a:lnTo>
                      <a:pt x="425" y="78"/>
                    </a:lnTo>
                    <a:lnTo>
                      <a:pt x="484" y="90"/>
                    </a:lnTo>
                    <a:lnTo>
                      <a:pt x="543" y="99"/>
                    </a:lnTo>
                    <a:lnTo>
                      <a:pt x="602" y="111"/>
                    </a:lnTo>
                    <a:lnTo>
                      <a:pt x="661" y="121"/>
                    </a:lnTo>
                    <a:lnTo>
                      <a:pt x="721" y="130"/>
                    </a:lnTo>
                    <a:lnTo>
                      <a:pt x="780" y="142"/>
                    </a:lnTo>
                    <a:lnTo>
                      <a:pt x="839" y="151"/>
                    </a:lnTo>
                    <a:lnTo>
                      <a:pt x="884" y="159"/>
                    </a:lnTo>
                    <a:lnTo>
                      <a:pt x="898" y="161"/>
                    </a:lnTo>
                    <a:lnTo>
                      <a:pt x="957" y="168"/>
                    </a:lnTo>
                    <a:lnTo>
                      <a:pt x="1016" y="177"/>
                    </a:lnTo>
                    <a:lnTo>
                      <a:pt x="1075" y="187"/>
                    </a:lnTo>
                    <a:lnTo>
                      <a:pt x="1134" y="194"/>
                    </a:lnTo>
                    <a:lnTo>
                      <a:pt x="1196" y="201"/>
                    </a:lnTo>
                    <a:lnTo>
                      <a:pt x="1255" y="211"/>
                    </a:lnTo>
                    <a:lnTo>
                      <a:pt x="1314" y="218"/>
                    </a:lnTo>
                    <a:lnTo>
                      <a:pt x="1373" y="225"/>
                    </a:lnTo>
                    <a:lnTo>
                      <a:pt x="1432" y="232"/>
                    </a:lnTo>
                    <a:lnTo>
                      <a:pt x="1494" y="237"/>
                    </a:lnTo>
                    <a:lnTo>
                      <a:pt x="1553" y="244"/>
                    </a:lnTo>
                    <a:lnTo>
                      <a:pt x="1612" y="248"/>
                    </a:lnTo>
                    <a:lnTo>
                      <a:pt x="1671" y="256"/>
                    </a:lnTo>
                    <a:lnTo>
                      <a:pt x="1716" y="260"/>
                    </a:lnTo>
                    <a:lnTo>
                      <a:pt x="1713" y="300"/>
                    </a:lnTo>
                    <a:lnTo>
                      <a:pt x="1709" y="341"/>
                    </a:lnTo>
                    <a:lnTo>
                      <a:pt x="1706" y="381"/>
                    </a:lnTo>
                    <a:lnTo>
                      <a:pt x="1702" y="421"/>
                    </a:lnTo>
                    <a:lnTo>
                      <a:pt x="1699" y="461"/>
                    </a:lnTo>
                    <a:lnTo>
                      <a:pt x="1697" y="501"/>
                    </a:lnTo>
                    <a:lnTo>
                      <a:pt x="1692" y="544"/>
                    </a:lnTo>
                    <a:lnTo>
                      <a:pt x="1690" y="584"/>
                    </a:lnTo>
                    <a:lnTo>
                      <a:pt x="1685" y="624"/>
                    </a:lnTo>
                    <a:lnTo>
                      <a:pt x="1683" y="665"/>
                    </a:lnTo>
                    <a:lnTo>
                      <a:pt x="1678" y="705"/>
                    </a:lnTo>
                    <a:lnTo>
                      <a:pt x="1676" y="745"/>
                    </a:lnTo>
                    <a:lnTo>
                      <a:pt x="1673" y="785"/>
                    </a:lnTo>
                    <a:lnTo>
                      <a:pt x="1668" y="825"/>
                    </a:lnTo>
                    <a:lnTo>
                      <a:pt x="1666" y="866"/>
                    </a:lnTo>
                    <a:lnTo>
                      <a:pt x="1661" y="906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31" name="Freeform 69">
                <a:extLst>
                  <a:ext uri="{FF2B5EF4-FFF2-40B4-BE49-F238E27FC236}">
                    <a16:creationId xmlns:a16="http://schemas.microsoft.com/office/drawing/2014/main" id="{56DE7EAB-2205-246B-3029-0BBCF09865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25" y="1459"/>
                <a:ext cx="1489" cy="645"/>
              </a:xfrm>
              <a:custGeom>
                <a:avLst/>
                <a:gdLst>
                  <a:gd name="T0" fmla="*/ 1383 w 1489"/>
                  <a:gd name="T1" fmla="*/ 57 h 645"/>
                  <a:gd name="T2" fmla="*/ 1335 w 1489"/>
                  <a:gd name="T3" fmla="*/ 66 h 645"/>
                  <a:gd name="T4" fmla="*/ 1331 w 1489"/>
                  <a:gd name="T5" fmla="*/ 102 h 645"/>
                  <a:gd name="T6" fmla="*/ 1279 w 1489"/>
                  <a:gd name="T7" fmla="*/ 135 h 645"/>
                  <a:gd name="T8" fmla="*/ 1253 w 1489"/>
                  <a:gd name="T9" fmla="*/ 137 h 645"/>
                  <a:gd name="T10" fmla="*/ 1331 w 1489"/>
                  <a:gd name="T11" fmla="*/ 135 h 645"/>
                  <a:gd name="T12" fmla="*/ 1373 w 1489"/>
                  <a:gd name="T13" fmla="*/ 184 h 645"/>
                  <a:gd name="T14" fmla="*/ 1406 w 1489"/>
                  <a:gd name="T15" fmla="*/ 120 h 645"/>
                  <a:gd name="T16" fmla="*/ 1402 w 1489"/>
                  <a:gd name="T17" fmla="*/ 217 h 645"/>
                  <a:gd name="T18" fmla="*/ 1326 w 1489"/>
                  <a:gd name="T19" fmla="*/ 255 h 645"/>
                  <a:gd name="T20" fmla="*/ 1293 w 1489"/>
                  <a:gd name="T21" fmla="*/ 236 h 645"/>
                  <a:gd name="T22" fmla="*/ 1234 w 1489"/>
                  <a:gd name="T23" fmla="*/ 265 h 645"/>
                  <a:gd name="T24" fmla="*/ 1309 w 1489"/>
                  <a:gd name="T25" fmla="*/ 314 h 645"/>
                  <a:gd name="T26" fmla="*/ 1231 w 1489"/>
                  <a:gd name="T27" fmla="*/ 331 h 645"/>
                  <a:gd name="T28" fmla="*/ 1361 w 1489"/>
                  <a:gd name="T29" fmla="*/ 350 h 645"/>
                  <a:gd name="T30" fmla="*/ 1309 w 1489"/>
                  <a:gd name="T31" fmla="*/ 411 h 645"/>
                  <a:gd name="T32" fmla="*/ 1224 w 1489"/>
                  <a:gd name="T33" fmla="*/ 449 h 645"/>
                  <a:gd name="T34" fmla="*/ 1198 w 1489"/>
                  <a:gd name="T35" fmla="*/ 459 h 645"/>
                  <a:gd name="T36" fmla="*/ 1161 w 1489"/>
                  <a:gd name="T37" fmla="*/ 522 h 645"/>
                  <a:gd name="T38" fmla="*/ 1135 w 1489"/>
                  <a:gd name="T39" fmla="*/ 600 h 645"/>
                  <a:gd name="T40" fmla="*/ 1057 w 1489"/>
                  <a:gd name="T41" fmla="*/ 631 h 645"/>
                  <a:gd name="T42" fmla="*/ 917 w 1489"/>
                  <a:gd name="T43" fmla="*/ 567 h 645"/>
                  <a:gd name="T44" fmla="*/ 782 w 1489"/>
                  <a:gd name="T45" fmla="*/ 494 h 645"/>
                  <a:gd name="T46" fmla="*/ 662 w 1489"/>
                  <a:gd name="T47" fmla="*/ 511 h 645"/>
                  <a:gd name="T48" fmla="*/ 589 w 1489"/>
                  <a:gd name="T49" fmla="*/ 473 h 645"/>
                  <a:gd name="T50" fmla="*/ 555 w 1489"/>
                  <a:gd name="T51" fmla="*/ 461 h 645"/>
                  <a:gd name="T52" fmla="*/ 440 w 1489"/>
                  <a:gd name="T53" fmla="*/ 470 h 645"/>
                  <a:gd name="T54" fmla="*/ 326 w 1489"/>
                  <a:gd name="T55" fmla="*/ 482 h 645"/>
                  <a:gd name="T56" fmla="*/ 236 w 1489"/>
                  <a:gd name="T57" fmla="*/ 532 h 645"/>
                  <a:gd name="T58" fmla="*/ 52 w 1489"/>
                  <a:gd name="T59" fmla="*/ 567 h 645"/>
                  <a:gd name="T60" fmla="*/ 26 w 1489"/>
                  <a:gd name="T61" fmla="*/ 513 h 645"/>
                  <a:gd name="T62" fmla="*/ 87 w 1489"/>
                  <a:gd name="T63" fmla="*/ 442 h 645"/>
                  <a:gd name="T64" fmla="*/ 210 w 1489"/>
                  <a:gd name="T65" fmla="*/ 366 h 645"/>
                  <a:gd name="T66" fmla="*/ 239 w 1489"/>
                  <a:gd name="T67" fmla="*/ 326 h 645"/>
                  <a:gd name="T68" fmla="*/ 267 w 1489"/>
                  <a:gd name="T69" fmla="*/ 326 h 645"/>
                  <a:gd name="T70" fmla="*/ 300 w 1489"/>
                  <a:gd name="T71" fmla="*/ 298 h 645"/>
                  <a:gd name="T72" fmla="*/ 371 w 1489"/>
                  <a:gd name="T73" fmla="*/ 241 h 645"/>
                  <a:gd name="T74" fmla="*/ 399 w 1489"/>
                  <a:gd name="T75" fmla="*/ 201 h 645"/>
                  <a:gd name="T76" fmla="*/ 529 w 1489"/>
                  <a:gd name="T77" fmla="*/ 156 h 645"/>
                  <a:gd name="T78" fmla="*/ 832 w 1489"/>
                  <a:gd name="T79" fmla="*/ 106 h 645"/>
                  <a:gd name="T80" fmla="*/ 1132 w 1489"/>
                  <a:gd name="T81" fmla="*/ 50 h 645"/>
                  <a:gd name="T82" fmla="*/ 1366 w 1489"/>
                  <a:gd name="T83" fmla="*/ 0 h 645"/>
                  <a:gd name="T84" fmla="*/ 1449 w 1489"/>
                  <a:gd name="T85" fmla="*/ 128 h 645"/>
                  <a:gd name="T86" fmla="*/ 1439 w 1489"/>
                  <a:gd name="T87" fmla="*/ 137 h 645"/>
                  <a:gd name="T88" fmla="*/ 1484 w 1489"/>
                  <a:gd name="T89" fmla="*/ 255 h 645"/>
                  <a:gd name="T90" fmla="*/ 1480 w 1489"/>
                  <a:gd name="T91" fmla="*/ 184 h 645"/>
                  <a:gd name="T92" fmla="*/ 1489 w 1489"/>
                  <a:gd name="T93" fmla="*/ 210 h 645"/>
                  <a:gd name="T94" fmla="*/ 1416 w 1489"/>
                  <a:gd name="T95" fmla="*/ 298 h 645"/>
                  <a:gd name="T96" fmla="*/ 1357 w 1489"/>
                  <a:gd name="T97" fmla="*/ 390 h 645"/>
                  <a:gd name="T98" fmla="*/ 1343 w 1489"/>
                  <a:gd name="T99" fmla="*/ 414 h 645"/>
                  <a:gd name="T100" fmla="*/ 1328 w 1489"/>
                  <a:gd name="T101" fmla="*/ 409 h 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489" h="645">
                    <a:moveTo>
                      <a:pt x="1354" y="2"/>
                    </a:moveTo>
                    <a:lnTo>
                      <a:pt x="1352" y="19"/>
                    </a:lnTo>
                    <a:lnTo>
                      <a:pt x="1357" y="28"/>
                    </a:lnTo>
                    <a:lnTo>
                      <a:pt x="1369" y="35"/>
                    </a:lnTo>
                    <a:lnTo>
                      <a:pt x="1383" y="57"/>
                    </a:lnTo>
                    <a:lnTo>
                      <a:pt x="1399" y="87"/>
                    </a:lnTo>
                    <a:lnTo>
                      <a:pt x="1385" y="78"/>
                    </a:lnTo>
                    <a:lnTo>
                      <a:pt x="1373" y="73"/>
                    </a:lnTo>
                    <a:lnTo>
                      <a:pt x="1354" y="71"/>
                    </a:lnTo>
                    <a:lnTo>
                      <a:pt x="1335" y="66"/>
                    </a:lnTo>
                    <a:lnTo>
                      <a:pt x="1340" y="78"/>
                    </a:lnTo>
                    <a:lnTo>
                      <a:pt x="1343" y="92"/>
                    </a:lnTo>
                    <a:lnTo>
                      <a:pt x="1328" y="92"/>
                    </a:lnTo>
                    <a:lnTo>
                      <a:pt x="1321" y="87"/>
                    </a:lnTo>
                    <a:lnTo>
                      <a:pt x="1331" y="102"/>
                    </a:lnTo>
                    <a:lnTo>
                      <a:pt x="1314" y="102"/>
                    </a:lnTo>
                    <a:lnTo>
                      <a:pt x="1305" y="104"/>
                    </a:lnTo>
                    <a:lnTo>
                      <a:pt x="1300" y="118"/>
                    </a:lnTo>
                    <a:lnTo>
                      <a:pt x="1293" y="130"/>
                    </a:lnTo>
                    <a:lnTo>
                      <a:pt x="1279" y="135"/>
                    </a:lnTo>
                    <a:lnTo>
                      <a:pt x="1257" y="128"/>
                    </a:lnTo>
                    <a:lnTo>
                      <a:pt x="1248" y="113"/>
                    </a:lnTo>
                    <a:lnTo>
                      <a:pt x="1241" y="97"/>
                    </a:lnTo>
                    <a:lnTo>
                      <a:pt x="1243" y="118"/>
                    </a:lnTo>
                    <a:lnTo>
                      <a:pt x="1253" y="137"/>
                    </a:lnTo>
                    <a:lnTo>
                      <a:pt x="1255" y="154"/>
                    </a:lnTo>
                    <a:lnTo>
                      <a:pt x="1274" y="151"/>
                    </a:lnTo>
                    <a:lnTo>
                      <a:pt x="1291" y="144"/>
                    </a:lnTo>
                    <a:lnTo>
                      <a:pt x="1317" y="139"/>
                    </a:lnTo>
                    <a:lnTo>
                      <a:pt x="1331" y="135"/>
                    </a:lnTo>
                    <a:lnTo>
                      <a:pt x="1340" y="128"/>
                    </a:lnTo>
                    <a:lnTo>
                      <a:pt x="1364" y="125"/>
                    </a:lnTo>
                    <a:lnTo>
                      <a:pt x="1369" y="144"/>
                    </a:lnTo>
                    <a:lnTo>
                      <a:pt x="1371" y="163"/>
                    </a:lnTo>
                    <a:lnTo>
                      <a:pt x="1373" y="184"/>
                    </a:lnTo>
                    <a:lnTo>
                      <a:pt x="1380" y="182"/>
                    </a:lnTo>
                    <a:lnTo>
                      <a:pt x="1387" y="175"/>
                    </a:lnTo>
                    <a:lnTo>
                      <a:pt x="1383" y="137"/>
                    </a:lnTo>
                    <a:lnTo>
                      <a:pt x="1399" y="120"/>
                    </a:lnTo>
                    <a:lnTo>
                      <a:pt x="1406" y="120"/>
                    </a:lnTo>
                    <a:lnTo>
                      <a:pt x="1416" y="130"/>
                    </a:lnTo>
                    <a:lnTo>
                      <a:pt x="1421" y="139"/>
                    </a:lnTo>
                    <a:lnTo>
                      <a:pt x="1428" y="156"/>
                    </a:lnTo>
                    <a:lnTo>
                      <a:pt x="1428" y="182"/>
                    </a:lnTo>
                    <a:lnTo>
                      <a:pt x="1402" y="217"/>
                    </a:lnTo>
                    <a:lnTo>
                      <a:pt x="1385" y="248"/>
                    </a:lnTo>
                    <a:lnTo>
                      <a:pt x="1373" y="258"/>
                    </a:lnTo>
                    <a:lnTo>
                      <a:pt x="1357" y="258"/>
                    </a:lnTo>
                    <a:lnTo>
                      <a:pt x="1335" y="255"/>
                    </a:lnTo>
                    <a:lnTo>
                      <a:pt x="1326" y="255"/>
                    </a:lnTo>
                    <a:lnTo>
                      <a:pt x="1319" y="260"/>
                    </a:lnTo>
                    <a:lnTo>
                      <a:pt x="1314" y="253"/>
                    </a:lnTo>
                    <a:lnTo>
                      <a:pt x="1307" y="239"/>
                    </a:lnTo>
                    <a:lnTo>
                      <a:pt x="1298" y="234"/>
                    </a:lnTo>
                    <a:lnTo>
                      <a:pt x="1293" y="236"/>
                    </a:lnTo>
                    <a:lnTo>
                      <a:pt x="1293" y="253"/>
                    </a:lnTo>
                    <a:lnTo>
                      <a:pt x="1276" y="262"/>
                    </a:lnTo>
                    <a:lnTo>
                      <a:pt x="1250" y="260"/>
                    </a:lnTo>
                    <a:lnTo>
                      <a:pt x="1220" y="253"/>
                    </a:lnTo>
                    <a:lnTo>
                      <a:pt x="1234" y="265"/>
                    </a:lnTo>
                    <a:lnTo>
                      <a:pt x="1305" y="277"/>
                    </a:lnTo>
                    <a:lnTo>
                      <a:pt x="1312" y="281"/>
                    </a:lnTo>
                    <a:lnTo>
                      <a:pt x="1321" y="286"/>
                    </a:lnTo>
                    <a:lnTo>
                      <a:pt x="1314" y="300"/>
                    </a:lnTo>
                    <a:lnTo>
                      <a:pt x="1309" y="314"/>
                    </a:lnTo>
                    <a:lnTo>
                      <a:pt x="1312" y="324"/>
                    </a:lnTo>
                    <a:lnTo>
                      <a:pt x="1309" y="331"/>
                    </a:lnTo>
                    <a:lnTo>
                      <a:pt x="1288" y="355"/>
                    </a:lnTo>
                    <a:lnTo>
                      <a:pt x="1274" y="355"/>
                    </a:lnTo>
                    <a:lnTo>
                      <a:pt x="1231" y="331"/>
                    </a:lnTo>
                    <a:lnTo>
                      <a:pt x="1253" y="355"/>
                    </a:lnTo>
                    <a:lnTo>
                      <a:pt x="1269" y="362"/>
                    </a:lnTo>
                    <a:lnTo>
                      <a:pt x="1295" y="362"/>
                    </a:lnTo>
                    <a:lnTo>
                      <a:pt x="1343" y="343"/>
                    </a:lnTo>
                    <a:lnTo>
                      <a:pt x="1361" y="350"/>
                    </a:lnTo>
                    <a:lnTo>
                      <a:pt x="1352" y="371"/>
                    </a:lnTo>
                    <a:lnTo>
                      <a:pt x="1343" y="388"/>
                    </a:lnTo>
                    <a:lnTo>
                      <a:pt x="1326" y="392"/>
                    </a:lnTo>
                    <a:lnTo>
                      <a:pt x="1312" y="400"/>
                    </a:lnTo>
                    <a:lnTo>
                      <a:pt x="1309" y="411"/>
                    </a:lnTo>
                    <a:lnTo>
                      <a:pt x="1298" y="414"/>
                    </a:lnTo>
                    <a:lnTo>
                      <a:pt x="1281" y="418"/>
                    </a:lnTo>
                    <a:lnTo>
                      <a:pt x="1255" y="423"/>
                    </a:lnTo>
                    <a:lnTo>
                      <a:pt x="1241" y="426"/>
                    </a:lnTo>
                    <a:lnTo>
                      <a:pt x="1224" y="449"/>
                    </a:lnTo>
                    <a:lnTo>
                      <a:pt x="1217" y="452"/>
                    </a:lnTo>
                    <a:lnTo>
                      <a:pt x="1205" y="452"/>
                    </a:lnTo>
                    <a:lnTo>
                      <a:pt x="1198" y="437"/>
                    </a:lnTo>
                    <a:lnTo>
                      <a:pt x="1191" y="430"/>
                    </a:lnTo>
                    <a:lnTo>
                      <a:pt x="1198" y="459"/>
                    </a:lnTo>
                    <a:lnTo>
                      <a:pt x="1201" y="466"/>
                    </a:lnTo>
                    <a:lnTo>
                      <a:pt x="1205" y="470"/>
                    </a:lnTo>
                    <a:lnTo>
                      <a:pt x="1187" y="492"/>
                    </a:lnTo>
                    <a:lnTo>
                      <a:pt x="1168" y="515"/>
                    </a:lnTo>
                    <a:lnTo>
                      <a:pt x="1161" y="522"/>
                    </a:lnTo>
                    <a:lnTo>
                      <a:pt x="1153" y="534"/>
                    </a:lnTo>
                    <a:lnTo>
                      <a:pt x="1139" y="565"/>
                    </a:lnTo>
                    <a:lnTo>
                      <a:pt x="1139" y="586"/>
                    </a:lnTo>
                    <a:lnTo>
                      <a:pt x="1137" y="612"/>
                    </a:lnTo>
                    <a:lnTo>
                      <a:pt x="1135" y="600"/>
                    </a:lnTo>
                    <a:lnTo>
                      <a:pt x="1132" y="584"/>
                    </a:lnTo>
                    <a:lnTo>
                      <a:pt x="1123" y="565"/>
                    </a:lnTo>
                    <a:lnTo>
                      <a:pt x="1127" y="603"/>
                    </a:lnTo>
                    <a:lnTo>
                      <a:pt x="1123" y="619"/>
                    </a:lnTo>
                    <a:lnTo>
                      <a:pt x="1057" y="631"/>
                    </a:lnTo>
                    <a:lnTo>
                      <a:pt x="1031" y="645"/>
                    </a:lnTo>
                    <a:lnTo>
                      <a:pt x="1000" y="626"/>
                    </a:lnTo>
                    <a:lnTo>
                      <a:pt x="974" y="608"/>
                    </a:lnTo>
                    <a:lnTo>
                      <a:pt x="945" y="589"/>
                    </a:lnTo>
                    <a:lnTo>
                      <a:pt x="917" y="567"/>
                    </a:lnTo>
                    <a:lnTo>
                      <a:pt x="889" y="548"/>
                    </a:lnTo>
                    <a:lnTo>
                      <a:pt x="863" y="530"/>
                    </a:lnTo>
                    <a:lnTo>
                      <a:pt x="834" y="511"/>
                    </a:lnTo>
                    <a:lnTo>
                      <a:pt x="808" y="492"/>
                    </a:lnTo>
                    <a:lnTo>
                      <a:pt x="782" y="494"/>
                    </a:lnTo>
                    <a:lnTo>
                      <a:pt x="759" y="499"/>
                    </a:lnTo>
                    <a:lnTo>
                      <a:pt x="735" y="501"/>
                    </a:lnTo>
                    <a:lnTo>
                      <a:pt x="709" y="504"/>
                    </a:lnTo>
                    <a:lnTo>
                      <a:pt x="685" y="508"/>
                    </a:lnTo>
                    <a:lnTo>
                      <a:pt x="662" y="511"/>
                    </a:lnTo>
                    <a:lnTo>
                      <a:pt x="638" y="515"/>
                    </a:lnTo>
                    <a:lnTo>
                      <a:pt x="612" y="518"/>
                    </a:lnTo>
                    <a:lnTo>
                      <a:pt x="610" y="501"/>
                    </a:lnTo>
                    <a:lnTo>
                      <a:pt x="607" y="489"/>
                    </a:lnTo>
                    <a:lnTo>
                      <a:pt x="589" y="473"/>
                    </a:lnTo>
                    <a:lnTo>
                      <a:pt x="577" y="463"/>
                    </a:lnTo>
                    <a:lnTo>
                      <a:pt x="560" y="475"/>
                    </a:lnTo>
                    <a:lnTo>
                      <a:pt x="558" y="470"/>
                    </a:lnTo>
                    <a:lnTo>
                      <a:pt x="558" y="463"/>
                    </a:lnTo>
                    <a:lnTo>
                      <a:pt x="555" y="461"/>
                    </a:lnTo>
                    <a:lnTo>
                      <a:pt x="551" y="459"/>
                    </a:lnTo>
                    <a:lnTo>
                      <a:pt x="522" y="461"/>
                    </a:lnTo>
                    <a:lnTo>
                      <a:pt x="496" y="466"/>
                    </a:lnTo>
                    <a:lnTo>
                      <a:pt x="468" y="468"/>
                    </a:lnTo>
                    <a:lnTo>
                      <a:pt x="440" y="470"/>
                    </a:lnTo>
                    <a:lnTo>
                      <a:pt x="414" y="475"/>
                    </a:lnTo>
                    <a:lnTo>
                      <a:pt x="385" y="478"/>
                    </a:lnTo>
                    <a:lnTo>
                      <a:pt x="359" y="480"/>
                    </a:lnTo>
                    <a:lnTo>
                      <a:pt x="331" y="482"/>
                    </a:lnTo>
                    <a:lnTo>
                      <a:pt x="326" y="482"/>
                    </a:lnTo>
                    <a:lnTo>
                      <a:pt x="314" y="492"/>
                    </a:lnTo>
                    <a:lnTo>
                      <a:pt x="284" y="506"/>
                    </a:lnTo>
                    <a:lnTo>
                      <a:pt x="269" y="518"/>
                    </a:lnTo>
                    <a:lnTo>
                      <a:pt x="262" y="518"/>
                    </a:lnTo>
                    <a:lnTo>
                      <a:pt x="236" y="532"/>
                    </a:lnTo>
                    <a:lnTo>
                      <a:pt x="210" y="544"/>
                    </a:lnTo>
                    <a:lnTo>
                      <a:pt x="208" y="544"/>
                    </a:lnTo>
                    <a:lnTo>
                      <a:pt x="156" y="553"/>
                    </a:lnTo>
                    <a:lnTo>
                      <a:pt x="104" y="560"/>
                    </a:lnTo>
                    <a:lnTo>
                      <a:pt x="52" y="567"/>
                    </a:lnTo>
                    <a:lnTo>
                      <a:pt x="0" y="574"/>
                    </a:lnTo>
                    <a:lnTo>
                      <a:pt x="2" y="530"/>
                    </a:lnTo>
                    <a:lnTo>
                      <a:pt x="5" y="520"/>
                    </a:lnTo>
                    <a:lnTo>
                      <a:pt x="9" y="515"/>
                    </a:lnTo>
                    <a:lnTo>
                      <a:pt x="26" y="513"/>
                    </a:lnTo>
                    <a:lnTo>
                      <a:pt x="38" y="508"/>
                    </a:lnTo>
                    <a:lnTo>
                      <a:pt x="45" y="480"/>
                    </a:lnTo>
                    <a:lnTo>
                      <a:pt x="64" y="454"/>
                    </a:lnTo>
                    <a:lnTo>
                      <a:pt x="73" y="449"/>
                    </a:lnTo>
                    <a:lnTo>
                      <a:pt x="87" y="442"/>
                    </a:lnTo>
                    <a:lnTo>
                      <a:pt x="123" y="433"/>
                    </a:lnTo>
                    <a:lnTo>
                      <a:pt x="158" y="407"/>
                    </a:lnTo>
                    <a:lnTo>
                      <a:pt x="184" y="383"/>
                    </a:lnTo>
                    <a:lnTo>
                      <a:pt x="206" y="373"/>
                    </a:lnTo>
                    <a:lnTo>
                      <a:pt x="210" y="366"/>
                    </a:lnTo>
                    <a:lnTo>
                      <a:pt x="215" y="357"/>
                    </a:lnTo>
                    <a:lnTo>
                      <a:pt x="215" y="343"/>
                    </a:lnTo>
                    <a:lnTo>
                      <a:pt x="217" y="340"/>
                    </a:lnTo>
                    <a:lnTo>
                      <a:pt x="232" y="340"/>
                    </a:lnTo>
                    <a:lnTo>
                      <a:pt x="239" y="326"/>
                    </a:lnTo>
                    <a:lnTo>
                      <a:pt x="248" y="319"/>
                    </a:lnTo>
                    <a:lnTo>
                      <a:pt x="255" y="314"/>
                    </a:lnTo>
                    <a:lnTo>
                      <a:pt x="262" y="314"/>
                    </a:lnTo>
                    <a:lnTo>
                      <a:pt x="265" y="317"/>
                    </a:lnTo>
                    <a:lnTo>
                      <a:pt x="267" y="326"/>
                    </a:lnTo>
                    <a:lnTo>
                      <a:pt x="269" y="329"/>
                    </a:lnTo>
                    <a:lnTo>
                      <a:pt x="274" y="329"/>
                    </a:lnTo>
                    <a:lnTo>
                      <a:pt x="279" y="326"/>
                    </a:lnTo>
                    <a:lnTo>
                      <a:pt x="286" y="319"/>
                    </a:lnTo>
                    <a:lnTo>
                      <a:pt x="300" y="298"/>
                    </a:lnTo>
                    <a:lnTo>
                      <a:pt x="312" y="288"/>
                    </a:lnTo>
                    <a:lnTo>
                      <a:pt x="331" y="281"/>
                    </a:lnTo>
                    <a:lnTo>
                      <a:pt x="345" y="288"/>
                    </a:lnTo>
                    <a:lnTo>
                      <a:pt x="355" y="284"/>
                    </a:lnTo>
                    <a:lnTo>
                      <a:pt x="371" y="241"/>
                    </a:lnTo>
                    <a:lnTo>
                      <a:pt x="381" y="234"/>
                    </a:lnTo>
                    <a:lnTo>
                      <a:pt x="388" y="229"/>
                    </a:lnTo>
                    <a:lnTo>
                      <a:pt x="399" y="227"/>
                    </a:lnTo>
                    <a:lnTo>
                      <a:pt x="397" y="217"/>
                    </a:lnTo>
                    <a:lnTo>
                      <a:pt x="399" y="201"/>
                    </a:lnTo>
                    <a:lnTo>
                      <a:pt x="399" y="189"/>
                    </a:lnTo>
                    <a:lnTo>
                      <a:pt x="404" y="173"/>
                    </a:lnTo>
                    <a:lnTo>
                      <a:pt x="407" y="175"/>
                    </a:lnTo>
                    <a:lnTo>
                      <a:pt x="468" y="165"/>
                    </a:lnTo>
                    <a:lnTo>
                      <a:pt x="529" y="156"/>
                    </a:lnTo>
                    <a:lnTo>
                      <a:pt x="589" y="147"/>
                    </a:lnTo>
                    <a:lnTo>
                      <a:pt x="650" y="137"/>
                    </a:lnTo>
                    <a:lnTo>
                      <a:pt x="709" y="125"/>
                    </a:lnTo>
                    <a:lnTo>
                      <a:pt x="771" y="116"/>
                    </a:lnTo>
                    <a:lnTo>
                      <a:pt x="832" y="106"/>
                    </a:lnTo>
                    <a:lnTo>
                      <a:pt x="891" y="94"/>
                    </a:lnTo>
                    <a:lnTo>
                      <a:pt x="953" y="83"/>
                    </a:lnTo>
                    <a:lnTo>
                      <a:pt x="1012" y="71"/>
                    </a:lnTo>
                    <a:lnTo>
                      <a:pt x="1073" y="61"/>
                    </a:lnTo>
                    <a:lnTo>
                      <a:pt x="1132" y="50"/>
                    </a:lnTo>
                    <a:lnTo>
                      <a:pt x="1194" y="35"/>
                    </a:lnTo>
                    <a:lnTo>
                      <a:pt x="1253" y="24"/>
                    </a:lnTo>
                    <a:lnTo>
                      <a:pt x="1312" y="12"/>
                    </a:lnTo>
                    <a:lnTo>
                      <a:pt x="1354" y="2"/>
                    </a:lnTo>
                    <a:close/>
                    <a:moveTo>
                      <a:pt x="1366" y="0"/>
                    </a:moveTo>
                    <a:lnTo>
                      <a:pt x="1371" y="0"/>
                    </a:lnTo>
                    <a:lnTo>
                      <a:pt x="1404" y="61"/>
                    </a:lnTo>
                    <a:lnTo>
                      <a:pt x="1454" y="125"/>
                    </a:lnTo>
                    <a:lnTo>
                      <a:pt x="1461" y="137"/>
                    </a:lnTo>
                    <a:lnTo>
                      <a:pt x="1449" y="128"/>
                    </a:lnTo>
                    <a:lnTo>
                      <a:pt x="1413" y="85"/>
                    </a:lnTo>
                    <a:lnTo>
                      <a:pt x="1392" y="54"/>
                    </a:lnTo>
                    <a:lnTo>
                      <a:pt x="1366" y="0"/>
                    </a:lnTo>
                    <a:close/>
                    <a:moveTo>
                      <a:pt x="1442" y="132"/>
                    </a:moveTo>
                    <a:lnTo>
                      <a:pt x="1439" y="137"/>
                    </a:lnTo>
                    <a:lnTo>
                      <a:pt x="1423" y="118"/>
                    </a:lnTo>
                    <a:lnTo>
                      <a:pt x="1437" y="123"/>
                    </a:lnTo>
                    <a:lnTo>
                      <a:pt x="1439" y="128"/>
                    </a:lnTo>
                    <a:lnTo>
                      <a:pt x="1442" y="132"/>
                    </a:lnTo>
                    <a:close/>
                    <a:moveTo>
                      <a:pt x="1484" y="255"/>
                    </a:moveTo>
                    <a:lnTo>
                      <a:pt x="1463" y="267"/>
                    </a:lnTo>
                    <a:lnTo>
                      <a:pt x="1461" y="265"/>
                    </a:lnTo>
                    <a:lnTo>
                      <a:pt x="1484" y="248"/>
                    </a:lnTo>
                    <a:lnTo>
                      <a:pt x="1484" y="206"/>
                    </a:lnTo>
                    <a:lnTo>
                      <a:pt x="1480" y="184"/>
                    </a:lnTo>
                    <a:lnTo>
                      <a:pt x="1468" y="154"/>
                    </a:lnTo>
                    <a:lnTo>
                      <a:pt x="1468" y="147"/>
                    </a:lnTo>
                    <a:lnTo>
                      <a:pt x="1475" y="156"/>
                    </a:lnTo>
                    <a:lnTo>
                      <a:pt x="1484" y="187"/>
                    </a:lnTo>
                    <a:lnTo>
                      <a:pt x="1489" y="210"/>
                    </a:lnTo>
                    <a:lnTo>
                      <a:pt x="1489" y="246"/>
                    </a:lnTo>
                    <a:lnTo>
                      <a:pt x="1484" y="255"/>
                    </a:lnTo>
                    <a:close/>
                    <a:moveTo>
                      <a:pt x="1447" y="274"/>
                    </a:moveTo>
                    <a:lnTo>
                      <a:pt x="1421" y="298"/>
                    </a:lnTo>
                    <a:lnTo>
                      <a:pt x="1416" y="298"/>
                    </a:lnTo>
                    <a:lnTo>
                      <a:pt x="1435" y="281"/>
                    </a:lnTo>
                    <a:lnTo>
                      <a:pt x="1447" y="274"/>
                    </a:lnTo>
                    <a:close/>
                    <a:moveTo>
                      <a:pt x="1350" y="416"/>
                    </a:moveTo>
                    <a:lnTo>
                      <a:pt x="1347" y="418"/>
                    </a:lnTo>
                    <a:lnTo>
                      <a:pt x="1357" y="390"/>
                    </a:lnTo>
                    <a:lnTo>
                      <a:pt x="1380" y="350"/>
                    </a:lnTo>
                    <a:lnTo>
                      <a:pt x="1387" y="343"/>
                    </a:lnTo>
                    <a:lnTo>
                      <a:pt x="1369" y="376"/>
                    </a:lnTo>
                    <a:lnTo>
                      <a:pt x="1350" y="416"/>
                    </a:lnTo>
                    <a:close/>
                    <a:moveTo>
                      <a:pt x="1343" y="414"/>
                    </a:moveTo>
                    <a:lnTo>
                      <a:pt x="1338" y="416"/>
                    </a:lnTo>
                    <a:lnTo>
                      <a:pt x="1331" y="414"/>
                    </a:lnTo>
                    <a:lnTo>
                      <a:pt x="1321" y="411"/>
                    </a:lnTo>
                    <a:lnTo>
                      <a:pt x="1319" y="409"/>
                    </a:lnTo>
                    <a:lnTo>
                      <a:pt x="1328" y="409"/>
                    </a:lnTo>
                    <a:lnTo>
                      <a:pt x="1343" y="41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32" name="Freeform 70">
                <a:extLst>
                  <a:ext uri="{FF2B5EF4-FFF2-40B4-BE49-F238E27FC236}">
                    <a16:creationId xmlns:a16="http://schemas.microsoft.com/office/drawing/2014/main" id="{FDF690E0-7E9D-D6F6-B5FE-71598D5CBE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4" y="-842"/>
                <a:ext cx="1102" cy="698"/>
              </a:xfrm>
              <a:custGeom>
                <a:avLst/>
                <a:gdLst>
                  <a:gd name="T0" fmla="*/ 1066 w 1102"/>
                  <a:gd name="T1" fmla="*/ 698 h 698"/>
                  <a:gd name="T2" fmla="*/ 998 w 1102"/>
                  <a:gd name="T3" fmla="*/ 698 h 698"/>
                  <a:gd name="T4" fmla="*/ 929 w 1102"/>
                  <a:gd name="T5" fmla="*/ 695 h 698"/>
                  <a:gd name="T6" fmla="*/ 861 w 1102"/>
                  <a:gd name="T7" fmla="*/ 695 h 698"/>
                  <a:gd name="T8" fmla="*/ 792 w 1102"/>
                  <a:gd name="T9" fmla="*/ 693 h 698"/>
                  <a:gd name="T10" fmla="*/ 724 w 1102"/>
                  <a:gd name="T11" fmla="*/ 691 h 698"/>
                  <a:gd name="T12" fmla="*/ 655 w 1102"/>
                  <a:gd name="T13" fmla="*/ 688 h 698"/>
                  <a:gd name="T14" fmla="*/ 587 w 1102"/>
                  <a:gd name="T15" fmla="*/ 686 h 698"/>
                  <a:gd name="T16" fmla="*/ 516 w 1102"/>
                  <a:gd name="T17" fmla="*/ 681 h 698"/>
                  <a:gd name="T18" fmla="*/ 447 w 1102"/>
                  <a:gd name="T19" fmla="*/ 679 h 698"/>
                  <a:gd name="T20" fmla="*/ 379 w 1102"/>
                  <a:gd name="T21" fmla="*/ 674 h 698"/>
                  <a:gd name="T22" fmla="*/ 310 w 1102"/>
                  <a:gd name="T23" fmla="*/ 669 h 698"/>
                  <a:gd name="T24" fmla="*/ 241 w 1102"/>
                  <a:gd name="T25" fmla="*/ 665 h 698"/>
                  <a:gd name="T26" fmla="*/ 173 w 1102"/>
                  <a:gd name="T27" fmla="*/ 660 h 698"/>
                  <a:gd name="T28" fmla="*/ 104 w 1102"/>
                  <a:gd name="T29" fmla="*/ 655 h 698"/>
                  <a:gd name="T30" fmla="*/ 36 w 1102"/>
                  <a:gd name="T31" fmla="*/ 648 h 698"/>
                  <a:gd name="T32" fmla="*/ 5 w 1102"/>
                  <a:gd name="T33" fmla="*/ 606 h 698"/>
                  <a:gd name="T34" fmla="*/ 12 w 1102"/>
                  <a:gd name="T35" fmla="*/ 525 h 698"/>
                  <a:gd name="T36" fmla="*/ 17 w 1102"/>
                  <a:gd name="T37" fmla="*/ 445 h 698"/>
                  <a:gd name="T38" fmla="*/ 24 w 1102"/>
                  <a:gd name="T39" fmla="*/ 364 h 698"/>
                  <a:gd name="T40" fmla="*/ 31 w 1102"/>
                  <a:gd name="T41" fmla="*/ 284 h 698"/>
                  <a:gd name="T42" fmla="*/ 38 w 1102"/>
                  <a:gd name="T43" fmla="*/ 201 h 698"/>
                  <a:gd name="T44" fmla="*/ 45 w 1102"/>
                  <a:gd name="T45" fmla="*/ 121 h 698"/>
                  <a:gd name="T46" fmla="*/ 52 w 1102"/>
                  <a:gd name="T47" fmla="*/ 40 h 698"/>
                  <a:gd name="T48" fmla="*/ 71 w 1102"/>
                  <a:gd name="T49" fmla="*/ 0 h 698"/>
                  <a:gd name="T50" fmla="*/ 189 w 1102"/>
                  <a:gd name="T51" fmla="*/ 10 h 698"/>
                  <a:gd name="T52" fmla="*/ 310 w 1102"/>
                  <a:gd name="T53" fmla="*/ 19 h 698"/>
                  <a:gd name="T54" fmla="*/ 431 w 1102"/>
                  <a:gd name="T55" fmla="*/ 26 h 698"/>
                  <a:gd name="T56" fmla="*/ 549 w 1102"/>
                  <a:gd name="T57" fmla="*/ 33 h 698"/>
                  <a:gd name="T58" fmla="*/ 669 w 1102"/>
                  <a:gd name="T59" fmla="*/ 38 h 698"/>
                  <a:gd name="T60" fmla="*/ 790 w 1102"/>
                  <a:gd name="T61" fmla="*/ 43 h 698"/>
                  <a:gd name="T62" fmla="*/ 908 w 1102"/>
                  <a:gd name="T63" fmla="*/ 45 h 698"/>
                  <a:gd name="T64" fmla="*/ 1012 w 1102"/>
                  <a:gd name="T65" fmla="*/ 48 h 698"/>
                  <a:gd name="T66" fmla="*/ 1024 w 1102"/>
                  <a:gd name="T67" fmla="*/ 133 h 698"/>
                  <a:gd name="T68" fmla="*/ 1024 w 1102"/>
                  <a:gd name="T69" fmla="*/ 166 h 698"/>
                  <a:gd name="T70" fmla="*/ 1024 w 1102"/>
                  <a:gd name="T71" fmla="*/ 199 h 698"/>
                  <a:gd name="T72" fmla="*/ 1031 w 1102"/>
                  <a:gd name="T73" fmla="*/ 251 h 698"/>
                  <a:gd name="T74" fmla="*/ 1040 w 1102"/>
                  <a:gd name="T75" fmla="*/ 284 h 698"/>
                  <a:gd name="T76" fmla="*/ 1048 w 1102"/>
                  <a:gd name="T77" fmla="*/ 312 h 698"/>
                  <a:gd name="T78" fmla="*/ 1059 w 1102"/>
                  <a:gd name="T79" fmla="*/ 383 h 698"/>
                  <a:gd name="T80" fmla="*/ 1064 w 1102"/>
                  <a:gd name="T81" fmla="*/ 468 h 698"/>
                  <a:gd name="T82" fmla="*/ 1071 w 1102"/>
                  <a:gd name="T83" fmla="*/ 490 h 698"/>
                  <a:gd name="T84" fmla="*/ 1069 w 1102"/>
                  <a:gd name="T85" fmla="*/ 516 h 698"/>
                  <a:gd name="T86" fmla="*/ 1074 w 1102"/>
                  <a:gd name="T87" fmla="*/ 561 h 698"/>
                  <a:gd name="T88" fmla="*/ 1092 w 1102"/>
                  <a:gd name="T89" fmla="*/ 617 h 698"/>
                  <a:gd name="T90" fmla="*/ 1097 w 1102"/>
                  <a:gd name="T91" fmla="*/ 639 h 698"/>
                  <a:gd name="T92" fmla="*/ 1100 w 1102"/>
                  <a:gd name="T93" fmla="*/ 681 h 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102" h="698">
                    <a:moveTo>
                      <a:pt x="1102" y="698"/>
                    </a:moveTo>
                    <a:lnTo>
                      <a:pt x="1066" y="698"/>
                    </a:lnTo>
                    <a:lnTo>
                      <a:pt x="1033" y="698"/>
                    </a:lnTo>
                    <a:lnTo>
                      <a:pt x="998" y="698"/>
                    </a:lnTo>
                    <a:lnTo>
                      <a:pt x="965" y="698"/>
                    </a:lnTo>
                    <a:lnTo>
                      <a:pt x="929" y="695"/>
                    </a:lnTo>
                    <a:lnTo>
                      <a:pt x="896" y="695"/>
                    </a:lnTo>
                    <a:lnTo>
                      <a:pt x="861" y="695"/>
                    </a:lnTo>
                    <a:lnTo>
                      <a:pt x="825" y="693"/>
                    </a:lnTo>
                    <a:lnTo>
                      <a:pt x="792" y="693"/>
                    </a:lnTo>
                    <a:lnTo>
                      <a:pt x="757" y="691"/>
                    </a:lnTo>
                    <a:lnTo>
                      <a:pt x="724" y="691"/>
                    </a:lnTo>
                    <a:lnTo>
                      <a:pt x="688" y="688"/>
                    </a:lnTo>
                    <a:lnTo>
                      <a:pt x="655" y="688"/>
                    </a:lnTo>
                    <a:lnTo>
                      <a:pt x="620" y="686"/>
                    </a:lnTo>
                    <a:lnTo>
                      <a:pt x="587" y="686"/>
                    </a:lnTo>
                    <a:lnTo>
                      <a:pt x="551" y="684"/>
                    </a:lnTo>
                    <a:lnTo>
                      <a:pt x="516" y="681"/>
                    </a:lnTo>
                    <a:lnTo>
                      <a:pt x="483" y="681"/>
                    </a:lnTo>
                    <a:lnTo>
                      <a:pt x="447" y="679"/>
                    </a:lnTo>
                    <a:lnTo>
                      <a:pt x="414" y="676"/>
                    </a:lnTo>
                    <a:lnTo>
                      <a:pt x="379" y="674"/>
                    </a:lnTo>
                    <a:lnTo>
                      <a:pt x="345" y="672"/>
                    </a:lnTo>
                    <a:lnTo>
                      <a:pt x="310" y="669"/>
                    </a:lnTo>
                    <a:lnTo>
                      <a:pt x="277" y="667"/>
                    </a:lnTo>
                    <a:lnTo>
                      <a:pt x="241" y="665"/>
                    </a:lnTo>
                    <a:lnTo>
                      <a:pt x="208" y="662"/>
                    </a:lnTo>
                    <a:lnTo>
                      <a:pt x="173" y="660"/>
                    </a:lnTo>
                    <a:lnTo>
                      <a:pt x="137" y="658"/>
                    </a:lnTo>
                    <a:lnTo>
                      <a:pt x="104" y="655"/>
                    </a:lnTo>
                    <a:lnTo>
                      <a:pt x="69" y="653"/>
                    </a:lnTo>
                    <a:lnTo>
                      <a:pt x="36" y="648"/>
                    </a:lnTo>
                    <a:lnTo>
                      <a:pt x="0" y="646"/>
                    </a:lnTo>
                    <a:lnTo>
                      <a:pt x="5" y="606"/>
                    </a:lnTo>
                    <a:lnTo>
                      <a:pt x="7" y="565"/>
                    </a:lnTo>
                    <a:lnTo>
                      <a:pt x="12" y="525"/>
                    </a:lnTo>
                    <a:lnTo>
                      <a:pt x="15" y="485"/>
                    </a:lnTo>
                    <a:lnTo>
                      <a:pt x="17" y="445"/>
                    </a:lnTo>
                    <a:lnTo>
                      <a:pt x="22" y="405"/>
                    </a:lnTo>
                    <a:lnTo>
                      <a:pt x="24" y="364"/>
                    </a:lnTo>
                    <a:lnTo>
                      <a:pt x="29" y="324"/>
                    </a:lnTo>
                    <a:lnTo>
                      <a:pt x="31" y="284"/>
                    </a:lnTo>
                    <a:lnTo>
                      <a:pt x="36" y="241"/>
                    </a:lnTo>
                    <a:lnTo>
                      <a:pt x="38" y="201"/>
                    </a:lnTo>
                    <a:lnTo>
                      <a:pt x="41" y="161"/>
                    </a:lnTo>
                    <a:lnTo>
                      <a:pt x="45" y="121"/>
                    </a:lnTo>
                    <a:lnTo>
                      <a:pt x="48" y="81"/>
                    </a:lnTo>
                    <a:lnTo>
                      <a:pt x="52" y="40"/>
                    </a:lnTo>
                    <a:lnTo>
                      <a:pt x="55" y="0"/>
                    </a:lnTo>
                    <a:lnTo>
                      <a:pt x="71" y="0"/>
                    </a:lnTo>
                    <a:lnTo>
                      <a:pt x="130" y="5"/>
                    </a:lnTo>
                    <a:lnTo>
                      <a:pt x="189" y="10"/>
                    </a:lnTo>
                    <a:lnTo>
                      <a:pt x="251" y="14"/>
                    </a:lnTo>
                    <a:lnTo>
                      <a:pt x="310" y="19"/>
                    </a:lnTo>
                    <a:lnTo>
                      <a:pt x="369" y="24"/>
                    </a:lnTo>
                    <a:lnTo>
                      <a:pt x="431" y="26"/>
                    </a:lnTo>
                    <a:lnTo>
                      <a:pt x="490" y="31"/>
                    </a:lnTo>
                    <a:lnTo>
                      <a:pt x="549" y="33"/>
                    </a:lnTo>
                    <a:lnTo>
                      <a:pt x="610" y="36"/>
                    </a:lnTo>
                    <a:lnTo>
                      <a:pt x="669" y="38"/>
                    </a:lnTo>
                    <a:lnTo>
                      <a:pt x="728" y="40"/>
                    </a:lnTo>
                    <a:lnTo>
                      <a:pt x="790" y="43"/>
                    </a:lnTo>
                    <a:lnTo>
                      <a:pt x="849" y="45"/>
                    </a:lnTo>
                    <a:lnTo>
                      <a:pt x="908" y="45"/>
                    </a:lnTo>
                    <a:lnTo>
                      <a:pt x="970" y="48"/>
                    </a:lnTo>
                    <a:lnTo>
                      <a:pt x="1012" y="48"/>
                    </a:lnTo>
                    <a:lnTo>
                      <a:pt x="1024" y="114"/>
                    </a:lnTo>
                    <a:lnTo>
                      <a:pt x="1024" y="133"/>
                    </a:lnTo>
                    <a:lnTo>
                      <a:pt x="1022" y="147"/>
                    </a:lnTo>
                    <a:lnTo>
                      <a:pt x="1024" y="166"/>
                    </a:lnTo>
                    <a:lnTo>
                      <a:pt x="1022" y="180"/>
                    </a:lnTo>
                    <a:lnTo>
                      <a:pt x="1024" y="199"/>
                    </a:lnTo>
                    <a:lnTo>
                      <a:pt x="1024" y="223"/>
                    </a:lnTo>
                    <a:lnTo>
                      <a:pt x="1031" y="251"/>
                    </a:lnTo>
                    <a:lnTo>
                      <a:pt x="1040" y="277"/>
                    </a:lnTo>
                    <a:lnTo>
                      <a:pt x="1040" y="284"/>
                    </a:lnTo>
                    <a:lnTo>
                      <a:pt x="1043" y="298"/>
                    </a:lnTo>
                    <a:lnTo>
                      <a:pt x="1048" y="312"/>
                    </a:lnTo>
                    <a:lnTo>
                      <a:pt x="1062" y="348"/>
                    </a:lnTo>
                    <a:lnTo>
                      <a:pt x="1059" y="383"/>
                    </a:lnTo>
                    <a:lnTo>
                      <a:pt x="1062" y="395"/>
                    </a:lnTo>
                    <a:lnTo>
                      <a:pt x="1064" y="468"/>
                    </a:lnTo>
                    <a:lnTo>
                      <a:pt x="1064" y="480"/>
                    </a:lnTo>
                    <a:lnTo>
                      <a:pt x="1071" y="490"/>
                    </a:lnTo>
                    <a:lnTo>
                      <a:pt x="1069" y="509"/>
                    </a:lnTo>
                    <a:lnTo>
                      <a:pt x="1069" y="516"/>
                    </a:lnTo>
                    <a:lnTo>
                      <a:pt x="1069" y="549"/>
                    </a:lnTo>
                    <a:lnTo>
                      <a:pt x="1074" y="561"/>
                    </a:lnTo>
                    <a:lnTo>
                      <a:pt x="1076" y="587"/>
                    </a:lnTo>
                    <a:lnTo>
                      <a:pt x="1092" y="617"/>
                    </a:lnTo>
                    <a:lnTo>
                      <a:pt x="1097" y="629"/>
                    </a:lnTo>
                    <a:lnTo>
                      <a:pt x="1097" y="639"/>
                    </a:lnTo>
                    <a:lnTo>
                      <a:pt x="1102" y="658"/>
                    </a:lnTo>
                    <a:lnTo>
                      <a:pt x="1100" y="681"/>
                    </a:lnTo>
                    <a:lnTo>
                      <a:pt x="1102" y="698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33" name="Freeform 71">
                <a:extLst>
                  <a:ext uri="{FF2B5EF4-FFF2-40B4-BE49-F238E27FC236}">
                    <a16:creationId xmlns:a16="http://schemas.microsoft.com/office/drawing/2014/main" id="{7981211D-A21B-C1C2-5A98-3EC0912EB6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2" y="423"/>
                <a:ext cx="1381" cy="686"/>
              </a:xfrm>
              <a:custGeom>
                <a:avLst/>
                <a:gdLst>
                  <a:gd name="T0" fmla="*/ 1206 w 1381"/>
                  <a:gd name="T1" fmla="*/ 159 h 686"/>
                  <a:gd name="T2" fmla="*/ 1220 w 1381"/>
                  <a:gd name="T3" fmla="*/ 211 h 686"/>
                  <a:gd name="T4" fmla="*/ 1244 w 1381"/>
                  <a:gd name="T5" fmla="*/ 258 h 686"/>
                  <a:gd name="T6" fmla="*/ 1253 w 1381"/>
                  <a:gd name="T7" fmla="*/ 284 h 686"/>
                  <a:gd name="T8" fmla="*/ 1262 w 1381"/>
                  <a:gd name="T9" fmla="*/ 303 h 686"/>
                  <a:gd name="T10" fmla="*/ 1265 w 1381"/>
                  <a:gd name="T11" fmla="*/ 348 h 686"/>
                  <a:gd name="T12" fmla="*/ 1274 w 1381"/>
                  <a:gd name="T13" fmla="*/ 364 h 686"/>
                  <a:gd name="T14" fmla="*/ 1277 w 1381"/>
                  <a:gd name="T15" fmla="*/ 374 h 686"/>
                  <a:gd name="T16" fmla="*/ 1286 w 1381"/>
                  <a:gd name="T17" fmla="*/ 379 h 686"/>
                  <a:gd name="T18" fmla="*/ 1284 w 1381"/>
                  <a:gd name="T19" fmla="*/ 400 h 686"/>
                  <a:gd name="T20" fmla="*/ 1293 w 1381"/>
                  <a:gd name="T21" fmla="*/ 409 h 686"/>
                  <a:gd name="T22" fmla="*/ 1291 w 1381"/>
                  <a:gd name="T23" fmla="*/ 426 h 686"/>
                  <a:gd name="T24" fmla="*/ 1298 w 1381"/>
                  <a:gd name="T25" fmla="*/ 438 h 686"/>
                  <a:gd name="T26" fmla="*/ 1303 w 1381"/>
                  <a:gd name="T27" fmla="*/ 499 h 686"/>
                  <a:gd name="T28" fmla="*/ 1298 w 1381"/>
                  <a:gd name="T29" fmla="*/ 530 h 686"/>
                  <a:gd name="T30" fmla="*/ 1314 w 1381"/>
                  <a:gd name="T31" fmla="*/ 561 h 686"/>
                  <a:gd name="T32" fmla="*/ 1326 w 1381"/>
                  <a:gd name="T33" fmla="*/ 589 h 686"/>
                  <a:gd name="T34" fmla="*/ 1340 w 1381"/>
                  <a:gd name="T35" fmla="*/ 624 h 686"/>
                  <a:gd name="T36" fmla="*/ 1362 w 1381"/>
                  <a:gd name="T37" fmla="*/ 646 h 686"/>
                  <a:gd name="T38" fmla="*/ 1378 w 1381"/>
                  <a:gd name="T39" fmla="*/ 684 h 686"/>
                  <a:gd name="T40" fmla="*/ 1352 w 1381"/>
                  <a:gd name="T41" fmla="*/ 686 h 686"/>
                  <a:gd name="T42" fmla="*/ 1286 w 1381"/>
                  <a:gd name="T43" fmla="*/ 686 h 686"/>
                  <a:gd name="T44" fmla="*/ 1218 w 1381"/>
                  <a:gd name="T45" fmla="*/ 686 h 686"/>
                  <a:gd name="T46" fmla="*/ 1149 w 1381"/>
                  <a:gd name="T47" fmla="*/ 686 h 686"/>
                  <a:gd name="T48" fmla="*/ 1083 w 1381"/>
                  <a:gd name="T49" fmla="*/ 686 h 686"/>
                  <a:gd name="T50" fmla="*/ 1014 w 1381"/>
                  <a:gd name="T51" fmla="*/ 684 h 686"/>
                  <a:gd name="T52" fmla="*/ 946 w 1381"/>
                  <a:gd name="T53" fmla="*/ 684 h 686"/>
                  <a:gd name="T54" fmla="*/ 880 w 1381"/>
                  <a:gd name="T55" fmla="*/ 681 h 686"/>
                  <a:gd name="T56" fmla="*/ 811 w 1381"/>
                  <a:gd name="T57" fmla="*/ 679 h 686"/>
                  <a:gd name="T58" fmla="*/ 742 w 1381"/>
                  <a:gd name="T59" fmla="*/ 677 h 686"/>
                  <a:gd name="T60" fmla="*/ 676 w 1381"/>
                  <a:gd name="T61" fmla="*/ 674 h 686"/>
                  <a:gd name="T62" fmla="*/ 608 w 1381"/>
                  <a:gd name="T63" fmla="*/ 672 h 686"/>
                  <a:gd name="T64" fmla="*/ 539 w 1381"/>
                  <a:gd name="T65" fmla="*/ 669 h 686"/>
                  <a:gd name="T66" fmla="*/ 473 w 1381"/>
                  <a:gd name="T67" fmla="*/ 665 h 686"/>
                  <a:gd name="T68" fmla="*/ 404 w 1381"/>
                  <a:gd name="T69" fmla="*/ 660 h 686"/>
                  <a:gd name="T70" fmla="*/ 336 w 1381"/>
                  <a:gd name="T71" fmla="*/ 658 h 686"/>
                  <a:gd name="T72" fmla="*/ 305 w 1381"/>
                  <a:gd name="T73" fmla="*/ 629 h 686"/>
                  <a:gd name="T74" fmla="*/ 307 w 1381"/>
                  <a:gd name="T75" fmla="*/ 575 h 686"/>
                  <a:gd name="T76" fmla="*/ 312 w 1381"/>
                  <a:gd name="T77" fmla="*/ 523 h 686"/>
                  <a:gd name="T78" fmla="*/ 315 w 1381"/>
                  <a:gd name="T79" fmla="*/ 471 h 686"/>
                  <a:gd name="T80" fmla="*/ 277 w 1381"/>
                  <a:gd name="T81" fmla="*/ 442 h 686"/>
                  <a:gd name="T82" fmla="*/ 199 w 1381"/>
                  <a:gd name="T83" fmla="*/ 435 h 686"/>
                  <a:gd name="T84" fmla="*/ 118 w 1381"/>
                  <a:gd name="T85" fmla="*/ 431 h 686"/>
                  <a:gd name="T86" fmla="*/ 40 w 1381"/>
                  <a:gd name="T87" fmla="*/ 424 h 686"/>
                  <a:gd name="T88" fmla="*/ 5 w 1381"/>
                  <a:gd name="T89" fmla="*/ 367 h 686"/>
                  <a:gd name="T90" fmla="*/ 14 w 1381"/>
                  <a:gd name="T91" fmla="*/ 263 h 686"/>
                  <a:gd name="T92" fmla="*/ 21 w 1381"/>
                  <a:gd name="T93" fmla="*/ 159 h 686"/>
                  <a:gd name="T94" fmla="*/ 31 w 1381"/>
                  <a:gd name="T95" fmla="*/ 52 h 686"/>
                  <a:gd name="T96" fmla="*/ 90 w 1381"/>
                  <a:gd name="T97" fmla="*/ 5 h 686"/>
                  <a:gd name="T98" fmla="*/ 196 w 1381"/>
                  <a:gd name="T99" fmla="*/ 14 h 686"/>
                  <a:gd name="T100" fmla="*/ 303 w 1381"/>
                  <a:gd name="T101" fmla="*/ 22 h 686"/>
                  <a:gd name="T102" fmla="*/ 409 w 1381"/>
                  <a:gd name="T103" fmla="*/ 29 h 686"/>
                  <a:gd name="T104" fmla="*/ 515 w 1381"/>
                  <a:gd name="T105" fmla="*/ 36 h 686"/>
                  <a:gd name="T106" fmla="*/ 624 w 1381"/>
                  <a:gd name="T107" fmla="*/ 40 h 686"/>
                  <a:gd name="T108" fmla="*/ 731 w 1381"/>
                  <a:gd name="T109" fmla="*/ 45 h 686"/>
                  <a:gd name="T110" fmla="*/ 837 w 1381"/>
                  <a:gd name="T111" fmla="*/ 48 h 686"/>
                  <a:gd name="T112" fmla="*/ 943 w 1381"/>
                  <a:gd name="T113" fmla="*/ 83 h 686"/>
                  <a:gd name="T114" fmla="*/ 984 w 1381"/>
                  <a:gd name="T115" fmla="*/ 85 h 686"/>
                  <a:gd name="T116" fmla="*/ 1057 w 1381"/>
                  <a:gd name="T117" fmla="*/ 78 h 686"/>
                  <a:gd name="T118" fmla="*/ 1095 w 1381"/>
                  <a:gd name="T119" fmla="*/ 95 h 686"/>
                  <a:gd name="T120" fmla="*/ 1151 w 1381"/>
                  <a:gd name="T121" fmla="*/ 118 h 686"/>
                  <a:gd name="T122" fmla="*/ 1177 w 1381"/>
                  <a:gd name="T123" fmla="*/ 147 h 686"/>
                  <a:gd name="T124" fmla="*/ 1201 w 1381"/>
                  <a:gd name="T125" fmla="*/ 159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381" h="686">
                    <a:moveTo>
                      <a:pt x="1201" y="159"/>
                    </a:moveTo>
                    <a:lnTo>
                      <a:pt x="1206" y="159"/>
                    </a:lnTo>
                    <a:lnTo>
                      <a:pt x="1215" y="178"/>
                    </a:lnTo>
                    <a:lnTo>
                      <a:pt x="1220" y="211"/>
                    </a:lnTo>
                    <a:lnTo>
                      <a:pt x="1229" y="239"/>
                    </a:lnTo>
                    <a:lnTo>
                      <a:pt x="1244" y="258"/>
                    </a:lnTo>
                    <a:lnTo>
                      <a:pt x="1253" y="275"/>
                    </a:lnTo>
                    <a:lnTo>
                      <a:pt x="1253" y="284"/>
                    </a:lnTo>
                    <a:lnTo>
                      <a:pt x="1255" y="293"/>
                    </a:lnTo>
                    <a:lnTo>
                      <a:pt x="1262" y="303"/>
                    </a:lnTo>
                    <a:lnTo>
                      <a:pt x="1265" y="322"/>
                    </a:lnTo>
                    <a:lnTo>
                      <a:pt x="1265" y="348"/>
                    </a:lnTo>
                    <a:lnTo>
                      <a:pt x="1267" y="362"/>
                    </a:lnTo>
                    <a:lnTo>
                      <a:pt x="1274" y="364"/>
                    </a:lnTo>
                    <a:lnTo>
                      <a:pt x="1277" y="367"/>
                    </a:lnTo>
                    <a:lnTo>
                      <a:pt x="1277" y="374"/>
                    </a:lnTo>
                    <a:lnTo>
                      <a:pt x="1279" y="376"/>
                    </a:lnTo>
                    <a:lnTo>
                      <a:pt x="1286" y="379"/>
                    </a:lnTo>
                    <a:lnTo>
                      <a:pt x="1286" y="388"/>
                    </a:lnTo>
                    <a:lnTo>
                      <a:pt x="1284" y="400"/>
                    </a:lnTo>
                    <a:lnTo>
                      <a:pt x="1286" y="407"/>
                    </a:lnTo>
                    <a:lnTo>
                      <a:pt x="1293" y="409"/>
                    </a:lnTo>
                    <a:lnTo>
                      <a:pt x="1296" y="416"/>
                    </a:lnTo>
                    <a:lnTo>
                      <a:pt x="1291" y="426"/>
                    </a:lnTo>
                    <a:lnTo>
                      <a:pt x="1291" y="433"/>
                    </a:lnTo>
                    <a:lnTo>
                      <a:pt x="1298" y="438"/>
                    </a:lnTo>
                    <a:lnTo>
                      <a:pt x="1300" y="459"/>
                    </a:lnTo>
                    <a:lnTo>
                      <a:pt x="1303" y="499"/>
                    </a:lnTo>
                    <a:lnTo>
                      <a:pt x="1303" y="523"/>
                    </a:lnTo>
                    <a:lnTo>
                      <a:pt x="1298" y="530"/>
                    </a:lnTo>
                    <a:lnTo>
                      <a:pt x="1305" y="544"/>
                    </a:lnTo>
                    <a:lnTo>
                      <a:pt x="1314" y="561"/>
                    </a:lnTo>
                    <a:lnTo>
                      <a:pt x="1317" y="568"/>
                    </a:lnTo>
                    <a:lnTo>
                      <a:pt x="1326" y="589"/>
                    </a:lnTo>
                    <a:lnTo>
                      <a:pt x="1331" y="610"/>
                    </a:lnTo>
                    <a:lnTo>
                      <a:pt x="1340" y="624"/>
                    </a:lnTo>
                    <a:lnTo>
                      <a:pt x="1352" y="632"/>
                    </a:lnTo>
                    <a:lnTo>
                      <a:pt x="1362" y="646"/>
                    </a:lnTo>
                    <a:lnTo>
                      <a:pt x="1366" y="667"/>
                    </a:lnTo>
                    <a:lnTo>
                      <a:pt x="1378" y="684"/>
                    </a:lnTo>
                    <a:lnTo>
                      <a:pt x="1381" y="686"/>
                    </a:lnTo>
                    <a:lnTo>
                      <a:pt x="1352" y="686"/>
                    </a:lnTo>
                    <a:lnTo>
                      <a:pt x="1319" y="686"/>
                    </a:lnTo>
                    <a:lnTo>
                      <a:pt x="1286" y="686"/>
                    </a:lnTo>
                    <a:lnTo>
                      <a:pt x="1251" y="686"/>
                    </a:lnTo>
                    <a:lnTo>
                      <a:pt x="1218" y="686"/>
                    </a:lnTo>
                    <a:lnTo>
                      <a:pt x="1184" y="686"/>
                    </a:lnTo>
                    <a:lnTo>
                      <a:pt x="1149" y="686"/>
                    </a:lnTo>
                    <a:lnTo>
                      <a:pt x="1116" y="686"/>
                    </a:lnTo>
                    <a:lnTo>
                      <a:pt x="1083" y="686"/>
                    </a:lnTo>
                    <a:lnTo>
                      <a:pt x="1047" y="686"/>
                    </a:lnTo>
                    <a:lnTo>
                      <a:pt x="1014" y="684"/>
                    </a:lnTo>
                    <a:lnTo>
                      <a:pt x="981" y="684"/>
                    </a:lnTo>
                    <a:lnTo>
                      <a:pt x="946" y="684"/>
                    </a:lnTo>
                    <a:lnTo>
                      <a:pt x="913" y="681"/>
                    </a:lnTo>
                    <a:lnTo>
                      <a:pt x="880" y="681"/>
                    </a:lnTo>
                    <a:lnTo>
                      <a:pt x="844" y="681"/>
                    </a:lnTo>
                    <a:lnTo>
                      <a:pt x="811" y="679"/>
                    </a:lnTo>
                    <a:lnTo>
                      <a:pt x="778" y="679"/>
                    </a:lnTo>
                    <a:lnTo>
                      <a:pt x="742" y="677"/>
                    </a:lnTo>
                    <a:lnTo>
                      <a:pt x="709" y="677"/>
                    </a:lnTo>
                    <a:lnTo>
                      <a:pt x="676" y="674"/>
                    </a:lnTo>
                    <a:lnTo>
                      <a:pt x="641" y="674"/>
                    </a:lnTo>
                    <a:lnTo>
                      <a:pt x="608" y="672"/>
                    </a:lnTo>
                    <a:lnTo>
                      <a:pt x="575" y="669"/>
                    </a:lnTo>
                    <a:lnTo>
                      <a:pt x="539" y="669"/>
                    </a:lnTo>
                    <a:lnTo>
                      <a:pt x="506" y="667"/>
                    </a:lnTo>
                    <a:lnTo>
                      <a:pt x="473" y="665"/>
                    </a:lnTo>
                    <a:lnTo>
                      <a:pt x="437" y="662"/>
                    </a:lnTo>
                    <a:lnTo>
                      <a:pt x="404" y="660"/>
                    </a:lnTo>
                    <a:lnTo>
                      <a:pt x="371" y="660"/>
                    </a:lnTo>
                    <a:lnTo>
                      <a:pt x="336" y="658"/>
                    </a:lnTo>
                    <a:lnTo>
                      <a:pt x="303" y="655"/>
                    </a:lnTo>
                    <a:lnTo>
                      <a:pt x="305" y="629"/>
                    </a:lnTo>
                    <a:lnTo>
                      <a:pt x="307" y="603"/>
                    </a:lnTo>
                    <a:lnTo>
                      <a:pt x="307" y="575"/>
                    </a:lnTo>
                    <a:lnTo>
                      <a:pt x="310" y="549"/>
                    </a:lnTo>
                    <a:lnTo>
                      <a:pt x="312" y="523"/>
                    </a:lnTo>
                    <a:lnTo>
                      <a:pt x="315" y="497"/>
                    </a:lnTo>
                    <a:lnTo>
                      <a:pt x="315" y="471"/>
                    </a:lnTo>
                    <a:lnTo>
                      <a:pt x="317" y="445"/>
                    </a:lnTo>
                    <a:lnTo>
                      <a:pt x="277" y="442"/>
                    </a:lnTo>
                    <a:lnTo>
                      <a:pt x="237" y="440"/>
                    </a:lnTo>
                    <a:lnTo>
                      <a:pt x="199" y="435"/>
                    </a:lnTo>
                    <a:lnTo>
                      <a:pt x="159" y="433"/>
                    </a:lnTo>
                    <a:lnTo>
                      <a:pt x="118" y="431"/>
                    </a:lnTo>
                    <a:lnTo>
                      <a:pt x="78" y="426"/>
                    </a:lnTo>
                    <a:lnTo>
                      <a:pt x="40" y="424"/>
                    </a:lnTo>
                    <a:lnTo>
                      <a:pt x="0" y="421"/>
                    </a:lnTo>
                    <a:lnTo>
                      <a:pt x="5" y="367"/>
                    </a:lnTo>
                    <a:lnTo>
                      <a:pt x="10" y="315"/>
                    </a:lnTo>
                    <a:lnTo>
                      <a:pt x="14" y="263"/>
                    </a:lnTo>
                    <a:lnTo>
                      <a:pt x="17" y="211"/>
                    </a:lnTo>
                    <a:lnTo>
                      <a:pt x="21" y="159"/>
                    </a:lnTo>
                    <a:lnTo>
                      <a:pt x="26" y="104"/>
                    </a:lnTo>
                    <a:lnTo>
                      <a:pt x="31" y="52"/>
                    </a:lnTo>
                    <a:lnTo>
                      <a:pt x="36" y="0"/>
                    </a:lnTo>
                    <a:lnTo>
                      <a:pt x="90" y="5"/>
                    </a:lnTo>
                    <a:lnTo>
                      <a:pt x="142" y="10"/>
                    </a:lnTo>
                    <a:lnTo>
                      <a:pt x="196" y="14"/>
                    </a:lnTo>
                    <a:lnTo>
                      <a:pt x="248" y="17"/>
                    </a:lnTo>
                    <a:lnTo>
                      <a:pt x="303" y="22"/>
                    </a:lnTo>
                    <a:lnTo>
                      <a:pt x="357" y="26"/>
                    </a:lnTo>
                    <a:lnTo>
                      <a:pt x="409" y="29"/>
                    </a:lnTo>
                    <a:lnTo>
                      <a:pt x="463" y="31"/>
                    </a:lnTo>
                    <a:lnTo>
                      <a:pt x="515" y="36"/>
                    </a:lnTo>
                    <a:lnTo>
                      <a:pt x="570" y="38"/>
                    </a:lnTo>
                    <a:lnTo>
                      <a:pt x="624" y="40"/>
                    </a:lnTo>
                    <a:lnTo>
                      <a:pt x="676" y="43"/>
                    </a:lnTo>
                    <a:lnTo>
                      <a:pt x="731" y="45"/>
                    </a:lnTo>
                    <a:lnTo>
                      <a:pt x="785" y="48"/>
                    </a:lnTo>
                    <a:lnTo>
                      <a:pt x="837" y="48"/>
                    </a:lnTo>
                    <a:lnTo>
                      <a:pt x="898" y="50"/>
                    </a:lnTo>
                    <a:lnTo>
                      <a:pt x="943" y="83"/>
                    </a:lnTo>
                    <a:lnTo>
                      <a:pt x="972" y="92"/>
                    </a:lnTo>
                    <a:lnTo>
                      <a:pt x="984" y="85"/>
                    </a:lnTo>
                    <a:lnTo>
                      <a:pt x="1012" y="81"/>
                    </a:lnTo>
                    <a:lnTo>
                      <a:pt x="1057" y="78"/>
                    </a:lnTo>
                    <a:lnTo>
                      <a:pt x="1085" y="83"/>
                    </a:lnTo>
                    <a:lnTo>
                      <a:pt x="1095" y="95"/>
                    </a:lnTo>
                    <a:lnTo>
                      <a:pt x="1118" y="104"/>
                    </a:lnTo>
                    <a:lnTo>
                      <a:pt x="1151" y="118"/>
                    </a:lnTo>
                    <a:lnTo>
                      <a:pt x="1170" y="133"/>
                    </a:lnTo>
                    <a:lnTo>
                      <a:pt x="1177" y="147"/>
                    </a:lnTo>
                    <a:lnTo>
                      <a:pt x="1189" y="156"/>
                    </a:lnTo>
                    <a:lnTo>
                      <a:pt x="1201" y="15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34" name="Freeform 72">
                <a:extLst>
                  <a:ext uri="{FF2B5EF4-FFF2-40B4-BE49-F238E27FC236}">
                    <a16:creationId xmlns:a16="http://schemas.microsoft.com/office/drawing/2014/main" id="{8C88C2EB-BA5F-12C2-2C3B-3C36433A06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2" y="-513"/>
                <a:ext cx="272" cy="577"/>
              </a:xfrm>
              <a:custGeom>
                <a:avLst/>
                <a:gdLst>
                  <a:gd name="T0" fmla="*/ 272 w 272"/>
                  <a:gd name="T1" fmla="*/ 466 h 577"/>
                  <a:gd name="T2" fmla="*/ 253 w 272"/>
                  <a:gd name="T3" fmla="*/ 485 h 577"/>
                  <a:gd name="T4" fmla="*/ 234 w 272"/>
                  <a:gd name="T5" fmla="*/ 501 h 577"/>
                  <a:gd name="T6" fmla="*/ 215 w 272"/>
                  <a:gd name="T7" fmla="*/ 527 h 577"/>
                  <a:gd name="T8" fmla="*/ 182 w 272"/>
                  <a:gd name="T9" fmla="*/ 541 h 577"/>
                  <a:gd name="T10" fmla="*/ 137 w 272"/>
                  <a:gd name="T11" fmla="*/ 553 h 577"/>
                  <a:gd name="T12" fmla="*/ 95 w 272"/>
                  <a:gd name="T13" fmla="*/ 563 h 577"/>
                  <a:gd name="T14" fmla="*/ 52 w 272"/>
                  <a:gd name="T15" fmla="*/ 572 h 577"/>
                  <a:gd name="T16" fmla="*/ 26 w 272"/>
                  <a:gd name="T17" fmla="*/ 572 h 577"/>
                  <a:gd name="T18" fmla="*/ 12 w 272"/>
                  <a:gd name="T19" fmla="*/ 556 h 577"/>
                  <a:gd name="T20" fmla="*/ 10 w 272"/>
                  <a:gd name="T21" fmla="*/ 532 h 577"/>
                  <a:gd name="T22" fmla="*/ 14 w 272"/>
                  <a:gd name="T23" fmla="*/ 515 h 577"/>
                  <a:gd name="T24" fmla="*/ 7 w 272"/>
                  <a:gd name="T25" fmla="*/ 452 h 577"/>
                  <a:gd name="T26" fmla="*/ 0 w 272"/>
                  <a:gd name="T27" fmla="*/ 400 h 577"/>
                  <a:gd name="T28" fmla="*/ 3 w 272"/>
                  <a:gd name="T29" fmla="*/ 371 h 577"/>
                  <a:gd name="T30" fmla="*/ 12 w 272"/>
                  <a:gd name="T31" fmla="*/ 331 h 577"/>
                  <a:gd name="T32" fmla="*/ 14 w 272"/>
                  <a:gd name="T33" fmla="*/ 303 h 577"/>
                  <a:gd name="T34" fmla="*/ 10 w 272"/>
                  <a:gd name="T35" fmla="*/ 241 h 577"/>
                  <a:gd name="T36" fmla="*/ 31 w 272"/>
                  <a:gd name="T37" fmla="*/ 222 h 577"/>
                  <a:gd name="T38" fmla="*/ 52 w 272"/>
                  <a:gd name="T39" fmla="*/ 196 h 577"/>
                  <a:gd name="T40" fmla="*/ 59 w 272"/>
                  <a:gd name="T41" fmla="*/ 180 h 577"/>
                  <a:gd name="T42" fmla="*/ 62 w 272"/>
                  <a:gd name="T43" fmla="*/ 165 h 577"/>
                  <a:gd name="T44" fmla="*/ 47 w 272"/>
                  <a:gd name="T45" fmla="*/ 137 h 577"/>
                  <a:gd name="T46" fmla="*/ 52 w 272"/>
                  <a:gd name="T47" fmla="*/ 94 h 577"/>
                  <a:gd name="T48" fmla="*/ 45 w 272"/>
                  <a:gd name="T49" fmla="*/ 76 h 577"/>
                  <a:gd name="T50" fmla="*/ 57 w 272"/>
                  <a:gd name="T51" fmla="*/ 9 h 577"/>
                  <a:gd name="T52" fmla="*/ 85 w 272"/>
                  <a:gd name="T53" fmla="*/ 9 h 577"/>
                  <a:gd name="T54" fmla="*/ 97 w 272"/>
                  <a:gd name="T55" fmla="*/ 19 h 577"/>
                  <a:gd name="T56" fmla="*/ 114 w 272"/>
                  <a:gd name="T57" fmla="*/ 64 h 577"/>
                  <a:gd name="T58" fmla="*/ 128 w 272"/>
                  <a:gd name="T59" fmla="*/ 109 h 577"/>
                  <a:gd name="T60" fmla="*/ 142 w 272"/>
                  <a:gd name="T61" fmla="*/ 154 h 577"/>
                  <a:gd name="T62" fmla="*/ 159 w 272"/>
                  <a:gd name="T63" fmla="*/ 199 h 577"/>
                  <a:gd name="T64" fmla="*/ 173 w 272"/>
                  <a:gd name="T65" fmla="*/ 241 h 577"/>
                  <a:gd name="T66" fmla="*/ 187 w 272"/>
                  <a:gd name="T67" fmla="*/ 286 h 577"/>
                  <a:gd name="T68" fmla="*/ 203 w 272"/>
                  <a:gd name="T69" fmla="*/ 331 h 577"/>
                  <a:gd name="T70" fmla="*/ 213 w 272"/>
                  <a:gd name="T71" fmla="*/ 369 h 577"/>
                  <a:gd name="T72" fmla="*/ 227 w 272"/>
                  <a:gd name="T73" fmla="*/ 392 h 577"/>
                  <a:gd name="T74" fmla="*/ 253 w 272"/>
                  <a:gd name="T75" fmla="*/ 421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72" h="577">
                    <a:moveTo>
                      <a:pt x="272" y="437"/>
                    </a:moveTo>
                    <a:lnTo>
                      <a:pt x="272" y="466"/>
                    </a:lnTo>
                    <a:lnTo>
                      <a:pt x="272" y="480"/>
                    </a:lnTo>
                    <a:lnTo>
                      <a:pt x="253" y="485"/>
                    </a:lnTo>
                    <a:lnTo>
                      <a:pt x="246" y="487"/>
                    </a:lnTo>
                    <a:lnTo>
                      <a:pt x="234" y="501"/>
                    </a:lnTo>
                    <a:lnTo>
                      <a:pt x="225" y="508"/>
                    </a:lnTo>
                    <a:lnTo>
                      <a:pt x="215" y="527"/>
                    </a:lnTo>
                    <a:lnTo>
                      <a:pt x="203" y="537"/>
                    </a:lnTo>
                    <a:lnTo>
                      <a:pt x="182" y="541"/>
                    </a:lnTo>
                    <a:lnTo>
                      <a:pt x="161" y="548"/>
                    </a:lnTo>
                    <a:lnTo>
                      <a:pt x="137" y="553"/>
                    </a:lnTo>
                    <a:lnTo>
                      <a:pt x="116" y="558"/>
                    </a:lnTo>
                    <a:lnTo>
                      <a:pt x="95" y="563"/>
                    </a:lnTo>
                    <a:lnTo>
                      <a:pt x="73" y="567"/>
                    </a:lnTo>
                    <a:lnTo>
                      <a:pt x="52" y="572"/>
                    </a:lnTo>
                    <a:lnTo>
                      <a:pt x="31" y="577"/>
                    </a:lnTo>
                    <a:lnTo>
                      <a:pt x="26" y="572"/>
                    </a:lnTo>
                    <a:lnTo>
                      <a:pt x="14" y="560"/>
                    </a:lnTo>
                    <a:lnTo>
                      <a:pt x="12" y="556"/>
                    </a:lnTo>
                    <a:lnTo>
                      <a:pt x="10" y="548"/>
                    </a:lnTo>
                    <a:lnTo>
                      <a:pt x="10" y="532"/>
                    </a:lnTo>
                    <a:lnTo>
                      <a:pt x="12" y="525"/>
                    </a:lnTo>
                    <a:lnTo>
                      <a:pt x="14" y="515"/>
                    </a:lnTo>
                    <a:lnTo>
                      <a:pt x="7" y="475"/>
                    </a:lnTo>
                    <a:lnTo>
                      <a:pt x="7" y="452"/>
                    </a:lnTo>
                    <a:lnTo>
                      <a:pt x="0" y="411"/>
                    </a:lnTo>
                    <a:lnTo>
                      <a:pt x="0" y="400"/>
                    </a:lnTo>
                    <a:lnTo>
                      <a:pt x="3" y="390"/>
                    </a:lnTo>
                    <a:lnTo>
                      <a:pt x="3" y="371"/>
                    </a:lnTo>
                    <a:lnTo>
                      <a:pt x="10" y="352"/>
                    </a:lnTo>
                    <a:lnTo>
                      <a:pt x="12" y="331"/>
                    </a:lnTo>
                    <a:lnTo>
                      <a:pt x="17" y="312"/>
                    </a:lnTo>
                    <a:lnTo>
                      <a:pt x="14" y="303"/>
                    </a:lnTo>
                    <a:lnTo>
                      <a:pt x="14" y="279"/>
                    </a:lnTo>
                    <a:lnTo>
                      <a:pt x="10" y="241"/>
                    </a:lnTo>
                    <a:lnTo>
                      <a:pt x="12" y="234"/>
                    </a:lnTo>
                    <a:lnTo>
                      <a:pt x="31" y="222"/>
                    </a:lnTo>
                    <a:lnTo>
                      <a:pt x="36" y="217"/>
                    </a:lnTo>
                    <a:lnTo>
                      <a:pt x="52" y="196"/>
                    </a:lnTo>
                    <a:lnTo>
                      <a:pt x="57" y="187"/>
                    </a:lnTo>
                    <a:lnTo>
                      <a:pt x="59" y="180"/>
                    </a:lnTo>
                    <a:lnTo>
                      <a:pt x="59" y="168"/>
                    </a:lnTo>
                    <a:lnTo>
                      <a:pt x="62" y="165"/>
                    </a:lnTo>
                    <a:lnTo>
                      <a:pt x="59" y="158"/>
                    </a:lnTo>
                    <a:lnTo>
                      <a:pt x="47" y="137"/>
                    </a:lnTo>
                    <a:lnTo>
                      <a:pt x="43" y="128"/>
                    </a:lnTo>
                    <a:lnTo>
                      <a:pt x="52" y="94"/>
                    </a:lnTo>
                    <a:lnTo>
                      <a:pt x="45" y="80"/>
                    </a:lnTo>
                    <a:lnTo>
                      <a:pt x="45" y="76"/>
                    </a:lnTo>
                    <a:lnTo>
                      <a:pt x="47" y="33"/>
                    </a:lnTo>
                    <a:lnTo>
                      <a:pt x="57" y="9"/>
                    </a:lnTo>
                    <a:lnTo>
                      <a:pt x="76" y="12"/>
                    </a:lnTo>
                    <a:lnTo>
                      <a:pt x="85" y="9"/>
                    </a:lnTo>
                    <a:lnTo>
                      <a:pt x="92" y="0"/>
                    </a:lnTo>
                    <a:lnTo>
                      <a:pt x="97" y="19"/>
                    </a:lnTo>
                    <a:lnTo>
                      <a:pt x="107" y="42"/>
                    </a:lnTo>
                    <a:lnTo>
                      <a:pt x="114" y="64"/>
                    </a:lnTo>
                    <a:lnTo>
                      <a:pt x="121" y="87"/>
                    </a:lnTo>
                    <a:lnTo>
                      <a:pt x="128" y="109"/>
                    </a:lnTo>
                    <a:lnTo>
                      <a:pt x="135" y="130"/>
                    </a:lnTo>
                    <a:lnTo>
                      <a:pt x="142" y="154"/>
                    </a:lnTo>
                    <a:lnTo>
                      <a:pt x="151" y="175"/>
                    </a:lnTo>
                    <a:lnTo>
                      <a:pt x="159" y="199"/>
                    </a:lnTo>
                    <a:lnTo>
                      <a:pt x="166" y="220"/>
                    </a:lnTo>
                    <a:lnTo>
                      <a:pt x="173" y="241"/>
                    </a:lnTo>
                    <a:lnTo>
                      <a:pt x="180" y="265"/>
                    </a:lnTo>
                    <a:lnTo>
                      <a:pt x="187" y="286"/>
                    </a:lnTo>
                    <a:lnTo>
                      <a:pt x="196" y="310"/>
                    </a:lnTo>
                    <a:lnTo>
                      <a:pt x="203" y="331"/>
                    </a:lnTo>
                    <a:lnTo>
                      <a:pt x="211" y="352"/>
                    </a:lnTo>
                    <a:lnTo>
                      <a:pt x="213" y="369"/>
                    </a:lnTo>
                    <a:lnTo>
                      <a:pt x="220" y="383"/>
                    </a:lnTo>
                    <a:lnTo>
                      <a:pt x="227" y="392"/>
                    </a:lnTo>
                    <a:lnTo>
                      <a:pt x="246" y="407"/>
                    </a:lnTo>
                    <a:lnTo>
                      <a:pt x="253" y="421"/>
                    </a:lnTo>
                    <a:lnTo>
                      <a:pt x="272" y="43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35" name="Freeform 73">
                <a:extLst>
                  <a:ext uri="{FF2B5EF4-FFF2-40B4-BE49-F238E27FC236}">
                    <a16:creationId xmlns:a16="http://schemas.microsoft.com/office/drawing/2014/main" id="{E7CDF731-23FD-219E-D29E-FA74CC809C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06" y="430"/>
                <a:ext cx="222" cy="504"/>
              </a:xfrm>
              <a:custGeom>
                <a:avLst/>
                <a:gdLst>
                  <a:gd name="T0" fmla="*/ 189 w 222"/>
                  <a:gd name="T1" fmla="*/ 62 h 504"/>
                  <a:gd name="T2" fmla="*/ 177 w 222"/>
                  <a:gd name="T3" fmla="*/ 107 h 504"/>
                  <a:gd name="T4" fmla="*/ 166 w 222"/>
                  <a:gd name="T5" fmla="*/ 121 h 504"/>
                  <a:gd name="T6" fmla="*/ 158 w 222"/>
                  <a:gd name="T7" fmla="*/ 135 h 504"/>
                  <a:gd name="T8" fmla="*/ 163 w 222"/>
                  <a:gd name="T9" fmla="*/ 168 h 504"/>
                  <a:gd name="T10" fmla="*/ 201 w 222"/>
                  <a:gd name="T11" fmla="*/ 159 h 504"/>
                  <a:gd name="T12" fmla="*/ 213 w 222"/>
                  <a:gd name="T13" fmla="*/ 182 h 504"/>
                  <a:gd name="T14" fmla="*/ 215 w 222"/>
                  <a:gd name="T15" fmla="*/ 216 h 504"/>
                  <a:gd name="T16" fmla="*/ 220 w 222"/>
                  <a:gd name="T17" fmla="*/ 270 h 504"/>
                  <a:gd name="T18" fmla="*/ 220 w 222"/>
                  <a:gd name="T19" fmla="*/ 289 h 504"/>
                  <a:gd name="T20" fmla="*/ 210 w 222"/>
                  <a:gd name="T21" fmla="*/ 260 h 504"/>
                  <a:gd name="T22" fmla="*/ 210 w 222"/>
                  <a:gd name="T23" fmla="*/ 315 h 504"/>
                  <a:gd name="T24" fmla="*/ 194 w 222"/>
                  <a:gd name="T25" fmla="*/ 360 h 504"/>
                  <a:gd name="T26" fmla="*/ 187 w 222"/>
                  <a:gd name="T27" fmla="*/ 372 h 504"/>
                  <a:gd name="T28" fmla="*/ 187 w 222"/>
                  <a:gd name="T29" fmla="*/ 393 h 504"/>
                  <a:gd name="T30" fmla="*/ 175 w 222"/>
                  <a:gd name="T31" fmla="*/ 405 h 504"/>
                  <a:gd name="T32" fmla="*/ 163 w 222"/>
                  <a:gd name="T33" fmla="*/ 419 h 504"/>
                  <a:gd name="T34" fmla="*/ 161 w 222"/>
                  <a:gd name="T35" fmla="*/ 438 h 504"/>
                  <a:gd name="T36" fmla="*/ 130 w 222"/>
                  <a:gd name="T37" fmla="*/ 504 h 504"/>
                  <a:gd name="T38" fmla="*/ 125 w 222"/>
                  <a:gd name="T39" fmla="*/ 480 h 504"/>
                  <a:gd name="T40" fmla="*/ 109 w 222"/>
                  <a:gd name="T41" fmla="*/ 454 h 504"/>
                  <a:gd name="T42" fmla="*/ 83 w 222"/>
                  <a:gd name="T43" fmla="*/ 457 h 504"/>
                  <a:gd name="T44" fmla="*/ 43 w 222"/>
                  <a:gd name="T45" fmla="*/ 438 h 504"/>
                  <a:gd name="T46" fmla="*/ 7 w 222"/>
                  <a:gd name="T47" fmla="*/ 405 h 504"/>
                  <a:gd name="T48" fmla="*/ 5 w 222"/>
                  <a:gd name="T49" fmla="*/ 364 h 504"/>
                  <a:gd name="T50" fmla="*/ 19 w 222"/>
                  <a:gd name="T51" fmla="*/ 336 h 504"/>
                  <a:gd name="T52" fmla="*/ 54 w 222"/>
                  <a:gd name="T53" fmla="*/ 308 h 504"/>
                  <a:gd name="T54" fmla="*/ 62 w 222"/>
                  <a:gd name="T55" fmla="*/ 286 h 504"/>
                  <a:gd name="T56" fmla="*/ 102 w 222"/>
                  <a:gd name="T57" fmla="*/ 249 h 504"/>
                  <a:gd name="T58" fmla="*/ 40 w 222"/>
                  <a:gd name="T59" fmla="*/ 204 h 504"/>
                  <a:gd name="T60" fmla="*/ 12 w 222"/>
                  <a:gd name="T61" fmla="*/ 178 h 504"/>
                  <a:gd name="T62" fmla="*/ 2 w 222"/>
                  <a:gd name="T63" fmla="*/ 156 h 504"/>
                  <a:gd name="T64" fmla="*/ 2 w 222"/>
                  <a:gd name="T65" fmla="*/ 137 h 504"/>
                  <a:gd name="T66" fmla="*/ 14 w 222"/>
                  <a:gd name="T67" fmla="*/ 116 h 504"/>
                  <a:gd name="T68" fmla="*/ 0 w 222"/>
                  <a:gd name="T69" fmla="*/ 95 h 504"/>
                  <a:gd name="T70" fmla="*/ 12 w 222"/>
                  <a:gd name="T71" fmla="*/ 76 h 504"/>
                  <a:gd name="T72" fmla="*/ 31 w 222"/>
                  <a:gd name="T73" fmla="*/ 24 h 504"/>
                  <a:gd name="T74" fmla="*/ 38 w 222"/>
                  <a:gd name="T75" fmla="*/ 10 h 504"/>
                  <a:gd name="T76" fmla="*/ 64 w 222"/>
                  <a:gd name="T77" fmla="*/ 7 h 504"/>
                  <a:gd name="T78" fmla="*/ 99 w 222"/>
                  <a:gd name="T79" fmla="*/ 17 h 504"/>
                  <a:gd name="T80" fmla="*/ 135 w 222"/>
                  <a:gd name="T81" fmla="*/ 29 h 504"/>
                  <a:gd name="T82" fmla="*/ 170 w 222"/>
                  <a:gd name="T83" fmla="*/ 41 h 504"/>
                  <a:gd name="T84" fmla="*/ 220 w 222"/>
                  <a:gd name="T85" fmla="*/ 322 h 504"/>
                  <a:gd name="T86" fmla="*/ 206 w 222"/>
                  <a:gd name="T87" fmla="*/ 350 h 504"/>
                  <a:gd name="T88" fmla="*/ 220 w 222"/>
                  <a:gd name="T89" fmla="*/ 322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2" h="504">
                    <a:moveTo>
                      <a:pt x="187" y="45"/>
                    </a:moveTo>
                    <a:lnTo>
                      <a:pt x="189" y="62"/>
                    </a:lnTo>
                    <a:lnTo>
                      <a:pt x="182" y="97"/>
                    </a:lnTo>
                    <a:lnTo>
                      <a:pt x="177" y="107"/>
                    </a:lnTo>
                    <a:lnTo>
                      <a:pt x="170" y="116"/>
                    </a:lnTo>
                    <a:lnTo>
                      <a:pt x="166" y="121"/>
                    </a:lnTo>
                    <a:lnTo>
                      <a:pt x="163" y="126"/>
                    </a:lnTo>
                    <a:lnTo>
                      <a:pt x="158" y="135"/>
                    </a:lnTo>
                    <a:lnTo>
                      <a:pt x="156" y="154"/>
                    </a:lnTo>
                    <a:lnTo>
                      <a:pt x="163" y="168"/>
                    </a:lnTo>
                    <a:lnTo>
                      <a:pt x="194" y="166"/>
                    </a:lnTo>
                    <a:lnTo>
                      <a:pt x="201" y="159"/>
                    </a:lnTo>
                    <a:lnTo>
                      <a:pt x="208" y="168"/>
                    </a:lnTo>
                    <a:lnTo>
                      <a:pt x="213" y="182"/>
                    </a:lnTo>
                    <a:lnTo>
                      <a:pt x="215" y="199"/>
                    </a:lnTo>
                    <a:lnTo>
                      <a:pt x="215" y="216"/>
                    </a:lnTo>
                    <a:lnTo>
                      <a:pt x="215" y="237"/>
                    </a:lnTo>
                    <a:lnTo>
                      <a:pt x="220" y="270"/>
                    </a:lnTo>
                    <a:lnTo>
                      <a:pt x="222" y="298"/>
                    </a:lnTo>
                    <a:lnTo>
                      <a:pt x="220" y="289"/>
                    </a:lnTo>
                    <a:lnTo>
                      <a:pt x="215" y="256"/>
                    </a:lnTo>
                    <a:lnTo>
                      <a:pt x="210" y="260"/>
                    </a:lnTo>
                    <a:lnTo>
                      <a:pt x="208" y="268"/>
                    </a:lnTo>
                    <a:lnTo>
                      <a:pt x="210" y="315"/>
                    </a:lnTo>
                    <a:lnTo>
                      <a:pt x="203" y="341"/>
                    </a:lnTo>
                    <a:lnTo>
                      <a:pt x="194" y="360"/>
                    </a:lnTo>
                    <a:lnTo>
                      <a:pt x="182" y="360"/>
                    </a:lnTo>
                    <a:lnTo>
                      <a:pt x="187" y="372"/>
                    </a:lnTo>
                    <a:lnTo>
                      <a:pt x="187" y="379"/>
                    </a:lnTo>
                    <a:lnTo>
                      <a:pt x="187" y="393"/>
                    </a:lnTo>
                    <a:lnTo>
                      <a:pt x="182" y="405"/>
                    </a:lnTo>
                    <a:lnTo>
                      <a:pt x="175" y="405"/>
                    </a:lnTo>
                    <a:lnTo>
                      <a:pt x="166" y="414"/>
                    </a:lnTo>
                    <a:lnTo>
                      <a:pt x="163" y="419"/>
                    </a:lnTo>
                    <a:lnTo>
                      <a:pt x="166" y="428"/>
                    </a:lnTo>
                    <a:lnTo>
                      <a:pt x="161" y="438"/>
                    </a:lnTo>
                    <a:lnTo>
                      <a:pt x="147" y="485"/>
                    </a:lnTo>
                    <a:lnTo>
                      <a:pt x="130" y="504"/>
                    </a:lnTo>
                    <a:lnTo>
                      <a:pt x="125" y="502"/>
                    </a:lnTo>
                    <a:lnTo>
                      <a:pt x="125" y="480"/>
                    </a:lnTo>
                    <a:lnTo>
                      <a:pt x="123" y="461"/>
                    </a:lnTo>
                    <a:lnTo>
                      <a:pt x="109" y="454"/>
                    </a:lnTo>
                    <a:lnTo>
                      <a:pt x="97" y="452"/>
                    </a:lnTo>
                    <a:lnTo>
                      <a:pt x="83" y="457"/>
                    </a:lnTo>
                    <a:lnTo>
                      <a:pt x="64" y="445"/>
                    </a:lnTo>
                    <a:lnTo>
                      <a:pt x="43" y="438"/>
                    </a:lnTo>
                    <a:lnTo>
                      <a:pt x="7" y="414"/>
                    </a:lnTo>
                    <a:lnTo>
                      <a:pt x="7" y="405"/>
                    </a:lnTo>
                    <a:lnTo>
                      <a:pt x="2" y="390"/>
                    </a:lnTo>
                    <a:lnTo>
                      <a:pt x="5" y="364"/>
                    </a:lnTo>
                    <a:lnTo>
                      <a:pt x="10" y="348"/>
                    </a:lnTo>
                    <a:lnTo>
                      <a:pt x="19" y="336"/>
                    </a:lnTo>
                    <a:lnTo>
                      <a:pt x="47" y="322"/>
                    </a:lnTo>
                    <a:lnTo>
                      <a:pt x="54" y="308"/>
                    </a:lnTo>
                    <a:lnTo>
                      <a:pt x="54" y="296"/>
                    </a:lnTo>
                    <a:lnTo>
                      <a:pt x="62" y="286"/>
                    </a:lnTo>
                    <a:lnTo>
                      <a:pt x="76" y="270"/>
                    </a:lnTo>
                    <a:lnTo>
                      <a:pt x="102" y="249"/>
                    </a:lnTo>
                    <a:lnTo>
                      <a:pt x="50" y="206"/>
                    </a:lnTo>
                    <a:lnTo>
                      <a:pt x="40" y="204"/>
                    </a:lnTo>
                    <a:lnTo>
                      <a:pt x="26" y="182"/>
                    </a:lnTo>
                    <a:lnTo>
                      <a:pt x="12" y="178"/>
                    </a:lnTo>
                    <a:lnTo>
                      <a:pt x="7" y="175"/>
                    </a:lnTo>
                    <a:lnTo>
                      <a:pt x="2" y="156"/>
                    </a:lnTo>
                    <a:lnTo>
                      <a:pt x="2" y="145"/>
                    </a:lnTo>
                    <a:lnTo>
                      <a:pt x="2" y="137"/>
                    </a:lnTo>
                    <a:lnTo>
                      <a:pt x="10" y="130"/>
                    </a:lnTo>
                    <a:lnTo>
                      <a:pt x="14" y="116"/>
                    </a:lnTo>
                    <a:lnTo>
                      <a:pt x="12" y="111"/>
                    </a:lnTo>
                    <a:lnTo>
                      <a:pt x="0" y="95"/>
                    </a:lnTo>
                    <a:lnTo>
                      <a:pt x="0" y="90"/>
                    </a:lnTo>
                    <a:lnTo>
                      <a:pt x="12" y="76"/>
                    </a:lnTo>
                    <a:lnTo>
                      <a:pt x="24" y="50"/>
                    </a:lnTo>
                    <a:lnTo>
                      <a:pt x="31" y="24"/>
                    </a:lnTo>
                    <a:lnTo>
                      <a:pt x="33" y="17"/>
                    </a:lnTo>
                    <a:lnTo>
                      <a:pt x="38" y="10"/>
                    </a:lnTo>
                    <a:lnTo>
                      <a:pt x="47" y="0"/>
                    </a:lnTo>
                    <a:lnTo>
                      <a:pt x="64" y="7"/>
                    </a:lnTo>
                    <a:lnTo>
                      <a:pt x="83" y="12"/>
                    </a:lnTo>
                    <a:lnTo>
                      <a:pt x="99" y="17"/>
                    </a:lnTo>
                    <a:lnTo>
                      <a:pt x="118" y="24"/>
                    </a:lnTo>
                    <a:lnTo>
                      <a:pt x="135" y="29"/>
                    </a:lnTo>
                    <a:lnTo>
                      <a:pt x="154" y="33"/>
                    </a:lnTo>
                    <a:lnTo>
                      <a:pt x="170" y="41"/>
                    </a:lnTo>
                    <a:lnTo>
                      <a:pt x="187" y="45"/>
                    </a:lnTo>
                    <a:close/>
                    <a:moveTo>
                      <a:pt x="220" y="322"/>
                    </a:moveTo>
                    <a:lnTo>
                      <a:pt x="208" y="357"/>
                    </a:lnTo>
                    <a:lnTo>
                      <a:pt x="206" y="350"/>
                    </a:lnTo>
                    <a:lnTo>
                      <a:pt x="220" y="308"/>
                    </a:lnTo>
                    <a:lnTo>
                      <a:pt x="220" y="3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36" name="Freeform 74">
                <a:extLst>
                  <a:ext uri="{FF2B5EF4-FFF2-40B4-BE49-F238E27FC236}">
                    <a16:creationId xmlns:a16="http://schemas.microsoft.com/office/drawing/2014/main" id="{A8264144-B821-6C2A-28EB-F12046CF62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5" y="1582"/>
                <a:ext cx="1184" cy="1206"/>
              </a:xfrm>
              <a:custGeom>
                <a:avLst/>
                <a:gdLst>
                  <a:gd name="T0" fmla="*/ 1170 w 1184"/>
                  <a:gd name="T1" fmla="*/ 217 h 1206"/>
                  <a:gd name="T2" fmla="*/ 1160 w 1184"/>
                  <a:gd name="T3" fmla="*/ 336 h 1206"/>
                  <a:gd name="T4" fmla="*/ 1149 w 1184"/>
                  <a:gd name="T5" fmla="*/ 454 h 1206"/>
                  <a:gd name="T6" fmla="*/ 1139 w 1184"/>
                  <a:gd name="T7" fmla="*/ 572 h 1206"/>
                  <a:gd name="T8" fmla="*/ 1130 w 1184"/>
                  <a:gd name="T9" fmla="*/ 690 h 1206"/>
                  <a:gd name="T10" fmla="*/ 1120 w 1184"/>
                  <a:gd name="T11" fmla="*/ 806 h 1206"/>
                  <a:gd name="T12" fmla="*/ 1111 w 1184"/>
                  <a:gd name="T13" fmla="*/ 924 h 1206"/>
                  <a:gd name="T14" fmla="*/ 1101 w 1184"/>
                  <a:gd name="T15" fmla="*/ 1045 h 1206"/>
                  <a:gd name="T16" fmla="*/ 1092 w 1184"/>
                  <a:gd name="T17" fmla="*/ 1163 h 1206"/>
                  <a:gd name="T18" fmla="*/ 1012 w 1184"/>
                  <a:gd name="T19" fmla="*/ 1156 h 1206"/>
                  <a:gd name="T20" fmla="*/ 931 w 1184"/>
                  <a:gd name="T21" fmla="*/ 1149 h 1206"/>
                  <a:gd name="T22" fmla="*/ 848 w 1184"/>
                  <a:gd name="T23" fmla="*/ 1142 h 1206"/>
                  <a:gd name="T24" fmla="*/ 768 w 1184"/>
                  <a:gd name="T25" fmla="*/ 1135 h 1206"/>
                  <a:gd name="T26" fmla="*/ 688 w 1184"/>
                  <a:gd name="T27" fmla="*/ 1125 h 1206"/>
                  <a:gd name="T28" fmla="*/ 607 w 1184"/>
                  <a:gd name="T29" fmla="*/ 1118 h 1206"/>
                  <a:gd name="T30" fmla="*/ 527 w 1184"/>
                  <a:gd name="T31" fmla="*/ 1109 h 1206"/>
                  <a:gd name="T32" fmla="*/ 447 w 1184"/>
                  <a:gd name="T33" fmla="*/ 1099 h 1206"/>
                  <a:gd name="T34" fmla="*/ 458 w 1184"/>
                  <a:gd name="T35" fmla="*/ 1140 h 1206"/>
                  <a:gd name="T36" fmla="*/ 480 w 1184"/>
                  <a:gd name="T37" fmla="*/ 1154 h 1206"/>
                  <a:gd name="T38" fmla="*/ 440 w 1184"/>
                  <a:gd name="T39" fmla="*/ 1147 h 1206"/>
                  <a:gd name="T40" fmla="*/ 359 w 1184"/>
                  <a:gd name="T41" fmla="*/ 1137 h 1206"/>
                  <a:gd name="T42" fmla="*/ 281 w 1184"/>
                  <a:gd name="T43" fmla="*/ 1128 h 1206"/>
                  <a:gd name="T44" fmla="*/ 203 w 1184"/>
                  <a:gd name="T45" fmla="*/ 1116 h 1206"/>
                  <a:gd name="T46" fmla="*/ 161 w 1184"/>
                  <a:gd name="T47" fmla="*/ 1135 h 1206"/>
                  <a:gd name="T48" fmla="*/ 153 w 1184"/>
                  <a:gd name="T49" fmla="*/ 1182 h 1206"/>
                  <a:gd name="T50" fmla="*/ 87 w 1184"/>
                  <a:gd name="T51" fmla="*/ 1196 h 1206"/>
                  <a:gd name="T52" fmla="*/ 0 w 1184"/>
                  <a:gd name="T53" fmla="*/ 1184 h 1206"/>
                  <a:gd name="T54" fmla="*/ 21 w 1184"/>
                  <a:gd name="T55" fmla="*/ 1036 h 1206"/>
                  <a:gd name="T56" fmla="*/ 42 w 1184"/>
                  <a:gd name="T57" fmla="*/ 887 h 1206"/>
                  <a:gd name="T58" fmla="*/ 64 w 1184"/>
                  <a:gd name="T59" fmla="*/ 740 h 1206"/>
                  <a:gd name="T60" fmla="*/ 85 w 1184"/>
                  <a:gd name="T61" fmla="*/ 591 h 1206"/>
                  <a:gd name="T62" fmla="*/ 106 w 1184"/>
                  <a:gd name="T63" fmla="*/ 444 h 1206"/>
                  <a:gd name="T64" fmla="*/ 127 w 1184"/>
                  <a:gd name="T65" fmla="*/ 295 h 1206"/>
                  <a:gd name="T66" fmla="*/ 151 w 1184"/>
                  <a:gd name="T67" fmla="*/ 149 h 1206"/>
                  <a:gd name="T68" fmla="*/ 172 w 1184"/>
                  <a:gd name="T69" fmla="*/ 0 h 1206"/>
                  <a:gd name="T70" fmla="*/ 298 w 1184"/>
                  <a:gd name="T71" fmla="*/ 19 h 1206"/>
                  <a:gd name="T72" fmla="*/ 423 w 1184"/>
                  <a:gd name="T73" fmla="*/ 35 h 1206"/>
                  <a:gd name="T74" fmla="*/ 551 w 1184"/>
                  <a:gd name="T75" fmla="*/ 52 h 1206"/>
                  <a:gd name="T76" fmla="*/ 676 w 1184"/>
                  <a:gd name="T77" fmla="*/ 66 h 1206"/>
                  <a:gd name="T78" fmla="*/ 804 w 1184"/>
                  <a:gd name="T79" fmla="*/ 78 h 1206"/>
                  <a:gd name="T80" fmla="*/ 931 w 1184"/>
                  <a:gd name="T81" fmla="*/ 92 h 1206"/>
                  <a:gd name="T82" fmla="*/ 1056 w 1184"/>
                  <a:gd name="T83" fmla="*/ 102 h 1206"/>
                  <a:gd name="T84" fmla="*/ 1184 w 1184"/>
                  <a:gd name="T85" fmla="*/ 113 h 1206"/>
                  <a:gd name="T86" fmla="*/ 1179 w 1184"/>
                  <a:gd name="T87" fmla="*/ 165 h 1206"/>
                  <a:gd name="T88" fmla="*/ 1177 w 1184"/>
                  <a:gd name="T89" fmla="*/ 217 h 1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184" h="1206">
                    <a:moveTo>
                      <a:pt x="1177" y="217"/>
                    </a:moveTo>
                    <a:lnTo>
                      <a:pt x="1170" y="217"/>
                    </a:lnTo>
                    <a:lnTo>
                      <a:pt x="1165" y="277"/>
                    </a:lnTo>
                    <a:lnTo>
                      <a:pt x="1160" y="336"/>
                    </a:lnTo>
                    <a:lnTo>
                      <a:pt x="1156" y="395"/>
                    </a:lnTo>
                    <a:lnTo>
                      <a:pt x="1149" y="454"/>
                    </a:lnTo>
                    <a:lnTo>
                      <a:pt x="1144" y="513"/>
                    </a:lnTo>
                    <a:lnTo>
                      <a:pt x="1139" y="572"/>
                    </a:lnTo>
                    <a:lnTo>
                      <a:pt x="1134" y="631"/>
                    </a:lnTo>
                    <a:lnTo>
                      <a:pt x="1130" y="690"/>
                    </a:lnTo>
                    <a:lnTo>
                      <a:pt x="1125" y="747"/>
                    </a:lnTo>
                    <a:lnTo>
                      <a:pt x="1120" y="806"/>
                    </a:lnTo>
                    <a:lnTo>
                      <a:pt x="1116" y="865"/>
                    </a:lnTo>
                    <a:lnTo>
                      <a:pt x="1111" y="924"/>
                    </a:lnTo>
                    <a:lnTo>
                      <a:pt x="1106" y="983"/>
                    </a:lnTo>
                    <a:lnTo>
                      <a:pt x="1101" y="1045"/>
                    </a:lnTo>
                    <a:lnTo>
                      <a:pt x="1097" y="1104"/>
                    </a:lnTo>
                    <a:lnTo>
                      <a:pt x="1092" y="1163"/>
                    </a:lnTo>
                    <a:lnTo>
                      <a:pt x="1052" y="1158"/>
                    </a:lnTo>
                    <a:lnTo>
                      <a:pt x="1012" y="1156"/>
                    </a:lnTo>
                    <a:lnTo>
                      <a:pt x="971" y="1151"/>
                    </a:lnTo>
                    <a:lnTo>
                      <a:pt x="931" y="1149"/>
                    </a:lnTo>
                    <a:lnTo>
                      <a:pt x="889" y="1144"/>
                    </a:lnTo>
                    <a:lnTo>
                      <a:pt x="848" y="1142"/>
                    </a:lnTo>
                    <a:lnTo>
                      <a:pt x="808" y="1137"/>
                    </a:lnTo>
                    <a:lnTo>
                      <a:pt x="768" y="1135"/>
                    </a:lnTo>
                    <a:lnTo>
                      <a:pt x="728" y="1130"/>
                    </a:lnTo>
                    <a:lnTo>
                      <a:pt x="688" y="1125"/>
                    </a:lnTo>
                    <a:lnTo>
                      <a:pt x="648" y="1123"/>
                    </a:lnTo>
                    <a:lnTo>
                      <a:pt x="607" y="1118"/>
                    </a:lnTo>
                    <a:lnTo>
                      <a:pt x="567" y="1114"/>
                    </a:lnTo>
                    <a:lnTo>
                      <a:pt x="527" y="1109"/>
                    </a:lnTo>
                    <a:lnTo>
                      <a:pt x="487" y="1104"/>
                    </a:lnTo>
                    <a:lnTo>
                      <a:pt x="447" y="1099"/>
                    </a:lnTo>
                    <a:lnTo>
                      <a:pt x="447" y="1099"/>
                    </a:lnTo>
                    <a:lnTo>
                      <a:pt x="458" y="1140"/>
                    </a:lnTo>
                    <a:lnTo>
                      <a:pt x="458" y="1140"/>
                    </a:lnTo>
                    <a:lnTo>
                      <a:pt x="480" y="1154"/>
                    </a:lnTo>
                    <a:lnTo>
                      <a:pt x="477" y="1151"/>
                    </a:lnTo>
                    <a:lnTo>
                      <a:pt x="440" y="1147"/>
                    </a:lnTo>
                    <a:lnTo>
                      <a:pt x="399" y="1142"/>
                    </a:lnTo>
                    <a:lnTo>
                      <a:pt x="359" y="1137"/>
                    </a:lnTo>
                    <a:lnTo>
                      <a:pt x="321" y="1132"/>
                    </a:lnTo>
                    <a:lnTo>
                      <a:pt x="281" y="1128"/>
                    </a:lnTo>
                    <a:lnTo>
                      <a:pt x="241" y="1123"/>
                    </a:lnTo>
                    <a:lnTo>
                      <a:pt x="203" y="1116"/>
                    </a:lnTo>
                    <a:lnTo>
                      <a:pt x="163" y="1111"/>
                    </a:lnTo>
                    <a:lnTo>
                      <a:pt x="161" y="1135"/>
                    </a:lnTo>
                    <a:lnTo>
                      <a:pt x="156" y="1158"/>
                    </a:lnTo>
                    <a:lnTo>
                      <a:pt x="153" y="1182"/>
                    </a:lnTo>
                    <a:lnTo>
                      <a:pt x="151" y="1206"/>
                    </a:lnTo>
                    <a:lnTo>
                      <a:pt x="87" y="1196"/>
                    </a:lnTo>
                    <a:lnTo>
                      <a:pt x="23" y="1187"/>
                    </a:lnTo>
                    <a:lnTo>
                      <a:pt x="0" y="1184"/>
                    </a:lnTo>
                    <a:lnTo>
                      <a:pt x="12" y="1111"/>
                    </a:lnTo>
                    <a:lnTo>
                      <a:pt x="21" y="1036"/>
                    </a:lnTo>
                    <a:lnTo>
                      <a:pt x="33" y="962"/>
                    </a:lnTo>
                    <a:lnTo>
                      <a:pt x="42" y="887"/>
                    </a:lnTo>
                    <a:lnTo>
                      <a:pt x="54" y="813"/>
                    </a:lnTo>
                    <a:lnTo>
                      <a:pt x="64" y="740"/>
                    </a:lnTo>
                    <a:lnTo>
                      <a:pt x="75" y="667"/>
                    </a:lnTo>
                    <a:lnTo>
                      <a:pt x="85" y="591"/>
                    </a:lnTo>
                    <a:lnTo>
                      <a:pt x="97" y="518"/>
                    </a:lnTo>
                    <a:lnTo>
                      <a:pt x="106" y="444"/>
                    </a:lnTo>
                    <a:lnTo>
                      <a:pt x="118" y="369"/>
                    </a:lnTo>
                    <a:lnTo>
                      <a:pt x="127" y="295"/>
                    </a:lnTo>
                    <a:lnTo>
                      <a:pt x="139" y="222"/>
                    </a:lnTo>
                    <a:lnTo>
                      <a:pt x="151" y="149"/>
                    </a:lnTo>
                    <a:lnTo>
                      <a:pt x="161" y="76"/>
                    </a:lnTo>
                    <a:lnTo>
                      <a:pt x="172" y="0"/>
                    </a:lnTo>
                    <a:lnTo>
                      <a:pt x="234" y="9"/>
                    </a:lnTo>
                    <a:lnTo>
                      <a:pt x="298" y="19"/>
                    </a:lnTo>
                    <a:lnTo>
                      <a:pt x="362" y="26"/>
                    </a:lnTo>
                    <a:lnTo>
                      <a:pt x="423" y="35"/>
                    </a:lnTo>
                    <a:lnTo>
                      <a:pt x="487" y="42"/>
                    </a:lnTo>
                    <a:lnTo>
                      <a:pt x="551" y="52"/>
                    </a:lnTo>
                    <a:lnTo>
                      <a:pt x="614" y="59"/>
                    </a:lnTo>
                    <a:lnTo>
                      <a:pt x="676" y="66"/>
                    </a:lnTo>
                    <a:lnTo>
                      <a:pt x="740" y="73"/>
                    </a:lnTo>
                    <a:lnTo>
                      <a:pt x="804" y="78"/>
                    </a:lnTo>
                    <a:lnTo>
                      <a:pt x="867" y="85"/>
                    </a:lnTo>
                    <a:lnTo>
                      <a:pt x="931" y="92"/>
                    </a:lnTo>
                    <a:lnTo>
                      <a:pt x="993" y="97"/>
                    </a:lnTo>
                    <a:lnTo>
                      <a:pt x="1056" y="102"/>
                    </a:lnTo>
                    <a:lnTo>
                      <a:pt x="1120" y="109"/>
                    </a:lnTo>
                    <a:lnTo>
                      <a:pt x="1184" y="113"/>
                    </a:lnTo>
                    <a:lnTo>
                      <a:pt x="1182" y="139"/>
                    </a:lnTo>
                    <a:lnTo>
                      <a:pt x="1179" y="165"/>
                    </a:lnTo>
                    <a:lnTo>
                      <a:pt x="1177" y="191"/>
                    </a:lnTo>
                    <a:lnTo>
                      <a:pt x="1177" y="21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37" name="Freeform 75">
                <a:extLst>
                  <a:ext uri="{FF2B5EF4-FFF2-40B4-BE49-F238E27FC236}">
                    <a16:creationId xmlns:a16="http://schemas.microsoft.com/office/drawing/2014/main" id="{E0CE2481-17DE-9FBF-FBA7-7DC435506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8" y="194"/>
                <a:ext cx="1075" cy="1641"/>
              </a:xfrm>
              <a:custGeom>
                <a:avLst/>
                <a:gdLst>
                  <a:gd name="T0" fmla="*/ 853 w 1075"/>
                  <a:gd name="T1" fmla="*/ 1326 h 1641"/>
                  <a:gd name="T2" fmla="*/ 832 w 1075"/>
                  <a:gd name="T3" fmla="*/ 1414 h 1641"/>
                  <a:gd name="T4" fmla="*/ 804 w 1075"/>
                  <a:gd name="T5" fmla="*/ 1440 h 1641"/>
                  <a:gd name="T6" fmla="*/ 789 w 1075"/>
                  <a:gd name="T7" fmla="*/ 1430 h 1641"/>
                  <a:gd name="T8" fmla="*/ 773 w 1075"/>
                  <a:gd name="T9" fmla="*/ 1409 h 1641"/>
                  <a:gd name="T10" fmla="*/ 742 w 1075"/>
                  <a:gd name="T11" fmla="*/ 1402 h 1641"/>
                  <a:gd name="T12" fmla="*/ 718 w 1075"/>
                  <a:gd name="T13" fmla="*/ 1412 h 1641"/>
                  <a:gd name="T14" fmla="*/ 711 w 1075"/>
                  <a:gd name="T15" fmla="*/ 1430 h 1641"/>
                  <a:gd name="T16" fmla="*/ 711 w 1075"/>
                  <a:gd name="T17" fmla="*/ 1468 h 1641"/>
                  <a:gd name="T18" fmla="*/ 711 w 1075"/>
                  <a:gd name="T19" fmla="*/ 1497 h 1641"/>
                  <a:gd name="T20" fmla="*/ 704 w 1075"/>
                  <a:gd name="T21" fmla="*/ 1525 h 1641"/>
                  <a:gd name="T22" fmla="*/ 707 w 1075"/>
                  <a:gd name="T23" fmla="*/ 1565 h 1641"/>
                  <a:gd name="T24" fmla="*/ 688 w 1075"/>
                  <a:gd name="T25" fmla="*/ 1641 h 1641"/>
                  <a:gd name="T26" fmla="*/ 617 w 1075"/>
                  <a:gd name="T27" fmla="*/ 1537 h 1641"/>
                  <a:gd name="T28" fmla="*/ 551 w 1075"/>
                  <a:gd name="T29" fmla="*/ 1438 h 1641"/>
                  <a:gd name="T30" fmla="*/ 484 w 1075"/>
                  <a:gd name="T31" fmla="*/ 1336 h 1641"/>
                  <a:gd name="T32" fmla="*/ 418 w 1075"/>
                  <a:gd name="T33" fmla="*/ 1237 h 1641"/>
                  <a:gd name="T34" fmla="*/ 371 w 1075"/>
                  <a:gd name="T35" fmla="*/ 1166 h 1641"/>
                  <a:gd name="T36" fmla="*/ 324 w 1075"/>
                  <a:gd name="T37" fmla="*/ 1095 h 1641"/>
                  <a:gd name="T38" fmla="*/ 279 w 1075"/>
                  <a:gd name="T39" fmla="*/ 1024 h 1641"/>
                  <a:gd name="T40" fmla="*/ 231 w 1075"/>
                  <a:gd name="T41" fmla="*/ 953 h 1641"/>
                  <a:gd name="T42" fmla="*/ 172 w 1075"/>
                  <a:gd name="T43" fmla="*/ 868 h 1641"/>
                  <a:gd name="T44" fmla="*/ 116 w 1075"/>
                  <a:gd name="T45" fmla="*/ 783 h 1641"/>
                  <a:gd name="T46" fmla="*/ 57 w 1075"/>
                  <a:gd name="T47" fmla="*/ 695 h 1641"/>
                  <a:gd name="T48" fmla="*/ 0 w 1075"/>
                  <a:gd name="T49" fmla="*/ 610 h 1641"/>
                  <a:gd name="T50" fmla="*/ 21 w 1075"/>
                  <a:gd name="T51" fmla="*/ 534 h 1641"/>
                  <a:gd name="T52" fmla="*/ 42 w 1075"/>
                  <a:gd name="T53" fmla="*/ 456 h 1641"/>
                  <a:gd name="T54" fmla="*/ 61 w 1075"/>
                  <a:gd name="T55" fmla="*/ 381 h 1641"/>
                  <a:gd name="T56" fmla="*/ 83 w 1075"/>
                  <a:gd name="T57" fmla="*/ 305 h 1641"/>
                  <a:gd name="T58" fmla="*/ 104 w 1075"/>
                  <a:gd name="T59" fmla="*/ 229 h 1641"/>
                  <a:gd name="T60" fmla="*/ 125 w 1075"/>
                  <a:gd name="T61" fmla="*/ 154 h 1641"/>
                  <a:gd name="T62" fmla="*/ 144 w 1075"/>
                  <a:gd name="T63" fmla="*/ 76 h 1641"/>
                  <a:gd name="T64" fmla="*/ 165 w 1075"/>
                  <a:gd name="T65" fmla="*/ 0 h 1641"/>
                  <a:gd name="T66" fmla="*/ 279 w 1075"/>
                  <a:gd name="T67" fmla="*/ 31 h 1641"/>
                  <a:gd name="T68" fmla="*/ 392 w 1075"/>
                  <a:gd name="T69" fmla="*/ 59 h 1641"/>
                  <a:gd name="T70" fmla="*/ 506 w 1075"/>
                  <a:gd name="T71" fmla="*/ 87 h 1641"/>
                  <a:gd name="T72" fmla="*/ 619 w 1075"/>
                  <a:gd name="T73" fmla="*/ 116 h 1641"/>
                  <a:gd name="T74" fmla="*/ 733 w 1075"/>
                  <a:gd name="T75" fmla="*/ 142 h 1641"/>
                  <a:gd name="T76" fmla="*/ 848 w 1075"/>
                  <a:gd name="T77" fmla="*/ 168 h 1641"/>
                  <a:gd name="T78" fmla="*/ 962 w 1075"/>
                  <a:gd name="T79" fmla="*/ 191 h 1641"/>
                  <a:gd name="T80" fmla="*/ 1075 w 1075"/>
                  <a:gd name="T81" fmla="*/ 215 h 1641"/>
                  <a:gd name="T82" fmla="*/ 1064 w 1075"/>
                  <a:gd name="T83" fmla="*/ 279 h 1641"/>
                  <a:gd name="T84" fmla="*/ 1049 w 1075"/>
                  <a:gd name="T85" fmla="*/ 343 h 1641"/>
                  <a:gd name="T86" fmla="*/ 1038 w 1075"/>
                  <a:gd name="T87" fmla="*/ 409 h 1641"/>
                  <a:gd name="T88" fmla="*/ 1023 w 1075"/>
                  <a:gd name="T89" fmla="*/ 473 h 1641"/>
                  <a:gd name="T90" fmla="*/ 1012 w 1075"/>
                  <a:gd name="T91" fmla="*/ 537 h 1641"/>
                  <a:gd name="T92" fmla="*/ 997 w 1075"/>
                  <a:gd name="T93" fmla="*/ 600 h 1641"/>
                  <a:gd name="T94" fmla="*/ 986 w 1075"/>
                  <a:gd name="T95" fmla="*/ 667 h 1641"/>
                  <a:gd name="T96" fmla="*/ 971 w 1075"/>
                  <a:gd name="T97" fmla="*/ 731 h 1641"/>
                  <a:gd name="T98" fmla="*/ 960 w 1075"/>
                  <a:gd name="T99" fmla="*/ 794 h 1641"/>
                  <a:gd name="T100" fmla="*/ 945 w 1075"/>
                  <a:gd name="T101" fmla="*/ 858 h 1641"/>
                  <a:gd name="T102" fmla="*/ 934 w 1075"/>
                  <a:gd name="T103" fmla="*/ 922 h 1641"/>
                  <a:gd name="T104" fmla="*/ 922 w 1075"/>
                  <a:gd name="T105" fmla="*/ 988 h 1641"/>
                  <a:gd name="T106" fmla="*/ 908 w 1075"/>
                  <a:gd name="T107" fmla="*/ 1052 h 1641"/>
                  <a:gd name="T108" fmla="*/ 896 w 1075"/>
                  <a:gd name="T109" fmla="*/ 1116 h 1641"/>
                  <a:gd name="T110" fmla="*/ 882 w 1075"/>
                  <a:gd name="T111" fmla="*/ 1180 h 1641"/>
                  <a:gd name="T112" fmla="*/ 870 w 1075"/>
                  <a:gd name="T113" fmla="*/ 1244 h 1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75" h="1641">
                    <a:moveTo>
                      <a:pt x="870" y="1244"/>
                    </a:moveTo>
                    <a:lnTo>
                      <a:pt x="853" y="1326"/>
                    </a:lnTo>
                    <a:lnTo>
                      <a:pt x="834" y="1414"/>
                    </a:lnTo>
                    <a:lnTo>
                      <a:pt x="832" y="1414"/>
                    </a:lnTo>
                    <a:lnTo>
                      <a:pt x="818" y="1433"/>
                    </a:lnTo>
                    <a:lnTo>
                      <a:pt x="804" y="1440"/>
                    </a:lnTo>
                    <a:lnTo>
                      <a:pt x="796" y="1440"/>
                    </a:lnTo>
                    <a:lnTo>
                      <a:pt x="789" y="1430"/>
                    </a:lnTo>
                    <a:lnTo>
                      <a:pt x="785" y="1419"/>
                    </a:lnTo>
                    <a:lnTo>
                      <a:pt x="773" y="1409"/>
                    </a:lnTo>
                    <a:lnTo>
                      <a:pt x="756" y="1404"/>
                    </a:lnTo>
                    <a:lnTo>
                      <a:pt x="742" y="1402"/>
                    </a:lnTo>
                    <a:lnTo>
                      <a:pt x="728" y="1404"/>
                    </a:lnTo>
                    <a:lnTo>
                      <a:pt x="718" y="1412"/>
                    </a:lnTo>
                    <a:lnTo>
                      <a:pt x="711" y="1426"/>
                    </a:lnTo>
                    <a:lnTo>
                      <a:pt x="711" y="1430"/>
                    </a:lnTo>
                    <a:lnTo>
                      <a:pt x="716" y="1447"/>
                    </a:lnTo>
                    <a:lnTo>
                      <a:pt x="711" y="1468"/>
                    </a:lnTo>
                    <a:lnTo>
                      <a:pt x="709" y="1485"/>
                    </a:lnTo>
                    <a:lnTo>
                      <a:pt x="711" y="1497"/>
                    </a:lnTo>
                    <a:lnTo>
                      <a:pt x="711" y="1506"/>
                    </a:lnTo>
                    <a:lnTo>
                      <a:pt x="704" y="1525"/>
                    </a:lnTo>
                    <a:lnTo>
                      <a:pt x="702" y="1539"/>
                    </a:lnTo>
                    <a:lnTo>
                      <a:pt x="707" y="1565"/>
                    </a:lnTo>
                    <a:lnTo>
                      <a:pt x="690" y="1638"/>
                    </a:lnTo>
                    <a:lnTo>
                      <a:pt x="688" y="1641"/>
                    </a:lnTo>
                    <a:lnTo>
                      <a:pt x="652" y="1586"/>
                    </a:lnTo>
                    <a:lnTo>
                      <a:pt x="617" y="1537"/>
                    </a:lnTo>
                    <a:lnTo>
                      <a:pt x="584" y="1487"/>
                    </a:lnTo>
                    <a:lnTo>
                      <a:pt x="551" y="1438"/>
                    </a:lnTo>
                    <a:lnTo>
                      <a:pt x="518" y="1388"/>
                    </a:lnTo>
                    <a:lnTo>
                      <a:pt x="484" y="1336"/>
                    </a:lnTo>
                    <a:lnTo>
                      <a:pt x="451" y="1286"/>
                    </a:lnTo>
                    <a:lnTo>
                      <a:pt x="418" y="1237"/>
                    </a:lnTo>
                    <a:lnTo>
                      <a:pt x="395" y="1201"/>
                    </a:lnTo>
                    <a:lnTo>
                      <a:pt x="371" y="1166"/>
                    </a:lnTo>
                    <a:lnTo>
                      <a:pt x="347" y="1130"/>
                    </a:lnTo>
                    <a:lnTo>
                      <a:pt x="324" y="1095"/>
                    </a:lnTo>
                    <a:lnTo>
                      <a:pt x="300" y="1059"/>
                    </a:lnTo>
                    <a:lnTo>
                      <a:pt x="279" y="1024"/>
                    </a:lnTo>
                    <a:lnTo>
                      <a:pt x="255" y="988"/>
                    </a:lnTo>
                    <a:lnTo>
                      <a:pt x="231" y="953"/>
                    </a:lnTo>
                    <a:lnTo>
                      <a:pt x="203" y="910"/>
                    </a:lnTo>
                    <a:lnTo>
                      <a:pt x="172" y="868"/>
                    </a:lnTo>
                    <a:lnTo>
                      <a:pt x="144" y="825"/>
                    </a:lnTo>
                    <a:lnTo>
                      <a:pt x="116" y="783"/>
                    </a:lnTo>
                    <a:lnTo>
                      <a:pt x="85" y="738"/>
                    </a:lnTo>
                    <a:lnTo>
                      <a:pt x="57" y="695"/>
                    </a:lnTo>
                    <a:lnTo>
                      <a:pt x="28" y="653"/>
                    </a:lnTo>
                    <a:lnTo>
                      <a:pt x="0" y="610"/>
                    </a:lnTo>
                    <a:lnTo>
                      <a:pt x="12" y="572"/>
                    </a:lnTo>
                    <a:lnTo>
                      <a:pt x="21" y="534"/>
                    </a:lnTo>
                    <a:lnTo>
                      <a:pt x="31" y="494"/>
                    </a:lnTo>
                    <a:lnTo>
                      <a:pt x="42" y="456"/>
                    </a:lnTo>
                    <a:lnTo>
                      <a:pt x="52" y="418"/>
                    </a:lnTo>
                    <a:lnTo>
                      <a:pt x="61" y="381"/>
                    </a:lnTo>
                    <a:lnTo>
                      <a:pt x="73" y="343"/>
                    </a:lnTo>
                    <a:lnTo>
                      <a:pt x="83" y="305"/>
                    </a:lnTo>
                    <a:lnTo>
                      <a:pt x="94" y="267"/>
                    </a:lnTo>
                    <a:lnTo>
                      <a:pt x="104" y="229"/>
                    </a:lnTo>
                    <a:lnTo>
                      <a:pt x="113" y="191"/>
                    </a:lnTo>
                    <a:lnTo>
                      <a:pt x="125" y="154"/>
                    </a:lnTo>
                    <a:lnTo>
                      <a:pt x="135" y="113"/>
                    </a:lnTo>
                    <a:lnTo>
                      <a:pt x="144" y="76"/>
                    </a:lnTo>
                    <a:lnTo>
                      <a:pt x="156" y="38"/>
                    </a:lnTo>
                    <a:lnTo>
                      <a:pt x="165" y="0"/>
                    </a:lnTo>
                    <a:lnTo>
                      <a:pt x="222" y="16"/>
                    </a:lnTo>
                    <a:lnTo>
                      <a:pt x="279" y="31"/>
                    </a:lnTo>
                    <a:lnTo>
                      <a:pt x="335" y="45"/>
                    </a:lnTo>
                    <a:lnTo>
                      <a:pt x="392" y="59"/>
                    </a:lnTo>
                    <a:lnTo>
                      <a:pt x="449" y="73"/>
                    </a:lnTo>
                    <a:lnTo>
                      <a:pt x="506" y="87"/>
                    </a:lnTo>
                    <a:lnTo>
                      <a:pt x="562" y="102"/>
                    </a:lnTo>
                    <a:lnTo>
                      <a:pt x="619" y="116"/>
                    </a:lnTo>
                    <a:lnTo>
                      <a:pt x="676" y="128"/>
                    </a:lnTo>
                    <a:lnTo>
                      <a:pt x="733" y="142"/>
                    </a:lnTo>
                    <a:lnTo>
                      <a:pt x="789" y="154"/>
                    </a:lnTo>
                    <a:lnTo>
                      <a:pt x="848" y="168"/>
                    </a:lnTo>
                    <a:lnTo>
                      <a:pt x="905" y="180"/>
                    </a:lnTo>
                    <a:lnTo>
                      <a:pt x="962" y="191"/>
                    </a:lnTo>
                    <a:lnTo>
                      <a:pt x="1019" y="203"/>
                    </a:lnTo>
                    <a:lnTo>
                      <a:pt x="1075" y="215"/>
                    </a:lnTo>
                    <a:lnTo>
                      <a:pt x="1068" y="246"/>
                    </a:lnTo>
                    <a:lnTo>
                      <a:pt x="1064" y="279"/>
                    </a:lnTo>
                    <a:lnTo>
                      <a:pt x="1056" y="312"/>
                    </a:lnTo>
                    <a:lnTo>
                      <a:pt x="1049" y="343"/>
                    </a:lnTo>
                    <a:lnTo>
                      <a:pt x="1045" y="376"/>
                    </a:lnTo>
                    <a:lnTo>
                      <a:pt x="1038" y="409"/>
                    </a:lnTo>
                    <a:lnTo>
                      <a:pt x="1030" y="440"/>
                    </a:lnTo>
                    <a:lnTo>
                      <a:pt x="1023" y="473"/>
                    </a:lnTo>
                    <a:lnTo>
                      <a:pt x="1019" y="504"/>
                    </a:lnTo>
                    <a:lnTo>
                      <a:pt x="1012" y="537"/>
                    </a:lnTo>
                    <a:lnTo>
                      <a:pt x="1004" y="570"/>
                    </a:lnTo>
                    <a:lnTo>
                      <a:pt x="997" y="600"/>
                    </a:lnTo>
                    <a:lnTo>
                      <a:pt x="993" y="634"/>
                    </a:lnTo>
                    <a:lnTo>
                      <a:pt x="986" y="667"/>
                    </a:lnTo>
                    <a:lnTo>
                      <a:pt x="978" y="697"/>
                    </a:lnTo>
                    <a:lnTo>
                      <a:pt x="971" y="731"/>
                    </a:lnTo>
                    <a:lnTo>
                      <a:pt x="967" y="761"/>
                    </a:lnTo>
                    <a:lnTo>
                      <a:pt x="960" y="794"/>
                    </a:lnTo>
                    <a:lnTo>
                      <a:pt x="952" y="827"/>
                    </a:lnTo>
                    <a:lnTo>
                      <a:pt x="945" y="858"/>
                    </a:lnTo>
                    <a:lnTo>
                      <a:pt x="941" y="891"/>
                    </a:lnTo>
                    <a:lnTo>
                      <a:pt x="934" y="922"/>
                    </a:lnTo>
                    <a:lnTo>
                      <a:pt x="926" y="955"/>
                    </a:lnTo>
                    <a:lnTo>
                      <a:pt x="922" y="988"/>
                    </a:lnTo>
                    <a:lnTo>
                      <a:pt x="915" y="1019"/>
                    </a:lnTo>
                    <a:lnTo>
                      <a:pt x="908" y="1052"/>
                    </a:lnTo>
                    <a:lnTo>
                      <a:pt x="900" y="1083"/>
                    </a:lnTo>
                    <a:lnTo>
                      <a:pt x="896" y="1116"/>
                    </a:lnTo>
                    <a:lnTo>
                      <a:pt x="889" y="1149"/>
                    </a:lnTo>
                    <a:lnTo>
                      <a:pt x="882" y="1180"/>
                    </a:lnTo>
                    <a:lnTo>
                      <a:pt x="874" y="1213"/>
                    </a:lnTo>
                    <a:lnTo>
                      <a:pt x="870" y="12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38" name="Freeform 76">
                <a:extLst>
                  <a:ext uri="{FF2B5EF4-FFF2-40B4-BE49-F238E27FC236}">
                    <a16:creationId xmlns:a16="http://schemas.microsoft.com/office/drawing/2014/main" id="{B4AE5CC6-64B6-2D4F-1F67-E99C546DB1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33" y="-466"/>
                <a:ext cx="1267" cy="1050"/>
              </a:xfrm>
              <a:custGeom>
                <a:avLst/>
                <a:gdLst>
                  <a:gd name="T0" fmla="*/ 969 w 1267"/>
                  <a:gd name="T1" fmla="*/ 556 h 1050"/>
                  <a:gd name="T2" fmla="*/ 969 w 1267"/>
                  <a:gd name="T3" fmla="*/ 648 h 1050"/>
                  <a:gd name="T4" fmla="*/ 976 w 1267"/>
                  <a:gd name="T5" fmla="*/ 728 h 1050"/>
                  <a:gd name="T6" fmla="*/ 995 w 1267"/>
                  <a:gd name="T7" fmla="*/ 825 h 1050"/>
                  <a:gd name="T8" fmla="*/ 1009 w 1267"/>
                  <a:gd name="T9" fmla="*/ 885 h 1050"/>
                  <a:gd name="T10" fmla="*/ 1005 w 1267"/>
                  <a:gd name="T11" fmla="*/ 929 h 1050"/>
                  <a:gd name="T12" fmla="*/ 967 w 1267"/>
                  <a:gd name="T13" fmla="*/ 986 h 1050"/>
                  <a:gd name="T14" fmla="*/ 955 w 1267"/>
                  <a:gd name="T15" fmla="*/ 903 h 1050"/>
                  <a:gd name="T16" fmla="*/ 960 w 1267"/>
                  <a:gd name="T17" fmla="*/ 941 h 1050"/>
                  <a:gd name="T18" fmla="*/ 872 w 1267"/>
                  <a:gd name="T19" fmla="*/ 913 h 1050"/>
                  <a:gd name="T20" fmla="*/ 809 w 1267"/>
                  <a:gd name="T21" fmla="*/ 885 h 1050"/>
                  <a:gd name="T22" fmla="*/ 749 w 1267"/>
                  <a:gd name="T23" fmla="*/ 847 h 1050"/>
                  <a:gd name="T24" fmla="*/ 731 w 1267"/>
                  <a:gd name="T25" fmla="*/ 809 h 1050"/>
                  <a:gd name="T26" fmla="*/ 648 w 1267"/>
                  <a:gd name="T27" fmla="*/ 797 h 1050"/>
                  <a:gd name="T28" fmla="*/ 541 w 1267"/>
                  <a:gd name="T29" fmla="*/ 821 h 1050"/>
                  <a:gd name="T30" fmla="*/ 435 w 1267"/>
                  <a:gd name="T31" fmla="*/ 844 h 1050"/>
                  <a:gd name="T32" fmla="*/ 331 w 1267"/>
                  <a:gd name="T33" fmla="*/ 866 h 1050"/>
                  <a:gd name="T34" fmla="*/ 225 w 1267"/>
                  <a:gd name="T35" fmla="*/ 887 h 1050"/>
                  <a:gd name="T36" fmla="*/ 118 w 1267"/>
                  <a:gd name="T37" fmla="*/ 908 h 1050"/>
                  <a:gd name="T38" fmla="*/ 12 w 1267"/>
                  <a:gd name="T39" fmla="*/ 927 h 1050"/>
                  <a:gd name="T40" fmla="*/ 36 w 1267"/>
                  <a:gd name="T41" fmla="*/ 840 h 1050"/>
                  <a:gd name="T42" fmla="*/ 92 w 1267"/>
                  <a:gd name="T43" fmla="*/ 766 h 1050"/>
                  <a:gd name="T44" fmla="*/ 111 w 1267"/>
                  <a:gd name="T45" fmla="*/ 719 h 1050"/>
                  <a:gd name="T46" fmla="*/ 102 w 1267"/>
                  <a:gd name="T47" fmla="*/ 681 h 1050"/>
                  <a:gd name="T48" fmla="*/ 123 w 1267"/>
                  <a:gd name="T49" fmla="*/ 615 h 1050"/>
                  <a:gd name="T50" fmla="*/ 286 w 1267"/>
                  <a:gd name="T51" fmla="*/ 601 h 1050"/>
                  <a:gd name="T52" fmla="*/ 385 w 1267"/>
                  <a:gd name="T53" fmla="*/ 580 h 1050"/>
                  <a:gd name="T54" fmla="*/ 416 w 1267"/>
                  <a:gd name="T55" fmla="*/ 558 h 1050"/>
                  <a:gd name="T56" fmla="*/ 449 w 1267"/>
                  <a:gd name="T57" fmla="*/ 516 h 1050"/>
                  <a:gd name="T58" fmla="*/ 487 w 1267"/>
                  <a:gd name="T59" fmla="*/ 490 h 1050"/>
                  <a:gd name="T60" fmla="*/ 482 w 1267"/>
                  <a:gd name="T61" fmla="*/ 473 h 1050"/>
                  <a:gd name="T62" fmla="*/ 461 w 1267"/>
                  <a:gd name="T63" fmla="*/ 435 h 1050"/>
                  <a:gd name="T64" fmla="*/ 480 w 1267"/>
                  <a:gd name="T65" fmla="*/ 419 h 1050"/>
                  <a:gd name="T66" fmla="*/ 473 w 1267"/>
                  <a:gd name="T67" fmla="*/ 407 h 1050"/>
                  <a:gd name="T68" fmla="*/ 466 w 1267"/>
                  <a:gd name="T69" fmla="*/ 388 h 1050"/>
                  <a:gd name="T70" fmla="*/ 454 w 1267"/>
                  <a:gd name="T71" fmla="*/ 369 h 1050"/>
                  <a:gd name="T72" fmla="*/ 506 w 1267"/>
                  <a:gd name="T73" fmla="*/ 291 h 1050"/>
                  <a:gd name="T74" fmla="*/ 619 w 1267"/>
                  <a:gd name="T75" fmla="*/ 154 h 1050"/>
                  <a:gd name="T76" fmla="*/ 742 w 1267"/>
                  <a:gd name="T77" fmla="*/ 123 h 1050"/>
                  <a:gd name="T78" fmla="*/ 851 w 1267"/>
                  <a:gd name="T79" fmla="*/ 147 h 1050"/>
                  <a:gd name="T80" fmla="*/ 882 w 1267"/>
                  <a:gd name="T81" fmla="*/ 256 h 1050"/>
                  <a:gd name="T82" fmla="*/ 894 w 1267"/>
                  <a:gd name="T83" fmla="*/ 331 h 1050"/>
                  <a:gd name="T84" fmla="*/ 905 w 1267"/>
                  <a:gd name="T85" fmla="*/ 393 h 1050"/>
                  <a:gd name="T86" fmla="*/ 929 w 1267"/>
                  <a:gd name="T87" fmla="*/ 393 h 1050"/>
                  <a:gd name="T88" fmla="*/ 955 w 1267"/>
                  <a:gd name="T89" fmla="*/ 501 h 1050"/>
                  <a:gd name="T90" fmla="*/ 468 w 1267"/>
                  <a:gd name="T91" fmla="*/ 345 h 1050"/>
                  <a:gd name="T92" fmla="*/ 473 w 1267"/>
                  <a:gd name="T93" fmla="*/ 338 h 1050"/>
                  <a:gd name="T94" fmla="*/ 456 w 1267"/>
                  <a:gd name="T95" fmla="*/ 407 h 1050"/>
                  <a:gd name="T96" fmla="*/ 99 w 1267"/>
                  <a:gd name="T97" fmla="*/ 693 h 1050"/>
                  <a:gd name="T98" fmla="*/ 85 w 1267"/>
                  <a:gd name="T99" fmla="*/ 688 h 1050"/>
                  <a:gd name="T100" fmla="*/ 1177 w 1267"/>
                  <a:gd name="T101" fmla="*/ 887 h 1050"/>
                  <a:gd name="T102" fmla="*/ 1210 w 1267"/>
                  <a:gd name="T103" fmla="*/ 870 h 1050"/>
                  <a:gd name="T104" fmla="*/ 1267 w 1267"/>
                  <a:gd name="T105" fmla="*/ 847 h 1050"/>
                  <a:gd name="T106" fmla="*/ 1149 w 1267"/>
                  <a:gd name="T107" fmla="*/ 939 h 1050"/>
                  <a:gd name="T108" fmla="*/ 1002 w 1267"/>
                  <a:gd name="T109" fmla="*/ 1017 h 1050"/>
                  <a:gd name="T110" fmla="*/ 983 w 1267"/>
                  <a:gd name="T111" fmla="*/ 1010 h 1050"/>
                  <a:gd name="T112" fmla="*/ 965 w 1267"/>
                  <a:gd name="T113" fmla="*/ 998 h 1050"/>
                  <a:gd name="T114" fmla="*/ 1007 w 1267"/>
                  <a:gd name="T115" fmla="*/ 953 h 1050"/>
                  <a:gd name="T116" fmla="*/ 1040 w 1267"/>
                  <a:gd name="T117" fmla="*/ 932 h 1050"/>
                  <a:gd name="T118" fmla="*/ 1097 w 1267"/>
                  <a:gd name="T119" fmla="*/ 913 h 1050"/>
                  <a:gd name="T120" fmla="*/ 1203 w 1267"/>
                  <a:gd name="T121" fmla="*/ 844 h 1050"/>
                  <a:gd name="T122" fmla="*/ 936 w 1267"/>
                  <a:gd name="T123" fmla="*/ 1029 h 1050"/>
                  <a:gd name="T124" fmla="*/ 948 w 1267"/>
                  <a:gd name="T125" fmla="*/ 1043 h 10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67" h="1050">
                    <a:moveTo>
                      <a:pt x="154" y="0"/>
                    </a:moveTo>
                    <a:lnTo>
                      <a:pt x="154" y="0"/>
                    </a:lnTo>
                    <a:lnTo>
                      <a:pt x="154" y="0"/>
                    </a:lnTo>
                    <a:lnTo>
                      <a:pt x="154" y="0"/>
                    </a:lnTo>
                    <a:close/>
                    <a:moveTo>
                      <a:pt x="969" y="556"/>
                    </a:moveTo>
                    <a:lnTo>
                      <a:pt x="969" y="575"/>
                    </a:lnTo>
                    <a:lnTo>
                      <a:pt x="969" y="594"/>
                    </a:lnTo>
                    <a:lnTo>
                      <a:pt x="969" y="613"/>
                    </a:lnTo>
                    <a:lnTo>
                      <a:pt x="969" y="629"/>
                    </a:lnTo>
                    <a:lnTo>
                      <a:pt x="969" y="648"/>
                    </a:lnTo>
                    <a:lnTo>
                      <a:pt x="967" y="667"/>
                    </a:lnTo>
                    <a:lnTo>
                      <a:pt x="967" y="686"/>
                    </a:lnTo>
                    <a:lnTo>
                      <a:pt x="967" y="705"/>
                    </a:lnTo>
                    <a:lnTo>
                      <a:pt x="972" y="707"/>
                    </a:lnTo>
                    <a:lnTo>
                      <a:pt x="976" y="728"/>
                    </a:lnTo>
                    <a:lnTo>
                      <a:pt x="979" y="747"/>
                    </a:lnTo>
                    <a:lnTo>
                      <a:pt x="983" y="766"/>
                    </a:lnTo>
                    <a:lnTo>
                      <a:pt x="986" y="785"/>
                    </a:lnTo>
                    <a:lnTo>
                      <a:pt x="991" y="807"/>
                    </a:lnTo>
                    <a:lnTo>
                      <a:pt x="995" y="825"/>
                    </a:lnTo>
                    <a:lnTo>
                      <a:pt x="998" y="844"/>
                    </a:lnTo>
                    <a:lnTo>
                      <a:pt x="1002" y="866"/>
                    </a:lnTo>
                    <a:lnTo>
                      <a:pt x="1009" y="873"/>
                    </a:lnTo>
                    <a:lnTo>
                      <a:pt x="1014" y="877"/>
                    </a:lnTo>
                    <a:lnTo>
                      <a:pt x="1009" y="885"/>
                    </a:lnTo>
                    <a:lnTo>
                      <a:pt x="1002" y="892"/>
                    </a:lnTo>
                    <a:lnTo>
                      <a:pt x="995" y="901"/>
                    </a:lnTo>
                    <a:lnTo>
                      <a:pt x="983" y="911"/>
                    </a:lnTo>
                    <a:lnTo>
                      <a:pt x="993" y="920"/>
                    </a:lnTo>
                    <a:lnTo>
                      <a:pt x="1005" y="929"/>
                    </a:lnTo>
                    <a:lnTo>
                      <a:pt x="1000" y="937"/>
                    </a:lnTo>
                    <a:lnTo>
                      <a:pt x="986" y="960"/>
                    </a:lnTo>
                    <a:lnTo>
                      <a:pt x="979" y="972"/>
                    </a:lnTo>
                    <a:lnTo>
                      <a:pt x="969" y="977"/>
                    </a:lnTo>
                    <a:lnTo>
                      <a:pt x="967" y="986"/>
                    </a:lnTo>
                    <a:lnTo>
                      <a:pt x="962" y="993"/>
                    </a:lnTo>
                    <a:lnTo>
                      <a:pt x="962" y="974"/>
                    </a:lnTo>
                    <a:lnTo>
                      <a:pt x="965" y="958"/>
                    </a:lnTo>
                    <a:lnTo>
                      <a:pt x="965" y="927"/>
                    </a:lnTo>
                    <a:lnTo>
                      <a:pt x="955" y="903"/>
                    </a:lnTo>
                    <a:lnTo>
                      <a:pt x="948" y="896"/>
                    </a:lnTo>
                    <a:lnTo>
                      <a:pt x="939" y="892"/>
                    </a:lnTo>
                    <a:lnTo>
                      <a:pt x="953" y="913"/>
                    </a:lnTo>
                    <a:lnTo>
                      <a:pt x="960" y="941"/>
                    </a:lnTo>
                    <a:lnTo>
                      <a:pt x="960" y="941"/>
                    </a:lnTo>
                    <a:lnTo>
                      <a:pt x="943" y="937"/>
                    </a:lnTo>
                    <a:lnTo>
                      <a:pt x="927" y="929"/>
                    </a:lnTo>
                    <a:lnTo>
                      <a:pt x="908" y="925"/>
                    </a:lnTo>
                    <a:lnTo>
                      <a:pt x="891" y="920"/>
                    </a:lnTo>
                    <a:lnTo>
                      <a:pt x="872" y="913"/>
                    </a:lnTo>
                    <a:lnTo>
                      <a:pt x="856" y="908"/>
                    </a:lnTo>
                    <a:lnTo>
                      <a:pt x="839" y="901"/>
                    </a:lnTo>
                    <a:lnTo>
                      <a:pt x="820" y="896"/>
                    </a:lnTo>
                    <a:lnTo>
                      <a:pt x="816" y="889"/>
                    </a:lnTo>
                    <a:lnTo>
                      <a:pt x="809" y="885"/>
                    </a:lnTo>
                    <a:lnTo>
                      <a:pt x="778" y="882"/>
                    </a:lnTo>
                    <a:lnTo>
                      <a:pt x="771" y="875"/>
                    </a:lnTo>
                    <a:lnTo>
                      <a:pt x="761" y="868"/>
                    </a:lnTo>
                    <a:lnTo>
                      <a:pt x="754" y="859"/>
                    </a:lnTo>
                    <a:lnTo>
                      <a:pt x="749" y="847"/>
                    </a:lnTo>
                    <a:lnTo>
                      <a:pt x="747" y="837"/>
                    </a:lnTo>
                    <a:lnTo>
                      <a:pt x="747" y="825"/>
                    </a:lnTo>
                    <a:lnTo>
                      <a:pt x="738" y="821"/>
                    </a:lnTo>
                    <a:lnTo>
                      <a:pt x="738" y="814"/>
                    </a:lnTo>
                    <a:lnTo>
                      <a:pt x="731" y="809"/>
                    </a:lnTo>
                    <a:lnTo>
                      <a:pt x="712" y="807"/>
                    </a:lnTo>
                    <a:lnTo>
                      <a:pt x="705" y="797"/>
                    </a:lnTo>
                    <a:lnTo>
                      <a:pt x="690" y="788"/>
                    </a:lnTo>
                    <a:lnTo>
                      <a:pt x="669" y="792"/>
                    </a:lnTo>
                    <a:lnTo>
                      <a:pt x="648" y="797"/>
                    </a:lnTo>
                    <a:lnTo>
                      <a:pt x="627" y="802"/>
                    </a:lnTo>
                    <a:lnTo>
                      <a:pt x="605" y="807"/>
                    </a:lnTo>
                    <a:lnTo>
                      <a:pt x="584" y="811"/>
                    </a:lnTo>
                    <a:lnTo>
                      <a:pt x="563" y="816"/>
                    </a:lnTo>
                    <a:lnTo>
                      <a:pt x="541" y="821"/>
                    </a:lnTo>
                    <a:lnTo>
                      <a:pt x="520" y="825"/>
                    </a:lnTo>
                    <a:lnTo>
                      <a:pt x="499" y="830"/>
                    </a:lnTo>
                    <a:lnTo>
                      <a:pt x="478" y="835"/>
                    </a:lnTo>
                    <a:lnTo>
                      <a:pt x="456" y="840"/>
                    </a:lnTo>
                    <a:lnTo>
                      <a:pt x="435" y="844"/>
                    </a:lnTo>
                    <a:lnTo>
                      <a:pt x="414" y="849"/>
                    </a:lnTo>
                    <a:lnTo>
                      <a:pt x="393" y="854"/>
                    </a:lnTo>
                    <a:lnTo>
                      <a:pt x="374" y="859"/>
                    </a:lnTo>
                    <a:lnTo>
                      <a:pt x="352" y="861"/>
                    </a:lnTo>
                    <a:lnTo>
                      <a:pt x="331" y="866"/>
                    </a:lnTo>
                    <a:lnTo>
                      <a:pt x="310" y="870"/>
                    </a:lnTo>
                    <a:lnTo>
                      <a:pt x="289" y="875"/>
                    </a:lnTo>
                    <a:lnTo>
                      <a:pt x="267" y="880"/>
                    </a:lnTo>
                    <a:lnTo>
                      <a:pt x="246" y="882"/>
                    </a:lnTo>
                    <a:lnTo>
                      <a:pt x="225" y="887"/>
                    </a:lnTo>
                    <a:lnTo>
                      <a:pt x="203" y="892"/>
                    </a:lnTo>
                    <a:lnTo>
                      <a:pt x="182" y="896"/>
                    </a:lnTo>
                    <a:lnTo>
                      <a:pt x="161" y="899"/>
                    </a:lnTo>
                    <a:lnTo>
                      <a:pt x="140" y="903"/>
                    </a:lnTo>
                    <a:lnTo>
                      <a:pt x="118" y="908"/>
                    </a:lnTo>
                    <a:lnTo>
                      <a:pt x="97" y="913"/>
                    </a:lnTo>
                    <a:lnTo>
                      <a:pt x="76" y="915"/>
                    </a:lnTo>
                    <a:lnTo>
                      <a:pt x="55" y="920"/>
                    </a:lnTo>
                    <a:lnTo>
                      <a:pt x="33" y="922"/>
                    </a:lnTo>
                    <a:lnTo>
                      <a:pt x="12" y="927"/>
                    </a:lnTo>
                    <a:lnTo>
                      <a:pt x="7" y="899"/>
                    </a:lnTo>
                    <a:lnTo>
                      <a:pt x="0" y="873"/>
                    </a:lnTo>
                    <a:lnTo>
                      <a:pt x="0" y="870"/>
                    </a:lnTo>
                    <a:lnTo>
                      <a:pt x="10" y="863"/>
                    </a:lnTo>
                    <a:lnTo>
                      <a:pt x="36" y="840"/>
                    </a:lnTo>
                    <a:lnTo>
                      <a:pt x="47" y="823"/>
                    </a:lnTo>
                    <a:lnTo>
                      <a:pt x="62" y="809"/>
                    </a:lnTo>
                    <a:lnTo>
                      <a:pt x="76" y="797"/>
                    </a:lnTo>
                    <a:lnTo>
                      <a:pt x="85" y="783"/>
                    </a:lnTo>
                    <a:lnTo>
                      <a:pt x="92" y="766"/>
                    </a:lnTo>
                    <a:lnTo>
                      <a:pt x="102" y="754"/>
                    </a:lnTo>
                    <a:lnTo>
                      <a:pt x="111" y="745"/>
                    </a:lnTo>
                    <a:lnTo>
                      <a:pt x="116" y="738"/>
                    </a:lnTo>
                    <a:lnTo>
                      <a:pt x="116" y="728"/>
                    </a:lnTo>
                    <a:lnTo>
                      <a:pt x="111" y="719"/>
                    </a:lnTo>
                    <a:lnTo>
                      <a:pt x="104" y="707"/>
                    </a:lnTo>
                    <a:lnTo>
                      <a:pt x="102" y="698"/>
                    </a:lnTo>
                    <a:lnTo>
                      <a:pt x="104" y="688"/>
                    </a:lnTo>
                    <a:lnTo>
                      <a:pt x="104" y="684"/>
                    </a:lnTo>
                    <a:lnTo>
                      <a:pt x="102" y="681"/>
                    </a:lnTo>
                    <a:lnTo>
                      <a:pt x="76" y="679"/>
                    </a:lnTo>
                    <a:lnTo>
                      <a:pt x="71" y="643"/>
                    </a:lnTo>
                    <a:lnTo>
                      <a:pt x="69" y="641"/>
                    </a:lnTo>
                    <a:lnTo>
                      <a:pt x="71" y="641"/>
                    </a:lnTo>
                    <a:lnTo>
                      <a:pt x="123" y="615"/>
                    </a:lnTo>
                    <a:lnTo>
                      <a:pt x="156" y="603"/>
                    </a:lnTo>
                    <a:lnTo>
                      <a:pt x="199" y="594"/>
                    </a:lnTo>
                    <a:lnTo>
                      <a:pt x="251" y="591"/>
                    </a:lnTo>
                    <a:lnTo>
                      <a:pt x="272" y="594"/>
                    </a:lnTo>
                    <a:lnTo>
                      <a:pt x="286" y="601"/>
                    </a:lnTo>
                    <a:lnTo>
                      <a:pt x="303" y="598"/>
                    </a:lnTo>
                    <a:lnTo>
                      <a:pt x="317" y="591"/>
                    </a:lnTo>
                    <a:lnTo>
                      <a:pt x="341" y="587"/>
                    </a:lnTo>
                    <a:lnTo>
                      <a:pt x="369" y="582"/>
                    </a:lnTo>
                    <a:lnTo>
                      <a:pt x="385" y="580"/>
                    </a:lnTo>
                    <a:lnTo>
                      <a:pt x="388" y="582"/>
                    </a:lnTo>
                    <a:lnTo>
                      <a:pt x="390" y="582"/>
                    </a:lnTo>
                    <a:lnTo>
                      <a:pt x="390" y="577"/>
                    </a:lnTo>
                    <a:lnTo>
                      <a:pt x="397" y="570"/>
                    </a:lnTo>
                    <a:lnTo>
                      <a:pt x="416" y="558"/>
                    </a:lnTo>
                    <a:lnTo>
                      <a:pt x="421" y="558"/>
                    </a:lnTo>
                    <a:lnTo>
                      <a:pt x="423" y="553"/>
                    </a:lnTo>
                    <a:lnTo>
                      <a:pt x="428" y="544"/>
                    </a:lnTo>
                    <a:lnTo>
                      <a:pt x="437" y="530"/>
                    </a:lnTo>
                    <a:lnTo>
                      <a:pt x="449" y="516"/>
                    </a:lnTo>
                    <a:lnTo>
                      <a:pt x="463" y="509"/>
                    </a:lnTo>
                    <a:lnTo>
                      <a:pt x="475" y="504"/>
                    </a:lnTo>
                    <a:lnTo>
                      <a:pt x="485" y="499"/>
                    </a:lnTo>
                    <a:lnTo>
                      <a:pt x="487" y="494"/>
                    </a:lnTo>
                    <a:lnTo>
                      <a:pt x="487" y="490"/>
                    </a:lnTo>
                    <a:lnTo>
                      <a:pt x="485" y="485"/>
                    </a:lnTo>
                    <a:lnTo>
                      <a:pt x="485" y="480"/>
                    </a:lnTo>
                    <a:lnTo>
                      <a:pt x="485" y="478"/>
                    </a:lnTo>
                    <a:lnTo>
                      <a:pt x="485" y="478"/>
                    </a:lnTo>
                    <a:lnTo>
                      <a:pt x="482" y="473"/>
                    </a:lnTo>
                    <a:lnTo>
                      <a:pt x="478" y="457"/>
                    </a:lnTo>
                    <a:lnTo>
                      <a:pt x="473" y="449"/>
                    </a:lnTo>
                    <a:lnTo>
                      <a:pt x="468" y="442"/>
                    </a:lnTo>
                    <a:lnTo>
                      <a:pt x="463" y="440"/>
                    </a:lnTo>
                    <a:lnTo>
                      <a:pt x="461" y="435"/>
                    </a:lnTo>
                    <a:lnTo>
                      <a:pt x="468" y="428"/>
                    </a:lnTo>
                    <a:lnTo>
                      <a:pt x="468" y="433"/>
                    </a:lnTo>
                    <a:lnTo>
                      <a:pt x="471" y="435"/>
                    </a:lnTo>
                    <a:lnTo>
                      <a:pt x="475" y="431"/>
                    </a:lnTo>
                    <a:lnTo>
                      <a:pt x="480" y="419"/>
                    </a:lnTo>
                    <a:lnTo>
                      <a:pt x="480" y="414"/>
                    </a:lnTo>
                    <a:lnTo>
                      <a:pt x="485" y="409"/>
                    </a:lnTo>
                    <a:lnTo>
                      <a:pt x="487" y="402"/>
                    </a:lnTo>
                    <a:lnTo>
                      <a:pt x="482" y="402"/>
                    </a:lnTo>
                    <a:lnTo>
                      <a:pt x="473" y="407"/>
                    </a:lnTo>
                    <a:lnTo>
                      <a:pt x="471" y="405"/>
                    </a:lnTo>
                    <a:lnTo>
                      <a:pt x="473" y="395"/>
                    </a:lnTo>
                    <a:lnTo>
                      <a:pt x="471" y="390"/>
                    </a:lnTo>
                    <a:lnTo>
                      <a:pt x="468" y="388"/>
                    </a:lnTo>
                    <a:lnTo>
                      <a:pt x="466" y="388"/>
                    </a:lnTo>
                    <a:lnTo>
                      <a:pt x="454" y="400"/>
                    </a:lnTo>
                    <a:lnTo>
                      <a:pt x="452" y="400"/>
                    </a:lnTo>
                    <a:lnTo>
                      <a:pt x="449" y="397"/>
                    </a:lnTo>
                    <a:lnTo>
                      <a:pt x="442" y="388"/>
                    </a:lnTo>
                    <a:lnTo>
                      <a:pt x="454" y="369"/>
                    </a:lnTo>
                    <a:lnTo>
                      <a:pt x="506" y="312"/>
                    </a:lnTo>
                    <a:lnTo>
                      <a:pt x="511" y="303"/>
                    </a:lnTo>
                    <a:lnTo>
                      <a:pt x="511" y="298"/>
                    </a:lnTo>
                    <a:lnTo>
                      <a:pt x="508" y="291"/>
                    </a:lnTo>
                    <a:lnTo>
                      <a:pt x="506" y="291"/>
                    </a:lnTo>
                    <a:lnTo>
                      <a:pt x="506" y="289"/>
                    </a:lnTo>
                    <a:lnTo>
                      <a:pt x="551" y="220"/>
                    </a:lnTo>
                    <a:lnTo>
                      <a:pt x="577" y="187"/>
                    </a:lnTo>
                    <a:lnTo>
                      <a:pt x="601" y="166"/>
                    </a:lnTo>
                    <a:lnTo>
                      <a:pt x="619" y="154"/>
                    </a:lnTo>
                    <a:lnTo>
                      <a:pt x="634" y="152"/>
                    </a:lnTo>
                    <a:lnTo>
                      <a:pt x="641" y="149"/>
                    </a:lnTo>
                    <a:lnTo>
                      <a:pt x="648" y="147"/>
                    </a:lnTo>
                    <a:lnTo>
                      <a:pt x="681" y="137"/>
                    </a:lnTo>
                    <a:lnTo>
                      <a:pt x="742" y="123"/>
                    </a:lnTo>
                    <a:lnTo>
                      <a:pt x="804" y="109"/>
                    </a:lnTo>
                    <a:lnTo>
                      <a:pt x="839" y="100"/>
                    </a:lnTo>
                    <a:lnTo>
                      <a:pt x="844" y="114"/>
                    </a:lnTo>
                    <a:lnTo>
                      <a:pt x="844" y="130"/>
                    </a:lnTo>
                    <a:lnTo>
                      <a:pt x="851" y="147"/>
                    </a:lnTo>
                    <a:lnTo>
                      <a:pt x="856" y="185"/>
                    </a:lnTo>
                    <a:lnTo>
                      <a:pt x="872" y="211"/>
                    </a:lnTo>
                    <a:lnTo>
                      <a:pt x="877" y="230"/>
                    </a:lnTo>
                    <a:lnTo>
                      <a:pt x="882" y="248"/>
                    </a:lnTo>
                    <a:lnTo>
                      <a:pt x="882" y="256"/>
                    </a:lnTo>
                    <a:lnTo>
                      <a:pt x="877" y="267"/>
                    </a:lnTo>
                    <a:lnTo>
                      <a:pt x="875" y="282"/>
                    </a:lnTo>
                    <a:lnTo>
                      <a:pt x="877" y="293"/>
                    </a:lnTo>
                    <a:lnTo>
                      <a:pt x="877" y="300"/>
                    </a:lnTo>
                    <a:lnTo>
                      <a:pt x="894" y="331"/>
                    </a:lnTo>
                    <a:lnTo>
                      <a:pt x="898" y="345"/>
                    </a:lnTo>
                    <a:lnTo>
                      <a:pt x="901" y="355"/>
                    </a:lnTo>
                    <a:lnTo>
                      <a:pt x="901" y="383"/>
                    </a:lnTo>
                    <a:lnTo>
                      <a:pt x="903" y="393"/>
                    </a:lnTo>
                    <a:lnTo>
                      <a:pt x="905" y="393"/>
                    </a:lnTo>
                    <a:lnTo>
                      <a:pt x="908" y="393"/>
                    </a:lnTo>
                    <a:lnTo>
                      <a:pt x="910" y="383"/>
                    </a:lnTo>
                    <a:lnTo>
                      <a:pt x="913" y="381"/>
                    </a:lnTo>
                    <a:lnTo>
                      <a:pt x="917" y="383"/>
                    </a:lnTo>
                    <a:lnTo>
                      <a:pt x="929" y="393"/>
                    </a:lnTo>
                    <a:lnTo>
                      <a:pt x="936" y="416"/>
                    </a:lnTo>
                    <a:lnTo>
                      <a:pt x="939" y="433"/>
                    </a:lnTo>
                    <a:lnTo>
                      <a:pt x="943" y="452"/>
                    </a:lnTo>
                    <a:lnTo>
                      <a:pt x="950" y="480"/>
                    </a:lnTo>
                    <a:lnTo>
                      <a:pt x="955" y="501"/>
                    </a:lnTo>
                    <a:lnTo>
                      <a:pt x="960" y="520"/>
                    </a:lnTo>
                    <a:lnTo>
                      <a:pt x="962" y="535"/>
                    </a:lnTo>
                    <a:lnTo>
                      <a:pt x="965" y="544"/>
                    </a:lnTo>
                    <a:lnTo>
                      <a:pt x="969" y="556"/>
                    </a:lnTo>
                    <a:close/>
                    <a:moveTo>
                      <a:pt x="468" y="345"/>
                    </a:moveTo>
                    <a:lnTo>
                      <a:pt x="466" y="348"/>
                    </a:lnTo>
                    <a:lnTo>
                      <a:pt x="463" y="345"/>
                    </a:lnTo>
                    <a:lnTo>
                      <a:pt x="463" y="343"/>
                    </a:lnTo>
                    <a:lnTo>
                      <a:pt x="466" y="341"/>
                    </a:lnTo>
                    <a:lnTo>
                      <a:pt x="473" y="338"/>
                    </a:lnTo>
                    <a:lnTo>
                      <a:pt x="473" y="341"/>
                    </a:lnTo>
                    <a:lnTo>
                      <a:pt x="468" y="345"/>
                    </a:lnTo>
                    <a:close/>
                    <a:moveTo>
                      <a:pt x="459" y="409"/>
                    </a:moveTo>
                    <a:lnTo>
                      <a:pt x="459" y="412"/>
                    </a:lnTo>
                    <a:lnTo>
                      <a:pt x="456" y="407"/>
                    </a:lnTo>
                    <a:lnTo>
                      <a:pt x="459" y="405"/>
                    </a:lnTo>
                    <a:lnTo>
                      <a:pt x="463" y="402"/>
                    </a:lnTo>
                    <a:lnTo>
                      <a:pt x="463" y="405"/>
                    </a:lnTo>
                    <a:lnTo>
                      <a:pt x="459" y="409"/>
                    </a:lnTo>
                    <a:close/>
                    <a:moveTo>
                      <a:pt x="99" y="693"/>
                    </a:moveTo>
                    <a:lnTo>
                      <a:pt x="97" y="700"/>
                    </a:lnTo>
                    <a:lnTo>
                      <a:pt x="92" y="700"/>
                    </a:lnTo>
                    <a:lnTo>
                      <a:pt x="88" y="700"/>
                    </a:lnTo>
                    <a:lnTo>
                      <a:pt x="85" y="695"/>
                    </a:lnTo>
                    <a:lnTo>
                      <a:pt x="85" y="688"/>
                    </a:lnTo>
                    <a:lnTo>
                      <a:pt x="90" y="686"/>
                    </a:lnTo>
                    <a:lnTo>
                      <a:pt x="99" y="686"/>
                    </a:lnTo>
                    <a:lnTo>
                      <a:pt x="102" y="688"/>
                    </a:lnTo>
                    <a:lnTo>
                      <a:pt x="99" y="693"/>
                    </a:lnTo>
                    <a:close/>
                    <a:moveTo>
                      <a:pt x="1177" y="887"/>
                    </a:moveTo>
                    <a:lnTo>
                      <a:pt x="1170" y="903"/>
                    </a:lnTo>
                    <a:lnTo>
                      <a:pt x="1180" y="901"/>
                    </a:lnTo>
                    <a:lnTo>
                      <a:pt x="1187" y="896"/>
                    </a:lnTo>
                    <a:lnTo>
                      <a:pt x="1194" y="887"/>
                    </a:lnTo>
                    <a:lnTo>
                      <a:pt x="1210" y="870"/>
                    </a:lnTo>
                    <a:lnTo>
                      <a:pt x="1225" y="861"/>
                    </a:lnTo>
                    <a:lnTo>
                      <a:pt x="1229" y="859"/>
                    </a:lnTo>
                    <a:lnTo>
                      <a:pt x="1239" y="866"/>
                    </a:lnTo>
                    <a:lnTo>
                      <a:pt x="1253" y="854"/>
                    </a:lnTo>
                    <a:lnTo>
                      <a:pt x="1267" y="847"/>
                    </a:lnTo>
                    <a:lnTo>
                      <a:pt x="1208" y="899"/>
                    </a:lnTo>
                    <a:lnTo>
                      <a:pt x="1196" y="906"/>
                    </a:lnTo>
                    <a:lnTo>
                      <a:pt x="1180" y="922"/>
                    </a:lnTo>
                    <a:lnTo>
                      <a:pt x="1161" y="934"/>
                    </a:lnTo>
                    <a:lnTo>
                      <a:pt x="1149" y="939"/>
                    </a:lnTo>
                    <a:lnTo>
                      <a:pt x="1090" y="981"/>
                    </a:lnTo>
                    <a:lnTo>
                      <a:pt x="1083" y="984"/>
                    </a:lnTo>
                    <a:lnTo>
                      <a:pt x="1078" y="984"/>
                    </a:lnTo>
                    <a:lnTo>
                      <a:pt x="1026" y="1010"/>
                    </a:lnTo>
                    <a:lnTo>
                      <a:pt x="1002" y="1017"/>
                    </a:lnTo>
                    <a:lnTo>
                      <a:pt x="983" y="1026"/>
                    </a:lnTo>
                    <a:lnTo>
                      <a:pt x="995" y="1012"/>
                    </a:lnTo>
                    <a:lnTo>
                      <a:pt x="995" y="1010"/>
                    </a:lnTo>
                    <a:lnTo>
                      <a:pt x="991" y="1007"/>
                    </a:lnTo>
                    <a:lnTo>
                      <a:pt x="983" y="1010"/>
                    </a:lnTo>
                    <a:lnTo>
                      <a:pt x="976" y="1022"/>
                    </a:lnTo>
                    <a:lnTo>
                      <a:pt x="965" y="1029"/>
                    </a:lnTo>
                    <a:lnTo>
                      <a:pt x="960" y="1019"/>
                    </a:lnTo>
                    <a:lnTo>
                      <a:pt x="962" y="1007"/>
                    </a:lnTo>
                    <a:lnTo>
                      <a:pt x="965" y="998"/>
                    </a:lnTo>
                    <a:lnTo>
                      <a:pt x="976" y="981"/>
                    </a:lnTo>
                    <a:lnTo>
                      <a:pt x="993" y="967"/>
                    </a:lnTo>
                    <a:lnTo>
                      <a:pt x="1000" y="958"/>
                    </a:lnTo>
                    <a:lnTo>
                      <a:pt x="1007" y="963"/>
                    </a:lnTo>
                    <a:lnTo>
                      <a:pt x="1007" y="953"/>
                    </a:lnTo>
                    <a:lnTo>
                      <a:pt x="1012" y="948"/>
                    </a:lnTo>
                    <a:lnTo>
                      <a:pt x="1017" y="944"/>
                    </a:lnTo>
                    <a:lnTo>
                      <a:pt x="1028" y="939"/>
                    </a:lnTo>
                    <a:lnTo>
                      <a:pt x="1036" y="937"/>
                    </a:lnTo>
                    <a:lnTo>
                      <a:pt x="1040" y="932"/>
                    </a:lnTo>
                    <a:lnTo>
                      <a:pt x="1045" y="929"/>
                    </a:lnTo>
                    <a:lnTo>
                      <a:pt x="1062" y="932"/>
                    </a:lnTo>
                    <a:lnTo>
                      <a:pt x="1076" y="927"/>
                    </a:lnTo>
                    <a:lnTo>
                      <a:pt x="1085" y="918"/>
                    </a:lnTo>
                    <a:lnTo>
                      <a:pt x="1097" y="913"/>
                    </a:lnTo>
                    <a:lnTo>
                      <a:pt x="1128" y="903"/>
                    </a:lnTo>
                    <a:lnTo>
                      <a:pt x="1158" y="892"/>
                    </a:lnTo>
                    <a:lnTo>
                      <a:pt x="1170" y="880"/>
                    </a:lnTo>
                    <a:lnTo>
                      <a:pt x="1192" y="854"/>
                    </a:lnTo>
                    <a:lnTo>
                      <a:pt x="1203" y="844"/>
                    </a:lnTo>
                    <a:lnTo>
                      <a:pt x="1187" y="873"/>
                    </a:lnTo>
                    <a:lnTo>
                      <a:pt x="1177" y="887"/>
                    </a:lnTo>
                    <a:close/>
                    <a:moveTo>
                      <a:pt x="941" y="1048"/>
                    </a:moveTo>
                    <a:lnTo>
                      <a:pt x="934" y="1050"/>
                    </a:lnTo>
                    <a:lnTo>
                      <a:pt x="936" y="1029"/>
                    </a:lnTo>
                    <a:lnTo>
                      <a:pt x="948" y="1017"/>
                    </a:lnTo>
                    <a:lnTo>
                      <a:pt x="953" y="1017"/>
                    </a:lnTo>
                    <a:lnTo>
                      <a:pt x="955" y="1024"/>
                    </a:lnTo>
                    <a:lnTo>
                      <a:pt x="955" y="1031"/>
                    </a:lnTo>
                    <a:lnTo>
                      <a:pt x="948" y="1043"/>
                    </a:lnTo>
                    <a:lnTo>
                      <a:pt x="941" y="104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39" name="Freeform 77">
                <a:extLst>
                  <a:ext uri="{FF2B5EF4-FFF2-40B4-BE49-F238E27FC236}">
                    <a16:creationId xmlns:a16="http://schemas.microsoft.com/office/drawing/2014/main" id="{ED17603E-1C7D-0AF4-02D6-9D90D3451A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0" y="485"/>
                <a:ext cx="706" cy="792"/>
              </a:xfrm>
              <a:custGeom>
                <a:avLst/>
                <a:gdLst>
                  <a:gd name="T0" fmla="*/ 688 w 706"/>
                  <a:gd name="T1" fmla="*/ 300 h 792"/>
                  <a:gd name="T2" fmla="*/ 702 w 706"/>
                  <a:gd name="T3" fmla="*/ 340 h 792"/>
                  <a:gd name="T4" fmla="*/ 680 w 706"/>
                  <a:gd name="T5" fmla="*/ 477 h 792"/>
                  <a:gd name="T6" fmla="*/ 647 w 706"/>
                  <a:gd name="T7" fmla="*/ 541 h 792"/>
                  <a:gd name="T8" fmla="*/ 610 w 706"/>
                  <a:gd name="T9" fmla="*/ 567 h 792"/>
                  <a:gd name="T10" fmla="*/ 586 w 706"/>
                  <a:gd name="T11" fmla="*/ 584 h 792"/>
                  <a:gd name="T12" fmla="*/ 565 w 706"/>
                  <a:gd name="T13" fmla="*/ 603 h 792"/>
                  <a:gd name="T14" fmla="*/ 553 w 706"/>
                  <a:gd name="T15" fmla="*/ 636 h 792"/>
                  <a:gd name="T16" fmla="*/ 562 w 706"/>
                  <a:gd name="T17" fmla="*/ 664 h 792"/>
                  <a:gd name="T18" fmla="*/ 553 w 706"/>
                  <a:gd name="T19" fmla="*/ 669 h 792"/>
                  <a:gd name="T20" fmla="*/ 543 w 706"/>
                  <a:gd name="T21" fmla="*/ 676 h 792"/>
                  <a:gd name="T22" fmla="*/ 524 w 706"/>
                  <a:gd name="T23" fmla="*/ 657 h 792"/>
                  <a:gd name="T24" fmla="*/ 498 w 706"/>
                  <a:gd name="T25" fmla="*/ 711 h 792"/>
                  <a:gd name="T26" fmla="*/ 503 w 706"/>
                  <a:gd name="T27" fmla="*/ 745 h 792"/>
                  <a:gd name="T28" fmla="*/ 489 w 706"/>
                  <a:gd name="T29" fmla="*/ 775 h 792"/>
                  <a:gd name="T30" fmla="*/ 442 w 706"/>
                  <a:gd name="T31" fmla="*/ 789 h 792"/>
                  <a:gd name="T32" fmla="*/ 399 w 706"/>
                  <a:gd name="T33" fmla="*/ 756 h 792"/>
                  <a:gd name="T34" fmla="*/ 340 w 706"/>
                  <a:gd name="T35" fmla="*/ 763 h 792"/>
                  <a:gd name="T36" fmla="*/ 283 w 706"/>
                  <a:gd name="T37" fmla="*/ 759 h 792"/>
                  <a:gd name="T38" fmla="*/ 250 w 706"/>
                  <a:gd name="T39" fmla="*/ 768 h 792"/>
                  <a:gd name="T40" fmla="*/ 186 w 706"/>
                  <a:gd name="T41" fmla="*/ 749 h 792"/>
                  <a:gd name="T42" fmla="*/ 141 w 706"/>
                  <a:gd name="T43" fmla="*/ 702 h 792"/>
                  <a:gd name="T44" fmla="*/ 101 w 706"/>
                  <a:gd name="T45" fmla="*/ 700 h 792"/>
                  <a:gd name="T46" fmla="*/ 73 w 706"/>
                  <a:gd name="T47" fmla="*/ 695 h 792"/>
                  <a:gd name="T48" fmla="*/ 47 w 706"/>
                  <a:gd name="T49" fmla="*/ 567 h 792"/>
                  <a:gd name="T50" fmla="*/ 23 w 706"/>
                  <a:gd name="T51" fmla="*/ 362 h 792"/>
                  <a:gd name="T52" fmla="*/ 0 w 706"/>
                  <a:gd name="T53" fmla="*/ 158 h 792"/>
                  <a:gd name="T54" fmla="*/ 156 w 706"/>
                  <a:gd name="T55" fmla="*/ 132 h 792"/>
                  <a:gd name="T56" fmla="*/ 210 w 706"/>
                  <a:gd name="T57" fmla="*/ 123 h 792"/>
                  <a:gd name="T58" fmla="*/ 236 w 706"/>
                  <a:gd name="T59" fmla="*/ 130 h 792"/>
                  <a:gd name="T60" fmla="*/ 283 w 706"/>
                  <a:gd name="T61" fmla="*/ 151 h 792"/>
                  <a:gd name="T62" fmla="*/ 305 w 706"/>
                  <a:gd name="T63" fmla="*/ 149 h 792"/>
                  <a:gd name="T64" fmla="*/ 316 w 706"/>
                  <a:gd name="T65" fmla="*/ 146 h 792"/>
                  <a:gd name="T66" fmla="*/ 293 w 706"/>
                  <a:gd name="T67" fmla="*/ 168 h 792"/>
                  <a:gd name="T68" fmla="*/ 307 w 706"/>
                  <a:gd name="T69" fmla="*/ 172 h 792"/>
                  <a:gd name="T70" fmla="*/ 340 w 706"/>
                  <a:gd name="T71" fmla="*/ 165 h 792"/>
                  <a:gd name="T72" fmla="*/ 364 w 706"/>
                  <a:gd name="T73" fmla="*/ 170 h 792"/>
                  <a:gd name="T74" fmla="*/ 385 w 706"/>
                  <a:gd name="T75" fmla="*/ 163 h 792"/>
                  <a:gd name="T76" fmla="*/ 449 w 706"/>
                  <a:gd name="T77" fmla="*/ 137 h 792"/>
                  <a:gd name="T78" fmla="*/ 498 w 706"/>
                  <a:gd name="T79" fmla="*/ 120 h 792"/>
                  <a:gd name="T80" fmla="*/ 607 w 706"/>
                  <a:gd name="T81" fmla="*/ 28 h 792"/>
                  <a:gd name="T82" fmla="*/ 664 w 706"/>
                  <a:gd name="T83" fmla="*/ 40 h 792"/>
                  <a:gd name="T84" fmla="*/ 676 w 706"/>
                  <a:gd name="T85" fmla="*/ 104 h 792"/>
                  <a:gd name="T86" fmla="*/ 688 w 706"/>
                  <a:gd name="T87" fmla="*/ 170 h 792"/>
                  <a:gd name="T88" fmla="*/ 697 w 706"/>
                  <a:gd name="T89" fmla="*/ 234 h 7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06" h="792">
                    <a:moveTo>
                      <a:pt x="706" y="279"/>
                    </a:moveTo>
                    <a:lnTo>
                      <a:pt x="688" y="291"/>
                    </a:lnTo>
                    <a:lnTo>
                      <a:pt x="688" y="300"/>
                    </a:lnTo>
                    <a:lnTo>
                      <a:pt x="695" y="309"/>
                    </a:lnTo>
                    <a:lnTo>
                      <a:pt x="699" y="321"/>
                    </a:lnTo>
                    <a:lnTo>
                      <a:pt x="702" y="340"/>
                    </a:lnTo>
                    <a:lnTo>
                      <a:pt x="699" y="378"/>
                    </a:lnTo>
                    <a:lnTo>
                      <a:pt x="688" y="440"/>
                    </a:lnTo>
                    <a:lnTo>
                      <a:pt x="680" y="477"/>
                    </a:lnTo>
                    <a:lnTo>
                      <a:pt x="683" y="492"/>
                    </a:lnTo>
                    <a:lnTo>
                      <a:pt x="673" y="513"/>
                    </a:lnTo>
                    <a:lnTo>
                      <a:pt x="647" y="541"/>
                    </a:lnTo>
                    <a:lnTo>
                      <a:pt x="631" y="560"/>
                    </a:lnTo>
                    <a:lnTo>
                      <a:pt x="621" y="567"/>
                    </a:lnTo>
                    <a:lnTo>
                      <a:pt x="610" y="567"/>
                    </a:lnTo>
                    <a:lnTo>
                      <a:pt x="602" y="562"/>
                    </a:lnTo>
                    <a:lnTo>
                      <a:pt x="595" y="567"/>
                    </a:lnTo>
                    <a:lnTo>
                      <a:pt x="586" y="584"/>
                    </a:lnTo>
                    <a:lnTo>
                      <a:pt x="579" y="591"/>
                    </a:lnTo>
                    <a:lnTo>
                      <a:pt x="572" y="593"/>
                    </a:lnTo>
                    <a:lnTo>
                      <a:pt x="565" y="603"/>
                    </a:lnTo>
                    <a:lnTo>
                      <a:pt x="562" y="622"/>
                    </a:lnTo>
                    <a:lnTo>
                      <a:pt x="558" y="633"/>
                    </a:lnTo>
                    <a:lnTo>
                      <a:pt x="553" y="636"/>
                    </a:lnTo>
                    <a:lnTo>
                      <a:pt x="555" y="645"/>
                    </a:lnTo>
                    <a:lnTo>
                      <a:pt x="562" y="659"/>
                    </a:lnTo>
                    <a:lnTo>
                      <a:pt x="562" y="664"/>
                    </a:lnTo>
                    <a:lnTo>
                      <a:pt x="560" y="664"/>
                    </a:lnTo>
                    <a:lnTo>
                      <a:pt x="558" y="664"/>
                    </a:lnTo>
                    <a:lnTo>
                      <a:pt x="553" y="669"/>
                    </a:lnTo>
                    <a:lnTo>
                      <a:pt x="548" y="678"/>
                    </a:lnTo>
                    <a:lnTo>
                      <a:pt x="546" y="678"/>
                    </a:lnTo>
                    <a:lnTo>
                      <a:pt x="543" y="676"/>
                    </a:lnTo>
                    <a:lnTo>
                      <a:pt x="539" y="667"/>
                    </a:lnTo>
                    <a:lnTo>
                      <a:pt x="534" y="659"/>
                    </a:lnTo>
                    <a:lnTo>
                      <a:pt x="524" y="657"/>
                    </a:lnTo>
                    <a:lnTo>
                      <a:pt x="515" y="669"/>
                    </a:lnTo>
                    <a:lnTo>
                      <a:pt x="503" y="695"/>
                    </a:lnTo>
                    <a:lnTo>
                      <a:pt x="498" y="711"/>
                    </a:lnTo>
                    <a:lnTo>
                      <a:pt x="503" y="723"/>
                    </a:lnTo>
                    <a:lnTo>
                      <a:pt x="508" y="737"/>
                    </a:lnTo>
                    <a:lnTo>
                      <a:pt x="503" y="745"/>
                    </a:lnTo>
                    <a:lnTo>
                      <a:pt x="496" y="749"/>
                    </a:lnTo>
                    <a:lnTo>
                      <a:pt x="491" y="759"/>
                    </a:lnTo>
                    <a:lnTo>
                      <a:pt x="489" y="775"/>
                    </a:lnTo>
                    <a:lnTo>
                      <a:pt x="480" y="787"/>
                    </a:lnTo>
                    <a:lnTo>
                      <a:pt x="463" y="792"/>
                    </a:lnTo>
                    <a:lnTo>
                      <a:pt x="442" y="789"/>
                    </a:lnTo>
                    <a:lnTo>
                      <a:pt x="442" y="787"/>
                    </a:lnTo>
                    <a:lnTo>
                      <a:pt x="416" y="773"/>
                    </a:lnTo>
                    <a:lnTo>
                      <a:pt x="399" y="756"/>
                    </a:lnTo>
                    <a:lnTo>
                      <a:pt x="390" y="740"/>
                    </a:lnTo>
                    <a:lnTo>
                      <a:pt x="371" y="742"/>
                    </a:lnTo>
                    <a:lnTo>
                      <a:pt x="340" y="763"/>
                    </a:lnTo>
                    <a:lnTo>
                      <a:pt x="316" y="768"/>
                    </a:lnTo>
                    <a:lnTo>
                      <a:pt x="297" y="761"/>
                    </a:lnTo>
                    <a:lnTo>
                      <a:pt x="283" y="759"/>
                    </a:lnTo>
                    <a:lnTo>
                      <a:pt x="271" y="763"/>
                    </a:lnTo>
                    <a:lnTo>
                      <a:pt x="260" y="771"/>
                    </a:lnTo>
                    <a:lnTo>
                      <a:pt x="250" y="768"/>
                    </a:lnTo>
                    <a:lnTo>
                      <a:pt x="236" y="759"/>
                    </a:lnTo>
                    <a:lnTo>
                      <a:pt x="215" y="752"/>
                    </a:lnTo>
                    <a:lnTo>
                      <a:pt x="186" y="749"/>
                    </a:lnTo>
                    <a:lnTo>
                      <a:pt x="167" y="737"/>
                    </a:lnTo>
                    <a:lnTo>
                      <a:pt x="153" y="716"/>
                    </a:lnTo>
                    <a:lnTo>
                      <a:pt x="141" y="702"/>
                    </a:lnTo>
                    <a:lnTo>
                      <a:pt x="127" y="695"/>
                    </a:lnTo>
                    <a:lnTo>
                      <a:pt x="115" y="695"/>
                    </a:lnTo>
                    <a:lnTo>
                      <a:pt x="101" y="700"/>
                    </a:lnTo>
                    <a:lnTo>
                      <a:pt x="89" y="700"/>
                    </a:lnTo>
                    <a:lnTo>
                      <a:pt x="82" y="693"/>
                    </a:lnTo>
                    <a:lnTo>
                      <a:pt x="73" y="695"/>
                    </a:lnTo>
                    <a:lnTo>
                      <a:pt x="63" y="704"/>
                    </a:lnTo>
                    <a:lnTo>
                      <a:pt x="56" y="633"/>
                    </a:lnTo>
                    <a:lnTo>
                      <a:pt x="47" y="567"/>
                    </a:lnTo>
                    <a:lnTo>
                      <a:pt x="40" y="499"/>
                    </a:lnTo>
                    <a:lnTo>
                      <a:pt x="33" y="430"/>
                    </a:lnTo>
                    <a:lnTo>
                      <a:pt x="23" y="362"/>
                    </a:lnTo>
                    <a:lnTo>
                      <a:pt x="16" y="295"/>
                    </a:lnTo>
                    <a:lnTo>
                      <a:pt x="9" y="227"/>
                    </a:lnTo>
                    <a:lnTo>
                      <a:pt x="0" y="158"/>
                    </a:lnTo>
                    <a:lnTo>
                      <a:pt x="52" y="149"/>
                    </a:lnTo>
                    <a:lnTo>
                      <a:pt x="104" y="142"/>
                    </a:lnTo>
                    <a:lnTo>
                      <a:pt x="156" y="132"/>
                    </a:lnTo>
                    <a:lnTo>
                      <a:pt x="208" y="123"/>
                    </a:lnTo>
                    <a:lnTo>
                      <a:pt x="210" y="123"/>
                    </a:lnTo>
                    <a:lnTo>
                      <a:pt x="210" y="123"/>
                    </a:lnTo>
                    <a:lnTo>
                      <a:pt x="212" y="125"/>
                    </a:lnTo>
                    <a:lnTo>
                      <a:pt x="227" y="125"/>
                    </a:lnTo>
                    <a:lnTo>
                      <a:pt x="236" y="130"/>
                    </a:lnTo>
                    <a:lnTo>
                      <a:pt x="245" y="135"/>
                    </a:lnTo>
                    <a:lnTo>
                      <a:pt x="274" y="144"/>
                    </a:lnTo>
                    <a:lnTo>
                      <a:pt x="283" y="151"/>
                    </a:lnTo>
                    <a:lnTo>
                      <a:pt x="293" y="153"/>
                    </a:lnTo>
                    <a:lnTo>
                      <a:pt x="300" y="153"/>
                    </a:lnTo>
                    <a:lnTo>
                      <a:pt x="305" y="149"/>
                    </a:lnTo>
                    <a:lnTo>
                      <a:pt x="307" y="144"/>
                    </a:lnTo>
                    <a:lnTo>
                      <a:pt x="312" y="142"/>
                    </a:lnTo>
                    <a:lnTo>
                      <a:pt x="316" y="146"/>
                    </a:lnTo>
                    <a:lnTo>
                      <a:pt x="333" y="149"/>
                    </a:lnTo>
                    <a:lnTo>
                      <a:pt x="333" y="151"/>
                    </a:lnTo>
                    <a:lnTo>
                      <a:pt x="293" y="168"/>
                    </a:lnTo>
                    <a:lnTo>
                      <a:pt x="286" y="172"/>
                    </a:lnTo>
                    <a:lnTo>
                      <a:pt x="295" y="175"/>
                    </a:lnTo>
                    <a:lnTo>
                      <a:pt x="307" y="172"/>
                    </a:lnTo>
                    <a:lnTo>
                      <a:pt x="316" y="165"/>
                    </a:lnTo>
                    <a:lnTo>
                      <a:pt x="328" y="165"/>
                    </a:lnTo>
                    <a:lnTo>
                      <a:pt x="340" y="165"/>
                    </a:lnTo>
                    <a:lnTo>
                      <a:pt x="342" y="163"/>
                    </a:lnTo>
                    <a:lnTo>
                      <a:pt x="345" y="161"/>
                    </a:lnTo>
                    <a:lnTo>
                      <a:pt x="364" y="170"/>
                    </a:lnTo>
                    <a:lnTo>
                      <a:pt x="373" y="172"/>
                    </a:lnTo>
                    <a:lnTo>
                      <a:pt x="378" y="170"/>
                    </a:lnTo>
                    <a:lnTo>
                      <a:pt x="385" y="163"/>
                    </a:lnTo>
                    <a:lnTo>
                      <a:pt x="402" y="156"/>
                    </a:lnTo>
                    <a:lnTo>
                      <a:pt x="425" y="144"/>
                    </a:lnTo>
                    <a:lnTo>
                      <a:pt x="449" y="137"/>
                    </a:lnTo>
                    <a:lnTo>
                      <a:pt x="472" y="135"/>
                    </a:lnTo>
                    <a:lnTo>
                      <a:pt x="487" y="130"/>
                    </a:lnTo>
                    <a:lnTo>
                      <a:pt x="498" y="120"/>
                    </a:lnTo>
                    <a:lnTo>
                      <a:pt x="524" y="90"/>
                    </a:lnTo>
                    <a:lnTo>
                      <a:pt x="555" y="64"/>
                    </a:lnTo>
                    <a:lnTo>
                      <a:pt x="607" y="28"/>
                    </a:lnTo>
                    <a:lnTo>
                      <a:pt x="657" y="0"/>
                    </a:lnTo>
                    <a:lnTo>
                      <a:pt x="662" y="16"/>
                    </a:lnTo>
                    <a:lnTo>
                      <a:pt x="664" y="40"/>
                    </a:lnTo>
                    <a:lnTo>
                      <a:pt x="669" y="61"/>
                    </a:lnTo>
                    <a:lnTo>
                      <a:pt x="671" y="82"/>
                    </a:lnTo>
                    <a:lnTo>
                      <a:pt x="676" y="104"/>
                    </a:lnTo>
                    <a:lnTo>
                      <a:pt x="678" y="125"/>
                    </a:lnTo>
                    <a:lnTo>
                      <a:pt x="683" y="149"/>
                    </a:lnTo>
                    <a:lnTo>
                      <a:pt x="688" y="170"/>
                    </a:lnTo>
                    <a:lnTo>
                      <a:pt x="690" y="191"/>
                    </a:lnTo>
                    <a:lnTo>
                      <a:pt x="695" y="213"/>
                    </a:lnTo>
                    <a:lnTo>
                      <a:pt x="697" y="234"/>
                    </a:lnTo>
                    <a:lnTo>
                      <a:pt x="702" y="257"/>
                    </a:lnTo>
                    <a:lnTo>
                      <a:pt x="706" y="27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40" name="Freeform 78">
                <a:extLst>
                  <a:ext uri="{FF2B5EF4-FFF2-40B4-BE49-F238E27FC236}">
                    <a16:creationId xmlns:a16="http://schemas.microsoft.com/office/drawing/2014/main" id="{420490BB-0B37-4F72-0F5B-24A2BB11DD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2" y="1695"/>
                <a:ext cx="1456" cy="750"/>
              </a:xfrm>
              <a:custGeom>
                <a:avLst/>
                <a:gdLst>
                  <a:gd name="T0" fmla="*/ 1432 w 1456"/>
                  <a:gd name="T1" fmla="*/ 237 h 750"/>
                  <a:gd name="T2" fmla="*/ 1451 w 1456"/>
                  <a:gd name="T3" fmla="*/ 353 h 750"/>
                  <a:gd name="T4" fmla="*/ 1454 w 1456"/>
                  <a:gd name="T5" fmla="*/ 452 h 750"/>
                  <a:gd name="T6" fmla="*/ 1454 w 1456"/>
                  <a:gd name="T7" fmla="*/ 542 h 750"/>
                  <a:gd name="T8" fmla="*/ 1454 w 1456"/>
                  <a:gd name="T9" fmla="*/ 634 h 750"/>
                  <a:gd name="T10" fmla="*/ 1454 w 1456"/>
                  <a:gd name="T11" fmla="*/ 726 h 750"/>
                  <a:gd name="T12" fmla="*/ 1385 w 1456"/>
                  <a:gd name="T13" fmla="*/ 724 h 750"/>
                  <a:gd name="T14" fmla="*/ 1319 w 1456"/>
                  <a:gd name="T15" fmla="*/ 686 h 750"/>
                  <a:gd name="T16" fmla="*/ 1269 w 1456"/>
                  <a:gd name="T17" fmla="*/ 700 h 750"/>
                  <a:gd name="T18" fmla="*/ 1253 w 1456"/>
                  <a:gd name="T19" fmla="*/ 691 h 750"/>
                  <a:gd name="T20" fmla="*/ 1196 w 1456"/>
                  <a:gd name="T21" fmla="*/ 703 h 750"/>
                  <a:gd name="T22" fmla="*/ 1130 w 1456"/>
                  <a:gd name="T23" fmla="*/ 738 h 750"/>
                  <a:gd name="T24" fmla="*/ 1083 w 1456"/>
                  <a:gd name="T25" fmla="*/ 710 h 750"/>
                  <a:gd name="T26" fmla="*/ 1073 w 1456"/>
                  <a:gd name="T27" fmla="*/ 696 h 750"/>
                  <a:gd name="T28" fmla="*/ 1038 w 1456"/>
                  <a:gd name="T29" fmla="*/ 700 h 750"/>
                  <a:gd name="T30" fmla="*/ 1014 w 1456"/>
                  <a:gd name="T31" fmla="*/ 688 h 750"/>
                  <a:gd name="T32" fmla="*/ 1000 w 1456"/>
                  <a:gd name="T33" fmla="*/ 712 h 750"/>
                  <a:gd name="T34" fmla="*/ 979 w 1456"/>
                  <a:gd name="T35" fmla="*/ 726 h 750"/>
                  <a:gd name="T36" fmla="*/ 976 w 1456"/>
                  <a:gd name="T37" fmla="*/ 698 h 750"/>
                  <a:gd name="T38" fmla="*/ 946 w 1456"/>
                  <a:gd name="T39" fmla="*/ 710 h 750"/>
                  <a:gd name="T40" fmla="*/ 910 w 1456"/>
                  <a:gd name="T41" fmla="*/ 693 h 750"/>
                  <a:gd name="T42" fmla="*/ 896 w 1456"/>
                  <a:gd name="T43" fmla="*/ 677 h 750"/>
                  <a:gd name="T44" fmla="*/ 856 w 1456"/>
                  <a:gd name="T45" fmla="*/ 700 h 750"/>
                  <a:gd name="T46" fmla="*/ 839 w 1456"/>
                  <a:gd name="T47" fmla="*/ 674 h 750"/>
                  <a:gd name="T48" fmla="*/ 799 w 1456"/>
                  <a:gd name="T49" fmla="*/ 643 h 750"/>
                  <a:gd name="T50" fmla="*/ 749 w 1456"/>
                  <a:gd name="T51" fmla="*/ 653 h 750"/>
                  <a:gd name="T52" fmla="*/ 667 w 1456"/>
                  <a:gd name="T53" fmla="*/ 625 h 750"/>
                  <a:gd name="T54" fmla="*/ 626 w 1456"/>
                  <a:gd name="T55" fmla="*/ 601 h 750"/>
                  <a:gd name="T56" fmla="*/ 598 w 1456"/>
                  <a:gd name="T57" fmla="*/ 570 h 750"/>
                  <a:gd name="T58" fmla="*/ 570 w 1456"/>
                  <a:gd name="T59" fmla="*/ 580 h 750"/>
                  <a:gd name="T60" fmla="*/ 501 w 1456"/>
                  <a:gd name="T61" fmla="*/ 542 h 750"/>
                  <a:gd name="T62" fmla="*/ 494 w 1456"/>
                  <a:gd name="T63" fmla="*/ 461 h 750"/>
                  <a:gd name="T64" fmla="*/ 496 w 1456"/>
                  <a:gd name="T65" fmla="*/ 362 h 750"/>
                  <a:gd name="T66" fmla="*/ 501 w 1456"/>
                  <a:gd name="T67" fmla="*/ 260 h 750"/>
                  <a:gd name="T68" fmla="*/ 506 w 1456"/>
                  <a:gd name="T69" fmla="*/ 161 h 750"/>
                  <a:gd name="T70" fmla="*/ 411 w 1456"/>
                  <a:gd name="T71" fmla="*/ 130 h 750"/>
                  <a:gd name="T72" fmla="*/ 284 w 1456"/>
                  <a:gd name="T73" fmla="*/ 123 h 750"/>
                  <a:gd name="T74" fmla="*/ 158 w 1456"/>
                  <a:gd name="T75" fmla="*/ 116 h 750"/>
                  <a:gd name="T76" fmla="*/ 31 w 1456"/>
                  <a:gd name="T77" fmla="*/ 107 h 750"/>
                  <a:gd name="T78" fmla="*/ 5 w 1456"/>
                  <a:gd name="T79" fmla="*/ 26 h 750"/>
                  <a:gd name="T80" fmla="*/ 132 w 1456"/>
                  <a:gd name="T81" fmla="*/ 10 h 750"/>
                  <a:gd name="T82" fmla="*/ 291 w 1456"/>
                  <a:gd name="T83" fmla="*/ 19 h 750"/>
                  <a:gd name="T84" fmla="*/ 444 w 1456"/>
                  <a:gd name="T85" fmla="*/ 26 h 750"/>
                  <a:gd name="T86" fmla="*/ 600 w 1456"/>
                  <a:gd name="T87" fmla="*/ 33 h 750"/>
                  <a:gd name="T88" fmla="*/ 756 w 1456"/>
                  <a:gd name="T89" fmla="*/ 41 h 750"/>
                  <a:gd name="T90" fmla="*/ 912 w 1456"/>
                  <a:gd name="T91" fmla="*/ 43 h 750"/>
                  <a:gd name="T92" fmla="*/ 1068 w 1456"/>
                  <a:gd name="T93" fmla="*/ 45 h 750"/>
                  <a:gd name="T94" fmla="*/ 1224 w 1456"/>
                  <a:gd name="T95" fmla="*/ 45 h 750"/>
                  <a:gd name="T96" fmla="*/ 1380 w 1456"/>
                  <a:gd name="T97" fmla="*/ 45 h 750"/>
                  <a:gd name="T98" fmla="*/ 1421 w 1456"/>
                  <a:gd name="T99" fmla="*/ 123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456" h="750">
                    <a:moveTo>
                      <a:pt x="1421" y="149"/>
                    </a:moveTo>
                    <a:lnTo>
                      <a:pt x="1425" y="178"/>
                    </a:lnTo>
                    <a:lnTo>
                      <a:pt x="1430" y="206"/>
                    </a:lnTo>
                    <a:lnTo>
                      <a:pt x="1432" y="237"/>
                    </a:lnTo>
                    <a:lnTo>
                      <a:pt x="1437" y="265"/>
                    </a:lnTo>
                    <a:lnTo>
                      <a:pt x="1442" y="296"/>
                    </a:lnTo>
                    <a:lnTo>
                      <a:pt x="1447" y="324"/>
                    </a:lnTo>
                    <a:lnTo>
                      <a:pt x="1451" y="353"/>
                    </a:lnTo>
                    <a:lnTo>
                      <a:pt x="1456" y="383"/>
                    </a:lnTo>
                    <a:lnTo>
                      <a:pt x="1456" y="405"/>
                    </a:lnTo>
                    <a:lnTo>
                      <a:pt x="1456" y="428"/>
                    </a:lnTo>
                    <a:lnTo>
                      <a:pt x="1454" y="452"/>
                    </a:lnTo>
                    <a:lnTo>
                      <a:pt x="1454" y="473"/>
                    </a:lnTo>
                    <a:lnTo>
                      <a:pt x="1454" y="497"/>
                    </a:lnTo>
                    <a:lnTo>
                      <a:pt x="1454" y="521"/>
                    </a:lnTo>
                    <a:lnTo>
                      <a:pt x="1454" y="542"/>
                    </a:lnTo>
                    <a:lnTo>
                      <a:pt x="1454" y="565"/>
                    </a:lnTo>
                    <a:lnTo>
                      <a:pt x="1454" y="589"/>
                    </a:lnTo>
                    <a:lnTo>
                      <a:pt x="1454" y="610"/>
                    </a:lnTo>
                    <a:lnTo>
                      <a:pt x="1454" y="634"/>
                    </a:lnTo>
                    <a:lnTo>
                      <a:pt x="1454" y="658"/>
                    </a:lnTo>
                    <a:lnTo>
                      <a:pt x="1454" y="681"/>
                    </a:lnTo>
                    <a:lnTo>
                      <a:pt x="1454" y="703"/>
                    </a:lnTo>
                    <a:lnTo>
                      <a:pt x="1454" y="726"/>
                    </a:lnTo>
                    <a:lnTo>
                      <a:pt x="1454" y="750"/>
                    </a:lnTo>
                    <a:lnTo>
                      <a:pt x="1414" y="738"/>
                    </a:lnTo>
                    <a:lnTo>
                      <a:pt x="1404" y="733"/>
                    </a:lnTo>
                    <a:lnTo>
                      <a:pt x="1385" y="724"/>
                    </a:lnTo>
                    <a:lnTo>
                      <a:pt x="1369" y="710"/>
                    </a:lnTo>
                    <a:lnTo>
                      <a:pt x="1336" y="691"/>
                    </a:lnTo>
                    <a:lnTo>
                      <a:pt x="1324" y="686"/>
                    </a:lnTo>
                    <a:lnTo>
                      <a:pt x="1319" y="686"/>
                    </a:lnTo>
                    <a:lnTo>
                      <a:pt x="1314" y="696"/>
                    </a:lnTo>
                    <a:lnTo>
                      <a:pt x="1295" y="703"/>
                    </a:lnTo>
                    <a:lnTo>
                      <a:pt x="1286" y="703"/>
                    </a:lnTo>
                    <a:lnTo>
                      <a:pt x="1269" y="700"/>
                    </a:lnTo>
                    <a:lnTo>
                      <a:pt x="1267" y="698"/>
                    </a:lnTo>
                    <a:lnTo>
                      <a:pt x="1265" y="693"/>
                    </a:lnTo>
                    <a:lnTo>
                      <a:pt x="1258" y="688"/>
                    </a:lnTo>
                    <a:lnTo>
                      <a:pt x="1253" y="691"/>
                    </a:lnTo>
                    <a:lnTo>
                      <a:pt x="1227" y="700"/>
                    </a:lnTo>
                    <a:lnTo>
                      <a:pt x="1224" y="705"/>
                    </a:lnTo>
                    <a:lnTo>
                      <a:pt x="1210" y="705"/>
                    </a:lnTo>
                    <a:lnTo>
                      <a:pt x="1196" y="703"/>
                    </a:lnTo>
                    <a:lnTo>
                      <a:pt x="1161" y="714"/>
                    </a:lnTo>
                    <a:lnTo>
                      <a:pt x="1149" y="724"/>
                    </a:lnTo>
                    <a:lnTo>
                      <a:pt x="1137" y="729"/>
                    </a:lnTo>
                    <a:lnTo>
                      <a:pt x="1130" y="738"/>
                    </a:lnTo>
                    <a:lnTo>
                      <a:pt x="1128" y="736"/>
                    </a:lnTo>
                    <a:lnTo>
                      <a:pt x="1113" y="724"/>
                    </a:lnTo>
                    <a:lnTo>
                      <a:pt x="1102" y="722"/>
                    </a:lnTo>
                    <a:lnTo>
                      <a:pt x="1083" y="710"/>
                    </a:lnTo>
                    <a:lnTo>
                      <a:pt x="1083" y="698"/>
                    </a:lnTo>
                    <a:lnTo>
                      <a:pt x="1080" y="696"/>
                    </a:lnTo>
                    <a:lnTo>
                      <a:pt x="1076" y="696"/>
                    </a:lnTo>
                    <a:lnTo>
                      <a:pt x="1073" y="696"/>
                    </a:lnTo>
                    <a:lnTo>
                      <a:pt x="1064" y="705"/>
                    </a:lnTo>
                    <a:lnTo>
                      <a:pt x="1059" y="707"/>
                    </a:lnTo>
                    <a:lnTo>
                      <a:pt x="1054" y="707"/>
                    </a:lnTo>
                    <a:lnTo>
                      <a:pt x="1038" y="700"/>
                    </a:lnTo>
                    <a:lnTo>
                      <a:pt x="1031" y="691"/>
                    </a:lnTo>
                    <a:lnTo>
                      <a:pt x="1026" y="686"/>
                    </a:lnTo>
                    <a:lnTo>
                      <a:pt x="1021" y="686"/>
                    </a:lnTo>
                    <a:lnTo>
                      <a:pt x="1014" y="688"/>
                    </a:lnTo>
                    <a:lnTo>
                      <a:pt x="1009" y="700"/>
                    </a:lnTo>
                    <a:lnTo>
                      <a:pt x="1007" y="705"/>
                    </a:lnTo>
                    <a:lnTo>
                      <a:pt x="1000" y="707"/>
                    </a:lnTo>
                    <a:lnTo>
                      <a:pt x="1000" y="712"/>
                    </a:lnTo>
                    <a:lnTo>
                      <a:pt x="993" y="729"/>
                    </a:lnTo>
                    <a:lnTo>
                      <a:pt x="988" y="731"/>
                    </a:lnTo>
                    <a:lnTo>
                      <a:pt x="983" y="731"/>
                    </a:lnTo>
                    <a:lnTo>
                      <a:pt x="979" y="726"/>
                    </a:lnTo>
                    <a:lnTo>
                      <a:pt x="976" y="722"/>
                    </a:lnTo>
                    <a:lnTo>
                      <a:pt x="974" y="717"/>
                    </a:lnTo>
                    <a:lnTo>
                      <a:pt x="979" y="703"/>
                    </a:lnTo>
                    <a:lnTo>
                      <a:pt x="976" y="698"/>
                    </a:lnTo>
                    <a:lnTo>
                      <a:pt x="972" y="698"/>
                    </a:lnTo>
                    <a:lnTo>
                      <a:pt x="964" y="703"/>
                    </a:lnTo>
                    <a:lnTo>
                      <a:pt x="957" y="703"/>
                    </a:lnTo>
                    <a:lnTo>
                      <a:pt x="946" y="710"/>
                    </a:lnTo>
                    <a:lnTo>
                      <a:pt x="941" y="710"/>
                    </a:lnTo>
                    <a:lnTo>
                      <a:pt x="934" y="710"/>
                    </a:lnTo>
                    <a:lnTo>
                      <a:pt x="927" y="698"/>
                    </a:lnTo>
                    <a:lnTo>
                      <a:pt x="910" y="693"/>
                    </a:lnTo>
                    <a:lnTo>
                      <a:pt x="905" y="681"/>
                    </a:lnTo>
                    <a:lnTo>
                      <a:pt x="901" y="677"/>
                    </a:lnTo>
                    <a:lnTo>
                      <a:pt x="898" y="677"/>
                    </a:lnTo>
                    <a:lnTo>
                      <a:pt x="896" y="677"/>
                    </a:lnTo>
                    <a:lnTo>
                      <a:pt x="889" y="681"/>
                    </a:lnTo>
                    <a:lnTo>
                      <a:pt x="870" y="696"/>
                    </a:lnTo>
                    <a:lnTo>
                      <a:pt x="863" y="700"/>
                    </a:lnTo>
                    <a:lnTo>
                      <a:pt x="856" y="700"/>
                    </a:lnTo>
                    <a:lnTo>
                      <a:pt x="849" y="700"/>
                    </a:lnTo>
                    <a:lnTo>
                      <a:pt x="844" y="696"/>
                    </a:lnTo>
                    <a:lnTo>
                      <a:pt x="844" y="679"/>
                    </a:lnTo>
                    <a:lnTo>
                      <a:pt x="839" y="674"/>
                    </a:lnTo>
                    <a:lnTo>
                      <a:pt x="823" y="665"/>
                    </a:lnTo>
                    <a:lnTo>
                      <a:pt x="820" y="655"/>
                    </a:lnTo>
                    <a:lnTo>
                      <a:pt x="818" y="641"/>
                    </a:lnTo>
                    <a:lnTo>
                      <a:pt x="799" y="643"/>
                    </a:lnTo>
                    <a:lnTo>
                      <a:pt x="773" y="641"/>
                    </a:lnTo>
                    <a:lnTo>
                      <a:pt x="761" y="653"/>
                    </a:lnTo>
                    <a:lnTo>
                      <a:pt x="756" y="655"/>
                    </a:lnTo>
                    <a:lnTo>
                      <a:pt x="749" y="653"/>
                    </a:lnTo>
                    <a:lnTo>
                      <a:pt x="730" y="636"/>
                    </a:lnTo>
                    <a:lnTo>
                      <a:pt x="709" y="639"/>
                    </a:lnTo>
                    <a:lnTo>
                      <a:pt x="695" y="636"/>
                    </a:lnTo>
                    <a:lnTo>
                      <a:pt x="667" y="625"/>
                    </a:lnTo>
                    <a:lnTo>
                      <a:pt x="643" y="622"/>
                    </a:lnTo>
                    <a:lnTo>
                      <a:pt x="634" y="620"/>
                    </a:lnTo>
                    <a:lnTo>
                      <a:pt x="629" y="617"/>
                    </a:lnTo>
                    <a:lnTo>
                      <a:pt x="626" y="601"/>
                    </a:lnTo>
                    <a:lnTo>
                      <a:pt x="619" y="584"/>
                    </a:lnTo>
                    <a:lnTo>
                      <a:pt x="615" y="582"/>
                    </a:lnTo>
                    <a:lnTo>
                      <a:pt x="600" y="570"/>
                    </a:lnTo>
                    <a:lnTo>
                      <a:pt x="598" y="570"/>
                    </a:lnTo>
                    <a:lnTo>
                      <a:pt x="596" y="573"/>
                    </a:lnTo>
                    <a:lnTo>
                      <a:pt x="591" y="584"/>
                    </a:lnTo>
                    <a:lnTo>
                      <a:pt x="586" y="584"/>
                    </a:lnTo>
                    <a:lnTo>
                      <a:pt x="570" y="580"/>
                    </a:lnTo>
                    <a:lnTo>
                      <a:pt x="553" y="582"/>
                    </a:lnTo>
                    <a:lnTo>
                      <a:pt x="544" y="577"/>
                    </a:lnTo>
                    <a:lnTo>
                      <a:pt x="513" y="549"/>
                    </a:lnTo>
                    <a:lnTo>
                      <a:pt x="501" y="542"/>
                    </a:lnTo>
                    <a:lnTo>
                      <a:pt x="489" y="537"/>
                    </a:lnTo>
                    <a:lnTo>
                      <a:pt x="492" y="513"/>
                    </a:lnTo>
                    <a:lnTo>
                      <a:pt x="492" y="487"/>
                    </a:lnTo>
                    <a:lnTo>
                      <a:pt x="494" y="461"/>
                    </a:lnTo>
                    <a:lnTo>
                      <a:pt x="494" y="438"/>
                    </a:lnTo>
                    <a:lnTo>
                      <a:pt x="496" y="412"/>
                    </a:lnTo>
                    <a:lnTo>
                      <a:pt x="496" y="388"/>
                    </a:lnTo>
                    <a:lnTo>
                      <a:pt x="496" y="362"/>
                    </a:lnTo>
                    <a:lnTo>
                      <a:pt x="499" y="336"/>
                    </a:lnTo>
                    <a:lnTo>
                      <a:pt x="499" y="312"/>
                    </a:lnTo>
                    <a:lnTo>
                      <a:pt x="501" y="286"/>
                    </a:lnTo>
                    <a:lnTo>
                      <a:pt x="501" y="260"/>
                    </a:lnTo>
                    <a:lnTo>
                      <a:pt x="503" y="237"/>
                    </a:lnTo>
                    <a:lnTo>
                      <a:pt x="503" y="211"/>
                    </a:lnTo>
                    <a:lnTo>
                      <a:pt x="506" y="185"/>
                    </a:lnTo>
                    <a:lnTo>
                      <a:pt x="506" y="161"/>
                    </a:lnTo>
                    <a:lnTo>
                      <a:pt x="508" y="135"/>
                    </a:lnTo>
                    <a:lnTo>
                      <a:pt x="475" y="135"/>
                    </a:lnTo>
                    <a:lnTo>
                      <a:pt x="444" y="133"/>
                    </a:lnTo>
                    <a:lnTo>
                      <a:pt x="411" y="130"/>
                    </a:lnTo>
                    <a:lnTo>
                      <a:pt x="381" y="130"/>
                    </a:lnTo>
                    <a:lnTo>
                      <a:pt x="347" y="128"/>
                    </a:lnTo>
                    <a:lnTo>
                      <a:pt x="317" y="126"/>
                    </a:lnTo>
                    <a:lnTo>
                      <a:pt x="284" y="123"/>
                    </a:lnTo>
                    <a:lnTo>
                      <a:pt x="253" y="123"/>
                    </a:lnTo>
                    <a:lnTo>
                      <a:pt x="222" y="121"/>
                    </a:lnTo>
                    <a:lnTo>
                      <a:pt x="189" y="119"/>
                    </a:lnTo>
                    <a:lnTo>
                      <a:pt x="158" y="116"/>
                    </a:lnTo>
                    <a:lnTo>
                      <a:pt x="125" y="114"/>
                    </a:lnTo>
                    <a:lnTo>
                      <a:pt x="95" y="111"/>
                    </a:lnTo>
                    <a:lnTo>
                      <a:pt x="61" y="109"/>
                    </a:lnTo>
                    <a:lnTo>
                      <a:pt x="31" y="107"/>
                    </a:lnTo>
                    <a:lnTo>
                      <a:pt x="0" y="104"/>
                    </a:lnTo>
                    <a:lnTo>
                      <a:pt x="0" y="78"/>
                    </a:lnTo>
                    <a:lnTo>
                      <a:pt x="2" y="52"/>
                    </a:lnTo>
                    <a:lnTo>
                      <a:pt x="5" y="26"/>
                    </a:lnTo>
                    <a:lnTo>
                      <a:pt x="7" y="0"/>
                    </a:lnTo>
                    <a:lnTo>
                      <a:pt x="50" y="3"/>
                    </a:lnTo>
                    <a:lnTo>
                      <a:pt x="90" y="5"/>
                    </a:lnTo>
                    <a:lnTo>
                      <a:pt x="132" y="10"/>
                    </a:lnTo>
                    <a:lnTo>
                      <a:pt x="173" y="12"/>
                    </a:lnTo>
                    <a:lnTo>
                      <a:pt x="213" y="15"/>
                    </a:lnTo>
                    <a:lnTo>
                      <a:pt x="251" y="17"/>
                    </a:lnTo>
                    <a:lnTo>
                      <a:pt x="291" y="19"/>
                    </a:lnTo>
                    <a:lnTo>
                      <a:pt x="329" y="22"/>
                    </a:lnTo>
                    <a:lnTo>
                      <a:pt x="369" y="24"/>
                    </a:lnTo>
                    <a:lnTo>
                      <a:pt x="407" y="26"/>
                    </a:lnTo>
                    <a:lnTo>
                      <a:pt x="444" y="26"/>
                    </a:lnTo>
                    <a:lnTo>
                      <a:pt x="485" y="29"/>
                    </a:lnTo>
                    <a:lnTo>
                      <a:pt x="522" y="31"/>
                    </a:lnTo>
                    <a:lnTo>
                      <a:pt x="563" y="33"/>
                    </a:lnTo>
                    <a:lnTo>
                      <a:pt x="600" y="33"/>
                    </a:lnTo>
                    <a:lnTo>
                      <a:pt x="641" y="36"/>
                    </a:lnTo>
                    <a:lnTo>
                      <a:pt x="678" y="38"/>
                    </a:lnTo>
                    <a:lnTo>
                      <a:pt x="719" y="38"/>
                    </a:lnTo>
                    <a:lnTo>
                      <a:pt x="756" y="41"/>
                    </a:lnTo>
                    <a:lnTo>
                      <a:pt x="797" y="41"/>
                    </a:lnTo>
                    <a:lnTo>
                      <a:pt x="834" y="41"/>
                    </a:lnTo>
                    <a:lnTo>
                      <a:pt x="875" y="43"/>
                    </a:lnTo>
                    <a:lnTo>
                      <a:pt x="912" y="43"/>
                    </a:lnTo>
                    <a:lnTo>
                      <a:pt x="953" y="43"/>
                    </a:lnTo>
                    <a:lnTo>
                      <a:pt x="990" y="45"/>
                    </a:lnTo>
                    <a:lnTo>
                      <a:pt x="1031" y="45"/>
                    </a:lnTo>
                    <a:lnTo>
                      <a:pt x="1068" y="45"/>
                    </a:lnTo>
                    <a:lnTo>
                      <a:pt x="1109" y="45"/>
                    </a:lnTo>
                    <a:lnTo>
                      <a:pt x="1146" y="45"/>
                    </a:lnTo>
                    <a:lnTo>
                      <a:pt x="1184" y="45"/>
                    </a:lnTo>
                    <a:lnTo>
                      <a:pt x="1224" y="45"/>
                    </a:lnTo>
                    <a:lnTo>
                      <a:pt x="1262" y="45"/>
                    </a:lnTo>
                    <a:lnTo>
                      <a:pt x="1302" y="45"/>
                    </a:lnTo>
                    <a:lnTo>
                      <a:pt x="1340" y="45"/>
                    </a:lnTo>
                    <a:lnTo>
                      <a:pt x="1380" y="45"/>
                    </a:lnTo>
                    <a:lnTo>
                      <a:pt x="1418" y="43"/>
                    </a:lnTo>
                    <a:lnTo>
                      <a:pt x="1421" y="69"/>
                    </a:lnTo>
                    <a:lnTo>
                      <a:pt x="1421" y="97"/>
                    </a:lnTo>
                    <a:lnTo>
                      <a:pt x="1421" y="123"/>
                    </a:lnTo>
                    <a:lnTo>
                      <a:pt x="1421" y="14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41" name="Freeform 79">
                <a:extLst>
                  <a:ext uri="{FF2B5EF4-FFF2-40B4-BE49-F238E27FC236}">
                    <a16:creationId xmlns:a16="http://schemas.microsoft.com/office/drawing/2014/main" id="{317F94CB-B829-B4BB-8FE3-1D16DF0237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" y="-832"/>
                <a:ext cx="1356" cy="1142"/>
              </a:xfrm>
              <a:custGeom>
                <a:avLst/>
                <a:gdLst>
                  <a:gd name="T0" fmla="*/ 446 w 1356"/>
                  <a:gd name="T1" fmla="*/ 54 h 1142"/>
                  <a:gd name="T2" fmla="*/ 463 w 1356"/>
                  <a:gd name="T3" fmla="*/ 149 h 1142"/>
                  <a:gd name="T4" fmla="*/ 482 w 1356"/>
                  <a:gd name="T5" fmla="*/ 184 h 1142"/>
                  <a:gd name="T6" fmla="*/ 539 w 1356"/>
                  <a:gd name="T7" fmla="*/ 208 h 1142"/>
                  <a:gd name="T8" fmla="*/ 614 w 1356"/>
                  <a:gd name="T9" fmla="*/ 203 h 1142"/>
                  <a:gd name="T10" fmla="*/ 678 w 1356"/>
                  <a:gd name="T11" fmla="*/ 236 h 1142"/>
                  <a:gd name="T12" fmla="*/ 803 w 1356"/>
                  <a:gd name="T13" fmla="*/ 253 h 1142"/>
                  <a:gd name="T14" fmla="*/ 945 w 1356"/>
                  <a:gd name="T15" fmla="*/ 246 h 1142"/>
                  <a:gd name="T16" fmla="*/ 1009 w 1356"/>
                  <a:gd name="T17" fmla="*/ 248 h 1142"/>
                  <a:gd name="T18" fmla="*/ 1087 w 1356"/>
                  <a:gd name="T19" fmla="*/ 267 h 1142"/>
                  <a:gd name="T20" fmla="*/ 1200 w 1356"/>
                  <a:gd name="T21" fmla="*/ 295 h 1142"/>
                  <a:gd name="T22" fmla="*/ 1312 w 1356"/>
                  <a:gd name="T23" fmla="*/ 324 h 1142"/>
                  <a:gd name="T24" fmla="*/ 1342 w 1356"/>
                  <a:gd name="T25" fmla="*/ 373 h 1142"/>
                  <a:gd name="T26" fmla="*/ 1338 w 1356"/>
                  <a:gd name="T27" fmla="*/ 447 h 1142"/>
                  <a:gd name="T28" fmla="*/ 1267 w 1356"/>
                  <a:gd name="T29" fmla="*/ 551 h 1142"/>
                  <a:gd name="T30" fmla="*/ 1191 w 1356"/>
                  <a:gd name="T31" fmla="*/ 636 h 1142"/>
                  <a:gd name="T32" fmla="*/ 1210 w 1356"/>
                  <a:gd name="T33" fmla="*/ 674 h 1142"/>
                  <a:gd name="T34" fmla="*/ 1222 w 1356"/>
                  <a:gd name="T35" fmla="*/ 702 h 1142"/>
                  <a:gd name="T36" fmla="*/ 1210 w 1356"/>
                  <a:gd name="T37" fmla="*/ 726 h 1142"/>
                  <a:gd name="T38" fmla="*/ 1189 w 1356"/>
                  <a:gd name="T39" fmla="*/ 771 h 1142"/>
                  <a:gd name="T40" fmla="*/ 1156 w 1356"/>
                  <a:gd name="T41" fmla="*/ 912 h 1142"/>
                  <a:gd name="T42" fmla="*/ 1122 w 1356"/>
                  <a:gd name="T43" fmla="*/ 1050 h 1142"/>
                  <a:gd name="T44" fmla="*/ 1044 w 1356"/>
                  <a:gd name="T45" fmla="*/ 1128 h 1142"/>
                  <a:gd name="T46" fmla="*/ 874 w 1356"/>
                  <a:gd name="T47" fmla="*/ 1085 h 1142"/>
                  <a:gd name="T48" fmla="*/ 704 w 1356"/>
                  <a:gd name="T49" fmla="*/ 1042 h 1142"/>
                  <a:gd name="T50" fmla="*/ 567 w 1356"/>
                  <a:gd name="T51" fmla="*/ 1005 h 1142"/>
                  <a:gd name="T52" fmla="*/ 449 w 1356"/>
                  <a:gd name="T53" fmla="*/ 972 h 1142"/>
                  <a:gd name="T54" fmla="*/ 328 w 1356"/>
                  <a:gd name="T55" fmla="*/ 936 h 1142"/>
                  <a:gd name="T56" fmla="*/ 210 w 1356"/>
                  <a:gd name="T57" fmla="*/ 901 h 1142"/>
                  <a:gd name="T58" fmla="*/ 92 w 1356"/>
                  <a:gd name="T59" fmla="*/ 863 h 1142"/>
                  <a:gd name="T60" fmla="*/ 0 w 1356"/>
                  <a:gd name="T61" fmla="*/ 808 h 1142"/>
                  <a:gd name="T62" fmla="*/ 21 w 1356"/>
                  <a:gd name="T63" fmla="*/ 711 h 1142"/>
                  <a:gd name="T64" fmla="*/ 30 w 1356"/>
                  <a:gd name="T65" fmla="*/ 638 h 1142"/>
                  <a:gd name="T66" fmla="*/ 85 w 1356"/>
                  <a:gd name="T67" fmla="*/ 560 h 1142"/>
                  <a:gd name="T68" fmla="*/ 104 w 1356"/>
                  <a:gd name="T69" fmla="*/ 551 h 1142"/>
                  <a:gd name="T70" fmla="*/ 123 w 1356"/>
                  <a:gd name="T71" fmla="*/ 508 h 1142"/>
                  <a:gd name="T72" fmla="*/ 179 w 1356"/>
                  <a:gd name="T73" fmla="*/ 376 h 1142"/>
                  <a:gd name="T74" fmla="*/ 208 w 1356"/>
                  <a:gd name="T75" fmla="*/ 314 h 1142"/>
                  <a:gd name="T76" fmla="*/ 271 w 1356"/>
                  <a:gd name="T77" fmla="*/ 151 h 1142"/>
                  <a:gd name="T78" fmla="*/ 316 w 1356"/>
                  <a:gd name="T79" fmla="*/ 19 h 1142"/>
                  <a:gd name="T80" fmla="*/ 321 w 1356"/>
                  <a:gd name="T81" fmla="*/ 0 h 1142"/>
                  <a:gd name="T82" fmla="*/ 383 w 1356"/>
                  <a:gd name="T83" fmla="*/ 21 h 1142"/>
                  <a:gd name="T84" fmla="*/ 406 w 1356"/>
                  <a:gd name="T85" fmla="*/ 45 h 1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56" h="1142">
                    <a:moveTo>
                      <a:pt x="420" y="47"/>
                    </a:moveTo>
                    <a:lnTo>
                      <a:pt x="437" y="47"/>
                    </a:lnTo>
                    <a:lnTo>
                      <a:pt x="446" y="54"/>
                    </a:lnTo>
                    <a:lnTo>
                      <a:pt x="458" y="68"/>
                    </a:lnTo>
                    <a:lnTo>
                      <a:pt x="463" y="99"/>
                    </a:lnTo>
                    <a:lnTo>
                      <a:pt x="463" y="149"/>
                    </a:lnTo>
                    <a:lnTo>
                      <a:pt x="461" y="165"/>
                    </a:lnTo>
                    <a:lnTo>
                      <a:pt x="468" y="179"/>
                    </a:lnTo>
                    <a:lnTo>
                      <a:pt x="482" y="184"/>
                    </a:lnTo>
                    <a:lnTo>
                      <a:pt x="529" y="205"/>
                    </a:lnTo>
                    <a:lnTo>
                      <a:pt x="539" y="208"/>
                    </a:lnTo>
                    <a:lnTo>
                      <a:pt x="539" y="208"/>
                    </a:lnTo>
                    <a:lnTo>
                      <a:pt x="548" y="208"/>
                    </a:lnTo>
                    <a:lnTo>
                      <a:pt x="581" y="198"/>
                    </a:lnTo>
                    <a:lnTo>
                      <a:pt x="614" y="203"/>
                    </a:lnTo>
                    <a:lnTo>
                      <a:pt x="652" y="215"/>
                    </a:lnTo>
                    <a:lnTo>
                      <a:pt x="673" y="224"/>
                    </a:lnTo>
                    <a:lnTo>
                      <a:pt x="678" y="236"/>
                    </a:lnTo>
                    <a:lnTo>
                      <a:pt x="699" y="243"/>
                    </a:lnTo>
                    <a:lnTo>
                      <a:pt x="749" y="246"/>
                    </a:lnTo>
                    <a:lnTo>
                      <a:pt x="803" y="253"/>
                    </a:lnTo>
                    <a:lnTo>
                      <a:pt x="832" y="253"/>
                    </a:lnTo>
                    <a:lnTo>
                      <a:pt x="869" y="246"/>
                    </a:lnTo>
                    <a:lnTo>
                      <a:pt x="945" y="246"/>
                    </a:lnTo>
                    <a:lnTo>
                      <a:pt x="983" y="253"/>
                    </a:lnTo>
                    <a:lnTo>
                      <a:pt x="1002" y="250"/>
                    </a:lnTo>
                    <a:lnTo>
                      <a:pt x="1009" y="248"/>
                    </a:lnTo>
                    <a:lnTo>
                      <a:pt x="1011" y="248"/>
                    </a:lnTo>
                    <a:lnTo>
                      <a:pt x="1049" y="257"/>
                    </a:lnTo>
                    <a:lnTo>
                      <a:pt x="1087" y="267"/>
                    </a:lnTo>
                    <a:lnTo>
                      <a:pt x="1125" y="276"/>
                    </a:lnTo>
                    <a:lnTo>
                      <a:pt x="1163" y="286"/>
                    </a:lnTo>
                    <a:lnTo>
                      <a:pt x="1200" y="295"/>
                    </a:lnTo>
                    <a:lnTo>
                      <a:pt x="1238" y="305"/>
                    </a:lnTo>
                    <a:lnTo>
                      <a:pt x="1276" y="314"/>
                    </a:lnTo>
                    <a:lnTo>
                      <a:pt x="1312" y="324"/>
                    </a:lnTo>
                    <a:lnTo>
                      <a:pt x="1314" y="333"/>
                    </a:lnTo>
                    <a:lnTo>
                      <a:pt x="1326" y="354"/>
                    </a:lnTo>
                    <a:lnTo>
                      <a:pt x="1342" y="373"/>
                    </a:lnTo>
                    <a:lnTo>
                      <a:pt x="1354" y="392"/>
                    </a:lnTo>
                    <a:lnTo>
                      <a:pt x="1356" y="411"/>
                    </a:lnTo>
                    <a:lnTo>
                      <a:pt x="1338" y="447"/>
                    </a:lnTo>
                    <a:lnTo>
                      <a:pt x="1295" y="499"/>
                    </a:lnTo>
                    <a:lnTo>
                      <a:pt x="1271" y="534"/>
                    </a:lnTo>
                    <a:lnTo>
                      <a:pt x="1267" y="551"/>
                    </a:lnTo>
                    <a:lnTo>
                      <a:pt x="1245" y="574"/>
                    </a:lnTo>
                    <a:lnTo>
                      <a:pt x="1212" y="607"/>
                    </a:lnTo>
                    <a:lnTo>
                      <a:pt x="1191" y="636"/>
                    </a:lnTo>
                    <a:lnTo>
                      <a:pt x="1189" y="655"/>
                    </a:lnTo>
                    <a:lnTo>
                      <a:pt x="1193" y="666"/>
                    </a:lnTo>
                    <a:lnTo>
                      <a:pt x="1210" y="674"/>
                    </a:lnTo>
                    <a:lnTo>
                      <a:pt x="1219" y="683"/>
                    </a:lnTo>
                    <a:lnTo>
                      <a:pt x="1224" y="693"/>
                    </a:lnTo>
                    <a:lnTo>
                      <a:pt x="1222" y="702"/>
                    </a:lnTo>
                    <a:lnTo>
                      <a:pt x="1215" y="709"/>
                    </a:lnTo>
                    <a:lnTo>
                      <a:pt x="1210" y="716"/>
                    </a:lnTo>
                    <a:lnTo>
                      <a:pt x="1210" y="726"/>
                    </a:lnTo>
                    <a:lnTo>
                      <a:pt x="1205" y="740"/>
                    </a:lnTo>
                    <a:lnTo>
                      <a:pt x="1189" y="768"/>
                    </a:lnTo>
                    <a:lnTo>
                      <a:pt x="1189" y="771"/>
                    </a:lnTo>
                    <a:lnTo>
                      <a:pt x="1177" y="820"/>
                    </a:lnTo>
                    <a:lnTo>
                      <a:pt x="1165" y="867"/>
                    </a:lnTo>
                    <a:lnTo>
                      <a:pt x="1156" y="912"/>
                    </a:lnTo>
                    <a:lnTo>
                      <a:pt x="1144" y="957"/>
                    </a:lnTo>
                    <a:lnTo>
                      <a:pt x="1134" y="1005"/>
                    </a:lnTo>
                    <a:lnTo>
                      <a:pt x="1122" y="1050"/>
                    </a:lnTo>
                    <a:lnTo>
                      <a:pt x="1113" y="1094"/>
                    </a:lnTo>
                    <a:lnTo>
                      <a:pt x="1101" y="1142"/>
                    </a:lnTo>
                    <a:lnTo>
                      <a:pt x="1044" y="1128"/>
                    </a:lnTo>
                    <a:lnTo>
                      <a:pt x="988" y="1113"/>
                    </a:lnTo>
                    <a:lnTo>
                      <a:pt x="931" y="1099"/>
                    </a:lnTo>
                    <a:lnTo>
                      <a:pt x="874" y="1085"/>
                    </a:lnTo>
                    <a:lnTo>
                      <a:pt x="817" y="1071"/>
                    </a:lnTo>
                    <a:lnTo>
                      <a:pt x="761" y="1057"/>
                    </a:lnTo>
                    <a:lnTo>
                      <a:pt x="704" y="1042"/>
                    </a:lnTo>
                    <a:lnTo>
                      <a:pt x="647" y="1026"/>
                    </a:lnTo>
                    <a:lnTo>
                      <a:pt x="607" y="1016"/>
                    </a:lnTo>
                    <a:lnTo>
                      <a:pt x="567" y="1005"/>
                    </a:lnTo>
                    <a:lnTo>
                      <a:pt x="527" y="993"/>
                    </a:lnTo>
                    <a:lnTo>
                      <a:pt x="487" y="981"/>
                    </a:lnTo>
                    <a:lnTo>
                      <a:pt x="449" y="972"/>
                    </a:lnTo>
                    <a:lnTo>
                      <a:pt x="409" y="960"/>
                    </a:lnTo>
                    <a:lnTo>
                      <a:pt x="368" y="948"/>
                    </a:lnTo>
                    <a:lnTo>
                      <a:pt x="328" y="936"/>
                    </a:lnTo>
                    <a:lnTo>
                      <a:pt x="288" y="924"/>
                    </a:lnTo>
                    <a:lnTo>
                      <a:pt x="250" y="912"/>
                    </a:lnTo>
                    <a:lnTo>
                      <a:pt x="210" y="901"/>
                    </a:lnTo>
                    <a:lnTo>
                      <a:pt x="170" y="889"/>
                    </a:lnTo>
                    <a:lnTo>
                      <a:pt x="130" y="877"/>
                    </a:lnTo>
                    <a:lnTo>
                      <a:pt x="92" y="863"/>
                    </a:lnTo>
                    <a:lnTo>
                      <a:pt x="52" y="851"/>
                    </a:lnTo>
                    <a:lnTo>
                      <a:pt x="11" y="839"/>
                    </a:lnTo>
                    <a:lnTo>
                      <a:pt x="0" y="808"/>
                    </a:lnTo>
                    <a:lnTo>
                      <a:pt x="4" y="768"/>
                    </a:lnTo>
                    <a:lnTo>
                      <a:pt x="7" y="752"/>
                    </a:lnTo>
                    <a:lnTo>
                      <a:pt x="21" y="711"/>
                    </a:lnTo>
                    <a:lnTo>
                      <a:pt x="21" y="693"/>
                    </a:lnTo>
                    <a:lnTo>
                      <a:pt x="16" y="659"/>
                    </a:lnTo>
                    <a:lnTo>
                      <a:pt x="30" y="638"/>
                    </a:lnTo>
                    <a:lnTo>
                      <a:pt x="42" y="624"/>
                    </a:lnTo>
                    <a:lnTo>
                      <a:pt x="80" y="562"/>
                    </a:lnTo>
                    <a:lnTo>
                      <a:pt x="85" y="560"/>
                    </a:lnTo>
                    <a:lnTo>
                      <a:pt x="92" y="562"/>
                    </a:lnTo>
                    <a:lnTo>
                      <a:pt x="106" y="553"/>
                    </a:lnTo>
                    <a:lnTo>
                      <a:pt x="104" y="551"/>
                    </a:lnTo>
                    <a:lnTo>
                      <a:pt x="92" y="553"/>
                    </a:lnTo>
                    <a:lnTo>
                      <a:pt x="108" y="529"/>
                    </a:lnTo>
                    <a:lnTo>
                      <a:pt x="123" y="508"/>
                    </a:lnTo>
                    <a:lnTo>
                      <a:pt x="132" y="503"/>
                    </a:lnTo>
                    <a:lnTo>
                      <a:pt x="158" y="430"/>
                    </a:lnTo>
                    <a:lnTo>
                      <a:pt x="179" y="376"/>
                    </a:lnTo>
                    <a:lnTo>
                      <a:pt x="193" y="359"/>
                    </a:lnTo>
                    <a:lnTo>
                      <a:pt x="196" y="340"/>
                    </a:lnTo>
                    <a:lnTo>
                      <a:pt x="208" y="314"/>
                    </a:lnTo>
                    <a:lnTo>
                      <a:pt x="215" y="288"/>
                    </a:lnTo>
                    <a:lnTo>
                      <a:pt x="269" y="168"/>
                    </a:lnTo>
                    <a:lnTo>
                      <a:pt x="271" y="151"/>
                    </a:lnTo>
                    <a:lnTo>
                      <a:pt x="283" y="132"/>
                    </a:lnTo>
                    <a:lnTo>
                      <a:pt x="297" y="78"/>
                    </a:lnTo>
                    <a:lnTo>
                      <a:pt x="316" y="19"/>
                    </a:lnTo>
                    <a:lnTo>
                      <a:pt x="316" y="9"/>
                    </a:lnTo>
                    <a:lnTo>
                      <a:pt x="316" y="0"/>
                    </a:lnTo>
                    <a:lnTo>
                      <a:pt x="321" y="0"/>
                    </a:lnTo>
                    <a:lnTo>
                      <a:pt x="326" y="12"/>
                    </a:lnTo>
                    <a:lnTo>
                      <a:pt x="359" y="21"/>
                    </a:lnTo>
                    <a:lnTo>
                      <a:pt x="383" y="21"/>
                    </a:lnTo>
                    <a:lnTo>
                      <a:pt x="390" y="26"/>
                    </a:lnTo>
                    <a:lnTo>
                      <a:pt x="394" y="40"/>
                    </a:lnTo>
                    <a:lnTo>
                      <a:pt x="406" y="45"/>
                    </a:lnTo>
                    <a:lnTo>
                      <a:pt x="420" y="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42" name="Freeform 80">
                <a:extLst>
                  <a:ext uri="{FF2B5EF4-FFF2-40B4-BE49-F238E27FC236}">
                    <a16:creationId xmlns:a16="http://schemas.microsoft.com/office/drawing/2014/main" id="{851B2893-C54C-2EDF-994E-4AD50F906B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7" y="322"/>
                <a:ext cx="981" cy="633"/>
              </a:xfrm>
              <a:custGeom>
                <a:avLst/>
                <a:gdLst>
                  <a:gd name="T0" fmla="*/ 912 w 981"/>
                  <a:gd name="T1" fmla="*/ 125 h 633"/>
                  <a:gd name="T2" fmla="*/ 891 w 981"/>
                  <a:gd name="T3" fmla="*/ 184 h 633"/>
                  <a:gd name="T4" fmla="*/ 891 w 981"/>
                  <a:gd name="T5" fmla="*/ 219 h 633"/>
                  <a:gd name="T6" fmla="*/ 881 w 981"/>
                  <a:gd name="T7" fmla="*/ 245 h 633"/>
                  <a:gd name="T8" fmla="*/ 889 w 981"/>
                  <a:gd name="T9" fmla="*/ 283 h 633"/>
                  <a:gd name="T10" fmla="*/ 919 w 981"/>
                  <a:gd name="T11" fmla="*/ 312 h 633"/>
                  <a:gd name="T12" fmla="*/ 957 w 981"/>
                  <a:gd name="T13" fmla="*/ 378 h 633"/>
                  <a:gd name="T14" fmla="*/ 924 w 981"/>
                  <a:gd name="T15" fmla="*/ 425 h 633"/>
                  <a:gd name="T16" fmla="*/ 889 w 981"/>
                  <a:gd name="T17" fmla="*/ 451 h 633"/>
                  <a:gd name="T18" fmla="*/ 846 w 981"/>
                  <a:gd name="T19" fmla="*/ 458 h 633"/>
                  <a:gd name="T20" fmla="*/ 799 w 981"/>
                  <a:gd name="T21" fmla="*/ 491 h 633"/>
                  <a:gd name="T22" fmla="*/ 688 w 981"/>
                  <a:gd name="T23" fmla="*/ 515 h 633"/>
                  <a:gd name="T24" fmla="*/ 579 w 981"/>
                  <a:gd name="T25" fmla="*/ 539 h 633"/>
                  <a:gd name="T26" fmla="*/ 468 w 981"/>
                  <a:gd name="T27" fmla="*/ 560 h 633"/>
                  <a:gd name="T28" fmla="*/ 359 w 981"/>
                  <a:gd name="T29" fmla="*/ 581 h 633"/>
                  <a:gd name="T30" fmla="*/ 248 w 981"/>
                  <a:gd name="T31" fmla="*/ 603 h 633"/>
                  <a:gd name="T32" fmla="*/ 187 w 981"/>
                  <a:gd name="T33" fmla="*/ 614 h 633"/>
                  <a:gd name="T34" fmla="*/ 123 w 981"/>
                  <a:gd name="T35" fmla="*/ 626 h 633"/>
                  <a:gd name="T36" fmla="*/ 78 w 981"/>
                  <a:gd name="T37" fmla="*/ 610 h 633"/>
                  <a:gd name="T38" fmla="*/ 66 w 981"/>
                  <a:gd name="T39" fmla="*/ 536 h 633"/>
                  <a:gd name="T40" fmla="*/ 52 w 981"/>
                  <a:gd name="T41" fmla="*/ 465 h 633"/>
                  <a:gd name="T42" fmla="*/ 40 w 981"/>
                  <a:gd name="T43" fmla="*/ 397 h 633"/>
                  <a:gd name="T44" fmla="*/ 31 w 981"/>
                  <a:gd name="T45" fmla="*/ 333 h 633"/>
                  <a:gd name="T46" fmla="*/ 19 w 981"/>
                  <a:gd name="T47" fmla="*/ 267 h 633"/>
                  <a:gd name="T48" fmla="*/ 7 w 981"/>
                  <a:gd name="T49" fmla="*/ 203 h 633"/>
                  <a:gd name="T50" fmla="*/ 28 w 981"/>
                  <a:gd name="T51" fmla="*/ 146 h 633"/>
                  <a:gd name="T52" fmla="*/ 57 w 981"/>
                  <a:gd name="T53" fmla="*/ 123 h 633"/>
                  <a:gd name="T54" fmla="*/ 106 w 981"/>
                  <a:gd name="T55" fmla="*/ 85 h 633"/>
                  <a:gd name="T56" fmla="*/ 139 w 981"/>
                  <a:gd name="T57" fmla="*/ 137 h 633"/>
                  <a:gd name="T58" fmla="*/ 203 w 981"/>
                  <a:gd name="T59" fmla="*/ 125 h 633"/>
                  <a:gd name="T60" fmla="*/ 267 w 981"/>
                  <a:gd name="T61" fmla="*/ 113 h 633"/>
                  <a:gd name="T62" fmla="*/ 331 w 981"/>
                  <a:gd name="T63" fmla="*/ 99 h 633"/>
                  <a:gd name="T64" fmla="*/ 395 w 981"/>
                  <a:gd name="T65" fmla="*/ 87 h 633"/>
                  <a:gd name="T66" fmla="*/ 458 w 981"/>
                  <a:gd name="T67" fmla="*/ 75 h 633"/>
                  <a:gd name="T68" fmla="*/ 520 w 981"/>
                  <a:gd name="T69" fmla="*/ 61 h 633"/>
                  <a:gd name="T70" fmla="*/ 584 w 981"/>
                  <a:gd name="T71" fmla="*/ 47 h 633"/>
                  <a:gd name="T72" fmla="*/ 647 w 981"/>
                  <a:gd name="T73" fmla="*/ 35 h 633"/>
                  <a:gd name="T74" fmla="*/ 711 w 981"/>
                  <a:gd name="T75" fmla="*/ 21 h 633"/>
                  <a:gd name="T76" fmla="*/ 775 w 981"/>
                  <a:gd name="T77" fmla="*/ 7 h 633"/>
                  <a:gd name="T78" fmla="*/ 818 w 981"/>
                  <a:gd name="T79" fmla="*/ 19 h 633"/>
                  <a:gd name="T80" fmla="*/ 844 w 981"/>
                  <a:gd name="T81" fmla="*/ 33 h 633"/>
                  <a:gd name="T82" fmla="*/ 855 w 981"/>
                  <a:gd name="T83" fmla="*/ 59 h 633"/>
                  <a:gd name="T84" fmla="*/ 877 w 981"/>
                  <a:gd name="T85" fmla="*/ 87 h 633"/>
                  <a:gd name="T86" fmla="*/ 922 w 981"/>
                  <a:gd name="T87" fmla="*/ 101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81" h="633">
                    <a:moveTo>
                      <a:pt x="926" y="108"/>
                    </a:moveTo>
                    <a:lnTo>
                      <a:pt x="917" y="118"/>
                    </a:lnTo>
                    <a:lnTo>
                      <a:pt x="912" y="125"/>
                    </a:lnTo>
                    <a:lnTo>
                      <a:pt x="910" y="132"/>
                    </a:lnTo>
                    <a:lnTo>
                      <a:pt x="903" y="158"/>
                    </a:lnTo>
                    <a:lnTo>
                      <a:pt x="891" y="184"/>
                    </a:lnTo>
                    <a:lnTo>
                      <a:pt x="879" y="198"/>
                    </a:lnTo>
                    <a:lnTo>
                      <a:pt x="879" y="203"/>
                    </a:lnTo>
                    <a:lnTo>
                      <a:pt x="891" y="219"/>
                    </a:lnTo>
                    <a:lnTo>
                      <a:pt x="893" y="224"/>
                    </a:lnTo>
                    <a:lnTo>
                      <a:pt x="889" y="238"/>
                    </a:lnTo>
                    <a:lnTo>
                      <a:pt x="881" y="245"/>
                    </a:lnTo>
                    <a:lnTo>
                      <a:pt x="881" y="253"/>
                    </a:lnTo>
                    <a:lnTo>
                      <a:pt x="881" y="264"/>
                    </a:lnTo>
                    <a:lnTo>
                      <a:pt x="889" y="283"/>
                    </a:lnTo>
                    <a:lnTo>
                      <a:pt x="891" y="286"/>
                    </a:lnTo>
                    <a:lnTo>
                      <a:pt x="905" y="290"/>
                    </a:lnTo>
                    <a:lnTo>
                      <a:pt x="919" y="312"/>
                    </a:lnTo>
                    <a:lnTo>
                      <a:pt x="929" y="314"/>
                    </a:lnTo>
                    <a:lnTo>
                      <a:pt x="981" y="357"/>
                    </a:lnTo>
                    <a:lnTo>
                      <a:pt x="957" y="378"/>
                    </a:lnTo>
                    <a:lnTo>
                      <a:pt x="941" y="394"/>
                    </a:lnTo>
                    <a:lnTo>
                      <a:pt x="936" y="404"/>
                    </a:lnTo>
                    <a:lnTo>
                      <a:pt x="924" y="425"/>
                    </a:lnTo>
                    <a:lnTo>
                      <a:pt x="900" y="437"/>
                    </a:lnTo>
                    <a:lnTo>
                      <a:pt x="891" y="446"/>
                    </a:lnTo>
                    <a:lnTo>
                      <a:pt x="889" y="451"/>
                    </a:lnTo>
                    <a:lnTo>
                      <a:pt x="872" y="449"/>
                    </a:lnTo>
                    <a:lnTo>
                      <a:pt x="853" y="454"/>
                    </a:lnTo>
                    <a:lnTo>
                      <a:pt x="846" y="458"/>
                    </a:lnTo>
                    <a:lnTo>
                      <a:pt x="844" y="463"/>
                    </a:lnTo>
                    <a:lnTo>
                      <a:pt x="834" y="482"/>
                    </a:lnTo>
                    <a:lnTo>
                      <a:pt x="799" y="491"/>
                    </a:lnTo>
                    <a:lnTo>
                      <a:pt x="761" y="498"/>
                    </a:lnTo>
                    <a:lnTo>
                      <a:pt x="725" y="508"/>
                    </a:lnTo>
                    <a:lnTo>
                      <a:pt x="688" y="515"/>
                    </a:lnTo>
                    <a:lnTo>
                      <a:pt x="652" y="522"/>
                    </a:lnTo>
                    <a:lnTo>
                      <a:pt x="614" y="532"/>
                    </a:lnTo>
                    <a:lnTo>
                      <a:pt x="579" y="539"/>
                    </a:lnTo>
                    <a:lnTo>
                      <a:pt x="541" y="546"/>
                    </a:lnTo>
                    <a:lnTo>
                      <a:pt x="506" y="553"/>
                    </a:lnTo>
                    <a:lnTo>
                      <a:pt x="468" y="560"/>
                    </a:lnTo>
                    <a:lnTo>
                      <a:pt x="432" y="567"/>
                    </a:lnTo>
                    <a:lnTo>
                      <a:pt x="395" y="574"/>
                    </a:lnTo>
                    <a:lnTo>
                      <a:pt x="359" y="581"/>
                    </a:lnTo>
                    <a:lnTo>
                      <a:pt x="321" y="588"/>
                    </a:lnTo>
                    <a:lnTo>
                      <a:pt x="286" y="595"/>
                    </a:lnTo>
                    <a:lnTo>
                      <a:pt x="248" y="603"/>
                    </a:lnTo>
                    <a:lnTo>
                      <a:pt x="227" y="607"/>
                    </a:lnTo>
                    <a:lnTo>
                      <a:pt x="205" y="610"/>
                    </a:lnTo>
                    <a:lnTo>
                      <a:pt x="187" y="614"/>
                    </a:lnTo>
                    <a:lnTo>
                      <a:pt x="165" y="619"/>
                    </a:lnTo>
                    <a:lnTo>
                      <a:pt x="144" y="621"/>
                    </a:lnTo>
                    <a:lnTo>
                      <a:pt x="123" y="626"/>
                    </a:lnTo>
                    <a:lnTo>
                      <a:pt x="101" y="629"/>
                    </a:lnTo>
                    <a:lnTo>
                      <a:pt x="83" y="633"/>
                    </a:lnTo>
                    <a:lnTo>
                      <a:pt x="78" y="610"/>
                    </a:lnTo>
                    <a:lnTo>
                      <a:pt x="73" y="586"/>
                    </a:lnTo>
                    <a:lnTo>
                      <a:pt x="68" y="560"/>
                    </a:lnTo>
                    <a:lnTo>
                      <a:pt x="66" y="536"/>
                    </a:lnTo>
                    <a:lnTo>
                      <a:pt x="61" y="513"/>
                    </a:lnTo>
                    <a:lnTo>
                      <a:pt x="57" y="489"/>
                    </a:lnTo>
                    <a:lnTo>
                      <a:pt x="52" y="465"/>
                    </a:lnTo>
                    <a:lnTo>
                      <a:pt x="49" y="442"/>
                    </a:lnTo>
                    <a:lnTo>
                      <a:pt x="45" y="420"/>
                    </a:lnTo>
                    <a:lnTo>
                      <a:pt x="40" y="397"/>
                    </a:lnTo>
                    <a:lnTo>
                      <a:pt x="38" y="376"/>
                    </a:lnTo>
                    <a:lnTo>
                      <a:pt x="33" y="354"/>
                    </a:lnTo>
                    <a:lnTo>
                      <a:pt x="31" y="333"/>
                    </a:lnTo>
                    <a:lnTo>
                      <a:pt x="26" y="312"/>
                    </a:lnTo>
                    <a:lnTo>
                      <a:pt x="21" y="288"/>
                    </a:lnTo>
                    <a:lnTo>
                      <a:pt x="19" y="267"/>
                    </a:lnTo>
                    <a:lnTo>
                      <a:pt x="14" y="245"/>
                    </a:lnTo>
                    <a:lnTo>
                      <a:pt x="12" y="224"/>
                    </a:lnTo>
                    <a:lnTo>
                      <a:pt x="7" y="203"/>
                    </a:lnTo>
                    <a:lnTo>
                      <a:pt x="5" y="179"/>
                    </a:lnTo>
                    <a:lnTo>
                      <a:pt x="0" y="163"/>
                    </a:lnTo>
                    <a:lnTo>
                      <a:pt x="28" y="146"/>
                    </a:lnTo>
                    <a:lnTo>
                      <a:pt x="40" y="137"/>
                    </a:lnTo>
                    <a:lnTo>
                      <a:pt x="49" y="130"/>
                    </a:lnTo>
                    <a:lnTo>
                      <a:pt x="57" y="123"/>
                    </a:lnTo>
                    <a:lnTo>
                      <a:pt x="64" y="118"/>
                    </a:lnTo>
                    <a:lnTo>
                      <a:pt x="106" y="82"/>
                    </a:lnTo>
                    <a:lnTo>
                      <a:pt x="106" y="85"/>
                    </a:lnTo>
                    <a:lnTo>
                      <a:pt x="113" y="113"/>
                    </a:lnTo>
                    <a:lnTo>
                      <a:pt x="118" y="139"/>
                    </a:lnTo>
                    <a:lnTo>
                      <a:pt x="139" y="137"/>
                    </a:lnTo>
                    <a:lnTo>
                      <a:pt x="161" y="132"/>
                    </a:lnTo>
                    <a:lnTo>
                      <a:pt x="182" y="127"/>
                    </a:lnTo>
                    <a:lnTo>
                      <a:pt x="203" y="125"/>
                    </a:lnTo>
                    <a:lnTo>
                      <a:pt x="224" y="120"/>
                    </a:lnTo>
                    <a:lnTo>
                      <a:pt x="246" y="115"/>
                    </a:lnTo>
                    <a:lnTo>
                      <a:pt x="267" y="113"/>
                    </a:lnTo>
                    <a:lnTo>
                      <a:pt x="288" y="108"/>
                    </a:lnTo>
                    <a:lnTo>
                      <a:pt x="309" y="104"/>
                    </a:lnTo>
                    <a:lnTo>
                      <a:pt x="331" y="99"/>
                    </a:lnTo>
                    <a:lnTo>
                      <a:pt x="352" y="97"/>
                    </a:lnTo>
                    <a:lnTo>
                      <a:pt x="373" y="92"/>
                    </a:lnTo>
                    <a:lnTo>
                      <a:pt x="395" y="87"/>
                    </a:lnTo>
                    <a:lnTo>
                      <a:pt x="416" y="82"/>
                    </a:lnTo>
                    <a:lnTo>
                      <a:pt x="437" y="78"/>
                    </a:lnTo>
                    <a:lnTo>
                      <a:pt x="458" y="75"/>
                    </a:lnTo>
                    <a:lnTo>
                      <a:pt x="477" y="71"/>
                    </a:lnTo>
                    <a:lnTo>
                      <a:pt x="499" y="66"/>
                    </a:lnTo>
                    <a:lnTo>
                      <a:pt x="520" y="61"/>
                    </a:lnTo>
                    <a:lnTo>
                      <a:pt x="541" y="56"/>
                    </a:lnTo>
                    <a:lnTo>
                      <a:pt x="562" y="52"/>
                    </a:lnTo>
                    <a:lnTo>
                      <a:pt x="584" y="47"/>
                    </a:lnTo>
                    <a:lnTo>
                      <a:pt x="605" y="42"/>
                    </a:lnTo>
                    <a:lnTo>
                      <a:pt x="626" y="37"/>
                    </a:lnTo>
                    <a:lnTo>
                      <a:pt x="647" y="35"/>
                    </a:lnTo>
                    <a:lnTo>
                      <a:pt x="669" y="30"/>
                    </a:lnTo>
                    <a:lnTo>
                      <a:pt x="690" y="26"/>
                    </a:lnTo>
                    <a:lnTo>
                      <a:pt x="711" y="21"/>
                    </a:lnTo>
                    <a:lnTo>
                      <a:pt x="733" y="16"/>
                    </a:lnTo>
                    <a:lnTo>
                      <a:pt x="754" y="11"/>
                    </a:lnTo>
                    <a:lnTo>
                      <a:pt x="775" y="7"/>
                    </a:lnTo>
                    <a:lnTo>
                      <a:pt x="796" y="0"/>
                    </a:lnTo>
                    <a:lnTo>
                      <a:pt x="811" y="9"/>
                    </a:lnTo>
                    <a:lnTo>
                      <a:pt x="818" y="19"/>
                    </a:lnTo>
                    <a:lnTo>
                      <a:pt x="837" y="23"/>
                    </a:lnTo>
                    <a:lnTo>
                      <a:pt x="844" y="26"/>
                    </a:lnTo>
                    <a:lnTo>
                      <a:pt x="844" y="33"/>
                    </a:lnTo>
                    <a:lnTo>
                      <a:pt x="853" y="37"/>
                    </a:lnTo>
                    <a:lnTo>
                      <a:pt x="853" y="49"/>
                    </a:lnTo>
                    <a:lnTo>
                      <a:pt x="855" y="59"/>
                    </a:lnTo>
                    <a:lnTo>
                      <a:pt x="860" y="71"/>
                    </a:lnTo>
                    <a:lnTo>
                      <a:pt x="867" y="80"/>
                    </a:lnTo>
                    <a:lnTo>
                      <a:pt x="877" y="87"/>
                    </a:lnTo>
                    <a:lnTo>
                      <a:pt x="884" y="94"/>
                    </a:lnTo>
                    <a:lnTo>
                      <a:pt x="915" y="97"/>
                    </a:lnTo>
                    <a:lnTo>
                      <a:pt x="922" y="101"/>
                    </a:lnTo>
                    <a:lnTo>
                      <a:pt x="926" y="10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43" name="Freeform 81">
                <a:extLst>
                  <a:ext uri="{FF2B5EF4-FFF2-40B4-BE49-F238E27FC236}">
                    <a16:creationId xmlns:a16="http://schemas.microsoft.com/office/drawing/2014/main" id="{79124C9E-0226-F12B-49B1-81B618C623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62" y="166"/>
                <a:ext cx="114" cy="158"/>
              </a:xfrm>
              <a:custGeom>
                <a:avLst/>
                <a:gdLst>
                  <a:gd name="T0" fmla="*/ 104 w 114"/>
                  <a:gd name="T1" fmla="*/ 56 h 158"/>
                  <a:gd name="T2" fmla="*/ 100 w 114"/>
                  <a:gd name="T3" fmla="*/ 63 h 158"/>
                  <a:gd name="T4" fmla="*/ 90 w 114"/>
                  <a:gd name="T5" fmla="*/ 56 h 158"/>
                  <a:gd name="T6" fmla="*/ 85 w 114"/>
                  <a:gd name="T7" fmla="*/ 49 h 158"/>
                  <a:gd name="T8" fmla="*/ 81 w 114"/>
                  <a:gd name="T9" fmla="*/ 44 h 158"/>
                  <a:gd name="T10" fmla="*/ 76 w 114"/>
                  <a:gd name="T11" fmla="*/ 44 h 158"/>
                  <a:gd name="T12" fmla="*/ 83 w 114"/>
                  <a:gd name="T13" fmla="*/ 63 h 158"/>
                  <a:gd name="T14" fmla="*/ 78 w 114"/>
                  <a:gd name="T15" fmla="*/ 80 h 158"/>
                  <a:gd name="T16" fmla="*/ 85 w 114"/>
                  <a:gd name="T17" fmla="*/ 115 h 158"/>
                  <a:gd name="T18" fmla="*/ 78 w 114"/>
                  <a:gd name="T19" fmla="*/ 134 h 158"/>
                  <a:gd name="T20" fmla="*/ 43 w 114"/>
                  <a:gd name="T21" fmla="*/ 156 h 158"/>
                  <a:gd name="T22" fmla="*/ 31 w 114"/>
                  <a:gd name="T23" fmla="*/ 158 h 158"/>
                  <a:gd name="T24" fmla="*/ 31 w 114"/>
                  <a:gd name="T25" fmla="*/ 144 h 158"/>
                  <a:gd name="T26" fmla="*/ 33 w 114"/>
                  <a:gd name="T27" fmla="*/ 139 h 158"/>
                  <a:gd name="T28" fmla="*/ 31 w 114"/>
                  <a:gd name="T29" fmla="*/ 125 h 158"/>
                  <a:gd name="T30" fmla="*/ 29 w 114"/>
                  <a:gd name="T31" fmla="*/ 118 h 158"/>
                  <a:gd name="T32" fmla="*/ 24 w 114"/>
                  <a:gd name="T33" fmla="*/ 104 h 158"/>
                  <a:gd name="T34" fmla="*/ 19 w 114"/>
                  <a:gd name="T35" fmla="*/ 87 h 158"/>
                  <a:gd name="T36" fmla="*/ 15 w 114"/>
                  <a:gd name="T37" fmla="*/ 70 h 158"/>
                  <a:gd name="T38" fmla="*/ 12 w 114"/>
                  <a:gd name="T39" fmla="*/ 54 h 158"/>
                  <a:gd name="T40" fmla="*/ 7 w 114"/>
                  <a:gd name="T41" fmla="*/ 44 h 158"/>
                  <a:gd name="T42" fmla="*/ 3 w 114"/>
                  <a:gd name="T43" fmla="*/ 28 h 158"/>
                  <a:gd name="T44" fmla="*/ 0 w 114"/>
                  <a:gd name="T45" fmla="*/ 18 h 158"/>
                  <a:gd name="T46" fmla="*/ 12 w 114"/>
                  <a:gd name="T47" fmla="*/ 14 h 158"/>
                  <a:gd name="T48" fmla="*/ 29 w 114"/>
                  <a:gd name="T49" fmla="*/ 9 h 158"/>
                  <a:gd name="T50" fmla="*/ 43 w 114"/>
                  <a:gd name="T51" fmla="*/ 7 h 158"/>
                  <a:gd name="T52" fmla="*/ 52 w 114"/>
                  <a:gd name="T53" fmla="*/ 2 h 158"/>
                  <a:gd name="T54" fmla="*/ 64 w 114"/>
                  <a:gd name="T55" fmla="*/ 0 h 158"/>
                  <a:gd name="T56" fmla="*/ 67 w 114"/>
                  <a:gd name="T57" fmla="*/ 9 h 158"/>
                  <a:gd name="T58" fmla="*/ 71 w 114"/>
                  <a:gd name="T59" fmla="*/ 23 h 158"/>
                  <a:gd name="T60" fmla="*/ 78 w 114"/>
                  <a:gd name="T61" fmla="*/ 23 h 158"/>
                  <a:gd name="T62" fmla="*/ 81 w 114"/>
                  <a:gd name="T63" fmla="*/ 35 h 158"/>
                  <a:gd name="T64" fmla="*/ 83 w 114"/>
                  <a:gd name="T65" fmla="*/ 42 h 158"/>
                  <a:gd name="T66" fmla="*/ 90 w 114"/>
                  <a:gd name="T67" fmla="*/ 44 h 158"/>
                  <a:gd name="T68" fmla="*/ 97 w 114"/>
                  <a:gd name="T69" fmla="*/ 49 h 158"/>
                  <a:gd name="T70" fmla="*/ 104 w 114"/>
                  <a:gd name="T71" fmla="*/ 56 h 158"/>
                  <a:gd name="T72" fmla="*/ 114 w 114"/>
                  <a:gd name="T73" fmla="*/ 99 h 158"/>
                  <a:gd name="T74" fmla="*/ 109 w 114"/>
                  <a:gd name="T75" fmla="*/ 108 h 158"/>
                  <a:gd name="T76" fmla="*/ 100 w 114"/>
                  <a:gd name="T77" fmla="*/ 108 h 158"/>
                  <a:gd name="T78" fmla="*/ 102 w 114"/>
                  <a:gd name="T79" fmla="*/ 101 h 158"/>
                  <a:gd name="T80" fmla="*/ 100 w 114"/>
                  <a:gd name="T81" fmla="*/ 89 h 158"/>
                  <a:gd name="T82" fmla="*/ 102 w 114"/>
                  <a:gd name="T83" fmla="*/ 75 h 158"/>
                  <a:gd name="T84" fmla="*/ 102 w 114"/>
                  <a:gd name="T85" fmla="*/ 70 h 158"/>
                  <a:gd name="T86" fmla="*/ 107 w 114"/>
                  <a:gd name="T87" fmla="*/ 66 h 158"/>
                  <a:gd name="T88" fmla="*/ 114 w 114"/>
                  <a:gd name="T89" fmla="*/ 99 h 158"/>
                  <a:gd name="T90" fmla="*/ 97 w 114"/>
                  <a:gd name="T91" fmla="*/ 106 h 158"/>
                  <a:gd name="T92" fmla="*/ 93 w 114"/>
                  <a:gd name="T93" fmla="*/ 111 h 158"/>
                  <a:gd name="T94" fmla="*/ 88 w 114"/>
                  <a:gd name="T95" fmla="*/ 101 h 158"/>
                  <a:gd name="T96" fmla="*/ 88 w 114"/>
                  <a:gd name="T97" fmla="*/ 89 h 158"/>
                  <a:gd name="T98" fmla="*/ 93 w 114"/>
                  <a:gd name="T99" fmla="*/ 89 h 158"/>
                  <a:gd name="T100" fmla="*/ 95 w 114"/>
                  <a:gd name="T101" fmla="*/ 94 h 158"/>
                  <a:gd name="T102" fmla="*/ 97 w 114"/>
                  <a:gd name="T103" fmla="*/ 106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4" h="158">
                    <a:moveTo>
                      <a:pt x="104" y="56"/>
                    </a:moveTo>
                    <a:lnTo>
                      <a:pt x="100" y="63"/>
                    </a:lnTo>
                    <a:lnTo>
                      <a:pt x="90" y="56"/>
                    </a:lnTo>
                    <a:lnTo>
                      <a:pt x="85" y="49"/>
                    </a:lnTo>
                    <a:lnTo>
                      <a:pt x="81" y="44"/>
                    </a:lnTo>
                    <a:lnTo>
                      <a:pt x="76" y="44"/>
                    </a:lnTo>
                    <a:lnTo>
                      <a:pt x="83" y="63"/>
                    </a:lnTo>
                    <a:lnTo>
                      <a:pt x="78" y="80"/>
                    </a:lnTo>
                    <a:lnTo>
                      <a:pt x="85" y="115"/>
                    </a:lnTo>
                    <a:lnTo>
                      <a:pt x="78" y="134"/>
                    </a:lnTo>
                    <a:lnTo>
                      <a:pt x="43" y="156"/>
                    </a:lnTo>
                    <a:lnTo>
                      <a:pt x="31" y="158"/>
                    </a:lnTo>
                    <a:lnTo>
                      <a:pt x="31" y="144"/>
                    </a:lnTo>
                    <a:lnTo>
                      <a:pt x="33" y="139"/>
                    </a:lnTo>
                    <a:lnTo>
                      <a:pt x="31" y="125"/>
                    </a:lnTo>
                    <a:lnTo>
                      <a:pt x="29" y="118"/>
                    </a:lnTo>
                    <a:lnTo>
                      <a:pt x="24" y="104"/>
                    </a:lnTo>
                    <a:lnTo>
                      <a:pt x="19" y="87"/>
                    </a:lnTo>
                    <a:lnTo>
                      <a:pt x="15" y="70"/>
                    </a:lnTo>
                    <a:lnTo>
                      <a:pt x="12" y="54"/>
                    </a:lnTo>
                    <a:lnTo>
                      <a:pt x="7" y="44"/>
                    </a:lnTo>
                    <a:lnTo>
                      <a:pt x="3" y="28"/>
                    </a:lnTo>
                    <a:lnTo>
                      <a:pt x="0" y="18"/>
                    </a:lnTo>
                    <a:lnTo>
                      <a:pt x="12" y="14"/>
                    </a:lnTo>
                    <a:lnTo>
                      <a:pt x="29" y="9"/>
                    </a:lnTo>
                    <a:lnTo>
                      <a:pt x="43" y="7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7" y="9"/>
                    </a:lnTo>
                    <a:lnTo>
                      <a:pt x="71" y="23"/>
                    </a:lnTo>
                    <a:lnTo>
                      <a:pt x="78" y="23"/>
                    </a:lnTo>
                    <a:lnTo>
                      <a:pt x="81" y="35"/>
                    </a:lnTo>
                    <a:lnTo>
                      <a:pt x="83" y="42"/>
                    </a:lnTo>
                    <a:lnTo>
                      <a:pt x="90" y="44"/>
                    </a:lnTo>
                    <a:lnTo>
                      <a:pt x="97" y="49"/>
                    </a:lnTo>
                    <a:lnTo>
                      <a:pt x="104" y="56"/>
                    </a:lnTo>
                    <a:close/>
                    <a:moveTo>
                      <a:pt x="114" y="99"/>
                    </a:moveTo>
                    <a:lnTo>
                      <a:pt x="109" y="108"/>
                    </a:lnTo>
                    <a:lnTo>
                      <a:pt x="100" y="108"/>
                    </a:lnTo>
                    <a:lnTo>
                      <a:pt x="102" y="101"/>
                    </a:lnTo>
                    <a:lnTo>
                      <a:pt x="100" y="89"/>
                    </a:lnTo>
                    <a:lnTo>
                      <a:pt x="102" y="75"/>
                    </a:lnTo>
                    <a:lnTo>
                      <a:pt x="102" y="70"/>
                    </a:lnTo>
                    <a:lnTo>
                      <a:pt x="107" y="66"/>
                    </a:lnTo>
                    <a:lnTo>
                      <a:pt x="114" y="99"/>
                    </a:lnTo>
                    <a:close/>
                    <a:moveTo>
                      <a:pt x="97" y="106"/>
                    </a:moveTo>
                    <a:lnTo>
                      <a:pt x="93" y="111"/>
                    </a:lnTo>
                    <a:lnTo>
                      <a:pt x="88" y="101"/>
                    </a:lnTo>
                    <a:lnTo>
                      <a:pt x="88" y="89"/>
                    </a:lnTo>
                    <a:lnTo>
                      <a:pt x="93" y="89"/>
                    </a:lnTo>
                    <a:lnTo>
                      <a:pt x="95" y="94"/>
                    </a:lnTo>
                    <a:lnTo>
                      <a:pt x="97" y="10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44" name="Freeform 82">
                <a:extLst>
                  <a:ext uri="{FF2B5EF4-FFF2-40B4-BE49-F238E27FC236}">
                    <a16:creationId xmlns:a16="http://schemas.microsoft.com/office/drawing/2014/main" id="{AE1F2A93-2C05-4EB3-1574-926A4230A1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0" y="1918"/>
                <a:ext cx="856" cy="643"/>
              </a:xfrm>
              <a:custGeom>
                <a:avLst/>
                <a:gdLst>
                  <a:gd name="T0" fmla="*/ 813 w 856"/>
                  <a:gd name="T1" fmla="*/ 227 h 643"/>
                  <a:gd name="T2" fmla="*/ 770 w 856"/>
                  <a:gd name="T3" fmla="*/ 338 h 643"/>
                  <a:gd name="T4" fmla="*/ 759 w 856"/>
                  <a:gd name="T5" fmla="*/ 307 h 643"/>
                  <a:gd name="T6" fmla="*/ 761 w 856"/>
                  <a:gd name="T7" fmla="*/ 364 h 643"/>
                  <a:gd name="T8" fmla="*/ 711 w 856"/>
                  <a:gd name="T9" fmla="*/ 402 h 643"/>
                  <a:gd name="T10" fmla="*/ 681 w 856"/>
                  <a:gd name="T11" fmla="*/ 454 h 643"/>
                  <a:gd name="T12" fmla="*/ 662 w 856"/>
                  <a:gd name="T13" fmla="*/ 482 h 643"/>
                  <a:gd name="T14" fmla="*/ 622 w 856"/>
                  <a:gd name="T15" fmla="*/ 506 h 643"/>
                  <a:gd name="T16" fmla="*/ 593 w 856"/>
                  <a:gd name="T17" fmla="*/ 529 h 643"/>
                  <a:gd name="T18" fmla="*/ 546 w 856"/>
                  <a:gd name="T19" fmla="*/ 536 h 643"/>
                  <a:gd name="T20" fmla="*/ 577 w 856"/>
                  <a:gd name="T21" fmla="*/ 565 h 643"/>
                  <a:gd name="T22" fmla="*/ 558 w 856"/>
                  <a:gd name="T23" fmla="*/ 581 h 643"/>
                  <a:gd name="T24" fmla="*/ 541 w 856"/>
                  <a:gd name="T25" fmla="*/ 565 h 643"/>
                  <a:gd name="T26" fmla="*/ 518 w 856"/>
                  <a:gd name="T27" fmla="*/ 555 h 643"/>
                  <a:gd name="T28" fmla="*/ 536 w 856"/>
                  <a:gd name="T29" fmla="*/ 591 h 643"/>
                  <a:gd name="T30" fmla="*/ 536 w 856"/>
                  <a:gd name="T31" fmla="*/ 617 h 643"/>
                  <a:gd name="T32" fmla="*/ 518 w 856"/>
                  <a:gd name="T33" fmla="*/ 636 h 643"/>
                  <a:gd name="T34" fmla="*/ 468 w 856"/>
                  <a:gd name="T35" fmla="*/ 619 h 643"/>
                  <a:gd name="T36" fmla="*/ 428 w 856"/>
                  <a:gd name="T37" fmla="*/ 546 h 643"/>
                  <a:gd name="T38" fmla="*/ 380 w 856"/>
                  <a:gd name="T39" fmla="*/ 473 h 643"/>
                  <a:gd name="T40" fmla="*/ 321 w 856"/>
                  <a:gd name="T41" fmla="*/ 428 h 643"/>
                  <a:gd name="T42" fmla="*/ 293 w 856"/>
                  <a:gd name="T43" fmla="*/ 399 h 643"/>
                  <a:gd name="T44" fmla="*/ 269 w 856"/>
                  <a:gd name="T45" fmla="*/ 364 h 643"/>
                  <a:gd name="T46" fmla="*/ 201 w 856"/>
                  <a:gd name="T47" fmla="*/ 309 h 643"/>
                  <a:gd name="T48" fmla="*/ 104 w 856"/>
                  <a:gd name="T49" fmla="*/ 210 h 643"/>
                  <a:gd name="T50" fmla="*/ 87 w 856"/>
                  <a:gd name="T51" fmla="*/ 191 h 643"/>
                  <a:gd name="T52" fmla="*/ 35 w 856"/>
                  <a:gd name="T53" fmla="*/ 170 h 643"/>
                  <a:gd name="T54" fmla="*/ 5 w 856"/>
                  <a:gd name="T55" fmla="*/ 130 h 643"/>
                  <a:gd name="T56" fmla="*/ 33 w 856"/>
                  <a:gd name="T57" fmla="*/ 85 h 643"/>
                  <a:gd name="T58" fmla="*/ 87 w 856"/>
                  <a:gd name="T59" fmla="*/ 59 h 643"/>
                  <a:gd name="T60" fmla="*/ 139 w 856"/>
                  <a:gd name="T61" fmla="*/ 33 h 643"/>
                  <a:gd name="T62" fmla="*/ 184 w 856"/>
                  <a:gd name="T63" fmla="*/ 21 h 643"/>
                  <a:gd name="T64" fmla="*/ 265 w 856"/>
                  <a:gd name="T65" fmla="*/ 11 h 643"/>
                  <a:gd name="T66" fmla="*/ 347 w 856"/>
                  <a:gd name="T67" fmla="*/ 2 h 643"/>
                  <a:gd name="T68" fmla="*/ 383 w 856"/>
                  <a:gd name="T69" fmla="*/ 4 h 643"/>
                  <a:gd name="T70" fmla="*/ 402 w 856"/>
                  <a:gd name="T71" fmla="*/ 4 h 643"/>
                  <a:gd name="T72" fmla="*/ 435 w 856"/>
                  <a:gd name="T73" fmla="*/ 42 h 643"/>
                  <a:gd name="T74" fmla="*/ 487 w 856"/>
                  <a:gd name="T75" fmla="*/ 52 h 643"/>
                  <a:gd name="T76" fmla="*/ 560 w 856"/>
                  <a:gd name="T77" fmla="*/ 42 h 643"/>
                  <a:gd name="T78" fmla="*/ 631 w 856"/>
                  <a:gd name="T79" fmla="*/ 30 h 643"/>
                  <a:gd name="T80" fmla="*/ 714 w 856"/>
                  <a:gd name="T81" fmla="*/ 89 h 643"/>
                  <a:gd name="T82" fmla="*/ 796 w 856"/>
                  <a:gd name="T83" fmla="*/ 146 h 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56" h="643">
                    <a:moveTo>
                      <a:pt x="856" y="186"/>
                    </a:moveTo>
                    <a:lnTo>
                      <a:pt x="853" y="189"/>
                    </a:lnTo>
                    <a:lnTo>
                      <a:pt x="813" y="227"/>
                    </a:lnTo>
                    <a:lnTo>
                      <a:pt x="801" y="243"/>
                    </a:lnTo>
                    <a:lnTo>
                      <a:pt x="775" y="302"/>
                    </a:lnTo>
                    <a:lnTo>
                      <a:pt x="770" y="338"/>
                    </a:lnTo>
                    <a:lnTo>
                      <a:pt x="761" y="326"/>
                    </a:lnTo>
                    <a:lnTo>
                      <a:pt x="761" y="314"/>
                    </a:lnTo>
                    <a:lnTo>
                      <a:pt x="759" y="307"/>
                    </a:lnTo>
                    <a:lnTo>
                      <a:pt x="754" y="326"/>
                    </a:lnTo>
                    <a:lnTo>
                      <a:pt x="766" y="352"/>
                    </a:lnTo>
                    <a:lnTo>
                      <a:pt x="761" y="364"/>
                    </a:lnTo>
                    <a:lnTo>
                      <a:pt x="740" y="387"/>
                    </a:lnTo>
                    <a:lnTo>
                      <a:pt x="726" y="394"/>
                    </a:lnTo>
                    <a:lnTo>
                      <a:pt x="711" y="402"/>
                    </a:lnTo>
                    <a:lnTo>
                      <a:pt x="709" y="423"/>
                    </a:lnTo>
                    <a:lnTo>
                      <a:pt x="692" y="444"/>
                    </a:lnTo>
                    <a:lnTo>
                      <a:pt x="681" y="454"/>
                    </a:lnTo>
                    <a:lnTo>
                      <a:pt x="657" y="454"/>
                    </a:lnTo>
                    <a:lnTo>
                      <a:pt x="669" y="468"/>
                    </a:lnTo>
                    <a:lnTo>
                      <a:pt x="662" y="482"/>
                    </a:lnTo>
                    <a:lnTo>
                      <a:pt x="650" y="494"/>
                    </a:lnTo>
                    <a:lnTo>
                      <a:pt x="633" y="503"/>
                    </a:lnTo>
                    <a:lnTo>
                      <a:pt x="622" y="506"/>
                    </a:lnTo>
                    <a:lnTo>
                      <a:pt x="614" y="510"/>
                    </a:lnTo>
                    <a:lnTo>
                      <a:pt x="610" y="520"/>
                    </a:lnTo>
                    <a:lnTo>
                      <a:pt x="593" y="529"/>
                    </a:lnTo>
                    <a:lnTo>
                      <a:pt x="577" y="529"/>
                    </a:lnTo>
                    <a:lnTo>
                      <a:pt x="555" y="529"/>
                    </a:lnTo>
                    <a:lnTo>
                      <a:pt x="546" y="536"/>
                    </a:lnTo>
                    <a:lnTo>
                      <a:pt x="565" y="541"/>
                    </a:lnTo>
                    <a:lnTo>
                      <a:pt x="577" y="551"/>
                    </a:lnTo>
                    <a:lnTo>
                      <a:pt x="577" y="565"/>
                    </a:lnTo>
                    <a:lnTo>
                      <a:pt x="574" y="572"/>
                    </a:lnTo>
                    <a:lnTo>
                      <a:pt x="562" y="581"/>
                    </a:lnTo>
                    <a:lnTo>
                      <a:pt x="558" y="581"/>
                    </a:lnTo>
                    <a:lnTo>
                      <a:pt x="553" y="574"/>
                    </a:lnTo>
                    <a:lnTo>
                      <a:pt x="548" y="560"/>
                    </a:lnTo>
                    <a:lnTo>
                      <a:pt x="541" y="565"/>
                    </a:lnTo>
                    <a:lnTo>
                      <a:pt x="544" y="572"/>
                    </a:lnTo>
                    <a:lnTo>
                      <a:pt x="539" y="574"/>
                    </a:lnTo>
                    <a:lnTo>
                      <a:pt x="518" y="555"/>
                    </a:lnTo>
                    <a:lnTo>
                      <a:pt x="522" y="572"/>
                    </a:lnTo>
                    <a:lnTo>
                      <a:pt x="529" y="584"/>
                    </a:lnTo>
                    <a:lnTo>
                      <a:pt x="536" y="591"/>
                    </a:lnTo>
                    <a:lnTo>
                      <a:pt x="544" y="593"/>
                    </a:lnTo>
                    <a:lnTo>
                      <a:pt x="546" y="600"/>
                    </a:lnTo>
                    <a:lnTo>
                      <a:pt x="536" y="617"/>
                    </a:lnTo>
                    <a:lnTo>
                      <a:pt x="532" y="621"/>
                    </a:lnTo>
                    <a:lnTo>
                      <a:pt x="522" y="626"/>
                    </a:lnTo>
                    <a:lnTo>
                      <a:pt x="518" y="636"/>
                    </a:lnTo>
                    <a:lnTo>
                      <a:pt x="520" y="643"/>
                    </a:lnTo>
                    <a:lnTo>
                      <a:pt x="482" y="633"/>
                    </a:lnTo>
                    <a:lnTo>
                      <a:pt x="468" y="619"/>
                    </a:lnTo>
                    <a:lnTo>
                      <a:pt x="466" y="600"/>
                    </a:lnTo>
                    <a:lnTo>
                      <a:pt x="456" y="579"/>
                    </a:lnTo>
                    <a:lnTo>
                      <a:pt x="428" y="546"/>
                    </a:lnTo>
                    <a:lnTo>
                      <a:pt x="411" y="539"/>
                    </a:lnTo>
                    <a:lnTo>
                      <a:pt x="397" y="515"/>
                    </a:lnTo>
                    <a:lnTo>
                      <a:pt x="380" y="473"/>
                    </a:lnTo>
                    <a:lnTo>
                      <a:pt x="359" y="447"/>
                    </a:lnTo>
                    <a:lnTo>
                      <a:pt x="338" y="439"/>
                    </a:lnTo>
                    <a:lnTo>
                      <a:pt x="321" y="428"/>
                    </a:lnTo>
                    <a:lnTo>
                      <a:pt x="312" y="411"/>
                    </a:lnTo>
                    <a:lnTo>
                      <a:pt x="302" y="402"/>
                    </a:lnTo>
                    <a:lnTo>
                      <a:pt x="293" y="399"/>
                    </a:lnTo>
                    <a:lnTo>
                      <a:pt x="288" y="390"/>
                    </a:lnTo>
                    <a:lnTo>
                      <a:pt x="286" y="378"/>
                    </a:lnTo>
                    <a:lnTo>
                      <a:pt x="269" y="364"/>
                    </a:lnTo>
                    <a:lnTo>
                      <a:pt x="232" y="340"/>
                    </a:lnTo>
                    <a:lnTo>
                      <a:pt x="220" y="324"/>
                    </a:lnTo>
                    <a:lnTo>
                      <a:pt x="201" y="309"/>
                    </a:lnTo>
                    <a:lnTo>
                      <a:pt x="154" y="276"/>
                    </a:lnTo>
                    <a:lnTo>
                      <a:pt x="154" y="276"/>
                    </a:lnTo>
                    <a:lnTo>
                      <a:pt x="104" y="210"/>
                    </a:lnTo>
                    <a:lnTo>
                      <a:pt x="104" y="210"/>
                    </a:lnTo>
                    <a:lnTo>
                      <a:pt x="94" y="196"/>
                    </a:lnTo>
                    <a:lnTo>
                      <a:pt x="87" y="191"/>
                    </a:lnTo>
                    <a:lnTo>
                      <a:pt x="73" y="191"/>
                    </a:lnTo>
                    <a:lnTo>
                      <a:pt x="59" y="186"/>
                    </a:lnTo>
                    <a:lnTo>
                      <a:pt x="35" y="170"/>
                    </a:lnTo>
                    <a:lnTo>
                      <a:pt x="35" y="170"/>
                    </a:lnTo>
                    <a:lnTo>
                      <a:pt x="0" y="151"/>
                    </a:lnTo>
                    <a:lnTo>
                      <a:pt x="5" y="130"/>
                    </a:lnTo>
                    <a:lnTo>
                      <a:pt x="26" y="101"/>
                    </a:lnTo>
                    <a:lnTo>
                      <a:pt x="31" y="85"/>
                    </a:lnTo>
                    <a:lnTo>
                      <a:pt x="33" y="85"/>
                    </a:lnTo>
                    <a:lnTo>
                      <a:pt x="35" y="85"/>
                    </a:lnTo>
                    <a:lnTo>
                      <a:pt x="61" y="73"/>
                    </a:lnTo>
                    <a:lnTo>
                      <a:pt x="87" y="59"/>
                    </a:lnTo>
                    <a:lnTo>
                      <a:pt x="94" y="59"/>
                    </a:lnTo>
                    <a:lnTo>
                      <a:pt x="109" y="47"/>
                    </a:lnTo>
                    <a:lnTo>
                      <a:pt x="139" y="33"/>
                    </a:lnTo>
                    <a:lnTo>
                      <a:pt x="149" y="23"/>
                    </a:lnTo>
                    <a:lnTo>
                      <a:pt x="156" y="23"/>
                    </a:lnTo>
                    <a:lnTo>
                      <a:pt x="184" y="21"/>
                    </a:lnTo>
                    <a:lnTo>
                      <a:pt x="210" y="19"/>
                    </a:lnTo>
                    <a:lnTo>
                      <a:pt x="239" y="16"/>
                    </a:lnTo>
                    <a:lnTo>
                      <a:pt x="265" y="11"/>
                    </a:lnTo>
                    <a:lnTo>
                      <a:pt x="293" y="9"/>
                    </a:lnTo>
                    <a:lnTo>
                      <a:pt x="319" y="7"/>
                    </a:lnTo>
                    <a:lnTo>
                      <a:pt x="347" y="2"/>
                    </a:lnTo>
                    <a:lnTo>
                      <a:pt x="373" y="0"/>
                    </a:lnTo>
                    <a:lnTo>
                      <a:pt x="380" y="0"/>
                    </a:lnTo>
                    <a:lnTo>
                      <a:pt x="383" y="4"/>
                    </a:lnTo>
                    <a:lnTo>
                      <a:pt x="383" y="11"/>
                    </a:lnTo>
                    <a:lnTo>
                      <a:pt x="385" y="16"/>
                    </a:lnTo>
                    <a:lnTo>
                      <a:pt x="402" y="4"/>
                    </a:lnTo>
                    <a:lnTo>
                      <a:pt x="414" y="14"/>
                    </a:lnTo>
                    <a:lnTo>
                      <a:pt x="432" y="30"/>
                    </a:lnTo>
                    <a:lnTo>
                      <a:pt x="435" y="42"/>
                    </a:lnTo>
                    <a:lnTo>
                      <a:pt x="437" y="59"/>
                    </a:lnTo>
                    <a:lnTo>
                      <a:pt x="461" y="56"/>
                    </a:lnTo>
                    <a:lnTo>
                      <a:pt x="487" y="52"/>
                    </a:lnTo>
                    <a:lnTo>
                      <a:pt x="510" y="49"/>
                    </a:lnTo>
                    <a:lnTo>
                      <a:pt x="534" y="45"/>
                    </a:lnTo>
                    <a:lnTo>
                      <a:pt x="560" y="42"/>
                    </a:lnTo>
                    <a:lnTo>
                      <a:pt x="584" y="37"/>
                    </a:lnTo>
                    <a:lnTo>
                      <a:pt x="607" y="35"/>
                    </a:lnTo>
                    <a:lnTo>
                      <a:pt x="631" y="30"/>
                    </a:lnTo>
                    <a:lnTo>
                      <a:pt x="659" y="52"/>
                    </a:lnTo>
                    <a:lnTo>
                      <a:pt x="688" y="71"/>
                    </a:lnTo>
                    <a:lnTo>
                      <a:pt x="714" y="89"/>
                    </a:lnTo>
                    <a:lnTo>
                      <a:pt x="742" y="108"/>
                    </a:lnTo>
                    <a:lnTo>
                      <a:pt x="770" y="127"/>
                    </a:lnTo>
                    <a:lnTo>
                      <a:pt x="796" y="146"/>
                    </a:lnTo>
                    <a:lnTo>
                      <a:pt x="825" y="167"/>
                    </a:lnTo>
                    <a:lnTo>
                      <a:pt x="856" y="18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45" name="Freeform 83">
                <a:extLst>
                  <a:ext uri="{FF2B5EF4-FFF2-40B4-BE49-F238E27FC236}">
                    <a16:creationId xmlns:a16="http://schemas.microsoft.com/office/drawing/2014/main" id="{C5A91C7A-48A3-3F3F-4E0C-F33E3503EF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8" y="-196"/>
                <a:ext cx="1172" cy="778"/>
              </a:xfrm>
              <a:custGeom>
                <a:avLst/>
                <a:gdLst>
                  <a:gd name="T0" fmla="*/ 1153 w 1172"/>
                  <a:gd name="T1" fmla="*/ 73 h 778"/>
                  <a:gd name="T2" fmla="*/ 1141 w 1172"/>
                  <a:gd name="T3" fmla="*/ 92 h 778"/>
                  <a:gd name="T4" fmla="*/ 1113 w 1172"/>
                  <a:gd name="T5" fmla="*/ 118 h 778"/>
                  <a:gd name="T6" fmla="*/ 1120 w 1172"/>
                  <a:gd name="T7" fmla="*/ 135 h 778"/>
                  <a:gd name="T8" fmla="*/ 1137 w 1172"/>
                  <a:gd name="T9" fmla="*/ 161 h 778"/>
                  <a:gd name="T10" fmla="*/ 1172 w 1172"/>
                  <a:gd name="T11" fmla="*/ 189 h 778"/>
                  <a:gd name="T12" fmla="*/ 1172 w 1172"/>
                  <a:gd name="T13" fmla="*/ 283 h 778"/>
                  <a:gd name="T14" fmla="*/ 1172 w 1172"/>
                  <a:gd name="T15" fmla="*/ 378 h 778"/>
                  <a:gd name="T16" fmla="*/ 1172 w 1172"/>
                  <a:gd name="T17" fmla="*/ 475 h 778"/>
                  <a:gd name="T18" fmla="*/ 1170 w 1172"/>
                  <a:gd name="T19" fmla="*/ 570 h 778"/>
                  <a:gd name="T20" fmla="*/ 1151 w 1172"/>
                  <a:gd name="T21" fmla="*/ 581 h 778"/>
                  <a:gd name="T22" fmla="*/ 1158 w 1172"/>
                  <a:gd name="T23" fmla="*/ 603 h 778"/>
                  <a:gd name="T24" fmla="*/ 1153 w 1172"/>
                  <a:gd name="T25" fmla="*/ 615 h 778"/>
                  <a:gd name="T26" fmla="*/ 1156 w 1172"/>
                  <a:gd name="T27" fmla="*/ 626 h 778"/>
                  <a:gd name="T28" fmla="*/ 1167 w 1172"/>
                  <a:gd name="T29" fmla="*/ 638 h 778"/>
                  <a:gd name="T30" fmla="*/ 1170 w 1172"/>
                  <a:gd name="T31" fmla="*/ 652 h 778"/>
                  <a:gd name="T32" fmla="*/ 1160 w 1172"/>
                  <a:gd name="T33" fmla="*/ 681 h 778"/>
                  <a:gd name="T34" fmla="*/ 1144 w 1172"/>
                  <a:gd name="T35" fmla="*/ 719 h 778"/>
                  <a:gd name="T36" fmla="*/ 1144 w 1172"/>
                  <a:gd name="T37" fmla="*/ 730 h 778"/>
                  <a:gd name="T38" fmla="*/ 1158 w 1172"/>
                  <a:gd name="T39" fmla="*/ 752 h 778"/>
                  <a:gd name="T40" fmla="*/ 1165 w 1172"/>
                  <a:gd name="T41" fmla="*/ 778 h 778"/>
                  <a:gd name="T42" fmla="*/ 1141 w 1172"/>
                  <a:gd name="T43" fmla="*/ 766 h 778"/>
                  <a:gd name="T44" fmla="*/ 1115 w 1172"/>
                  <a:gd name="T45" fmla="*/ 737 h 778"/>
                  <a:gd name="T46" fmla="*/ 1059 w 1172"/>
                  <a:gd name="T47" fmla="*/ 714 h 778"/>
                  <a:gd name="T48" fmla="*/ 1021 w 1172"/>
                  <a:gd name="T49" fmla="*/ 697 h 778"/>
                  <a:gd name="T50" fmla="*/ 948 w 1172"/>
                  <a:gd name="T51" fmla="*/ 704 h 778"/>
                  <a:gd name="T52" fmla="*/ 907 w 1172"/>
                  <a:gd name="T53" fmla="*/ 702 h 778"/>
                  <a:gd name="T54" fmla="*/ 801 w 1172"/>
                  <a:gd name="T55" fmla="*/ 667 h 778"/>
                  <a:gd name="T56" fmla="*/ 695 w 1172"/>
                  <a:gd name="T57" fmla="*/ 664 h 778"/>
                  <a:gd name="T58" fmla="*/ 588 w 1172"/>
                  <a:gd name="T59" fmla="*/ 659 h 778"/>
                  <a:gd name="T60" fmla="*/ 479 w 1172"/>
                  <a:gd name="T61" fmla="*/ 655 h 778"/>
                  <a:gd name="T62" fmla="*/ 373 w 1172"/>
                  <a:gd name="T63" fmla="*/ 648 h 778"/>
                  <a:gd name="T64" fmla="*/ 267 w 1172"/>
                  <a:gd name="T65" fmla="*/ 641 h 778"/>
                  <a:gd name="T66" fmla="*/ 160 w 1172"/>
                  <a:gd name="T67" fmla="*/ 633 h 778"/>
                  <a:gd name="T68" fmla="*/ 54 w 1172"/>
                  <a:gd name="T69" fmla="*/ 624 h 778"/>
                  <a:gd name="T70" fmla="*/ 4 w 1172"/>
                  <a:gd name="T71" fmla="*/ 567 h 778"/>
                  <a:gd name="T72" fmla="*/ 14 w 1172"/>
                  <a:gd name="T73" fmla="*/ 461 h 778"/>
                  <a:gd name="T74" fmla="*/ 23 w 1172"/>
                  <a:gd name="T75" fmla="*/ 357 h 778"/>
                  <a:gd name="T76" fmla="*/ 30 w 1172"/>
                  <a:gd name="T77" fmla="*/ 250 h 778"/>
                  <a:gd name="T78" fmla="*/ 37 w 1172"/>
                  <a:gd name="T79" fmla="*/ 198 h 778"/>
                  <a:gd name="T80" fmla="*/ 40 w 1172"/>
                  <a:gd name="T81" fmla="*/ 198 h 778"/>
                  <a:gd name="T82" fmla="*/ 40 w 1172"/>
                  <a:gd name="T83" fmla="*/ 198 h 778"/>
                  <a:gd name="T84" fmla="*/ 40 w 1172"/>
                  <a:gd name="T85" fmla="*/ 196 h 778"/>
                  <a:gd name="T86" fmla="*/ 45 w 1172"/>
                  <a:gd name="T87" fmla="*/ 146 h 778"/>
                  <a:gd name="T88" fmla="*/ 54 w 1172"/>
                  <a:gd name="T89" fmla="*/ 49 h 778"/>
                  <a:gd name="T90" fmla="*/ 92 w 1172"/>
                  <a:gd name="T91" fmla="*/ 2 h 778"/>
                  <a:gd name="T92" fmla="*/ 160 w 1172"/>
                  <a:gd name="T93" fmla="*/ 9 h 778"/>
                  <a:gd name="T94" fmla="*/ 229 w 1172"/>
                  <a:gd name="T95" fmla="*/ 14 h 778"/>
                  <a:gd name="T96" fmla="*/ 297 w 1172"/>
                  <a:gd name="T97" fmla="*/ 19 h 778"/>
                  <a:gd name="T98" fmla="*/ 366 w 1172"/>
                  <a:gd name="T99" fmla="*/ 23 h 778"/>
                  <a:gd name="T100" fmla="*/ 435 w 1172"/>
                  <a:gd name="T101" fmla="*/ 28 h 778"/>
                  <a:gd name="T102" fmla="*/ 503 w 1172"/>
                  <a:gd name="T103" fmla="*/ 33 h 778"/>
                  <a:gd name="T104" fmla="*/ 572 w 1172"/>
                  <a:gd name="T105" fmla="*/ 35 h 778"/>
                  <a:gd name="T106" fmla="*/ 643 w 1172"/>
                  <a:gd name="T107" fmla="*/ 40 h 778"/>
                  <a:gd name="T108" fmla="*/ 711 w 1172"/>
                  <a:gd name="T109" fmla="*/ 42 h 778"/>
                  <a:gd name="T110" fmla="*/ 780 w 1172"/>
                  <a:gd name="T111" fmla="*/ 45 h 778"/>
                  <a:gd name="T112" fmla="*/ 848 w 1172"/>
                  <a:gd name="T113" fmla="*/ 47 h 778"/>
                  <a:gd name="T114" fmla="*/ 917 w 1172"/>
                  <a:gd name="T115" fmla="*/ 49 h 778"/>
                  <a:gd name="T116" fmla="*/ 985 w 1172"/>
                  <a:gd name="T117" fmla="*/ 49 h 778"/>
                  <a:gd name="T118" fmla="*/ 1054 w 1172"/>
                  <a:gd name="T119" fmla="*/ 52 h 778"/>
                  <a:gd name="T120" fmla="*/ 1122 w 1172"/>
                  <a:gd name="T121" fmla="*/ 52 h 7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72" h="778">
                    <a:moveTo>
                      <a:pt x="1158" y="52"/>
                    </a:moveTo>
                    <a:lnTo>
                      <a:pt x="1153" y="73"/>
                    </a:lnTo>
                    <a:lnTo>
                      <a:pt x="1148" y="83"/>
                    </a:lnTo>
                    <a:lnTo>
                      <a:pt x="1141" y="92"/>
                    </a:lnTo>
                    <a:lnTo>
                      <a:pt x="1120" y="113"/>
                    </a:lnTo>
                    <a:lnTo>
                      <a:pt x="1113" y="118"/>
                    </a:lnTo>
                    <a:lnTo>
                      <a:pt x="1115" y="125"/>
                    </a:lnTo>
                    <a:lnTo>
                      <a:pt x="1120" y="135"/>
                    </a:lnTo>
                    <a:lnTo>
                      <a:pt x="1130" y="153"/>
                    </a:lnTo>
                    <a:lnTo>
                      <a:pt x="1137" y="161"/>
                    </a:lnTo>
                    <a:lnTo>
                      <a:pt x="1160" y="172"/>
                    </a:lnTo>
                    <a:lnTo>
                      <a:pt x="1172" y="189"/>
                    </a:lnTo>
                    <a:lnTo>
                      <a:pt x="1172" y="236"/>
                    </a:lnTo>
                    <a:lnTo>
                      <a:pt x="1172" y="283"/>
                    </a:lnTo>
                    <a:lnTo>
                      <a:pt x="1172" y="331"/>
                    </a:lnTo>
                    <a:lnTo>
                      <a:pt x="1172" y="378"/>
                    </a:lnTo>
                    <a:lnTo>
                      <a:pt x="1172" y="425"/>
                    </a:lnTo>
                    <a:lnTo>
                      <a:pt x="1172" y="475"/>
                    </a:lnTo>
                    <a:lnTo>
                      <a:pt x="1170" y="522"/>
                    </a:lnTo>
                    <a:lnTo>
                      <a:pt x="1170" y="570"/>
                    </a:lnTo>
                    <a:lnTo>
                      <a:pt x="1148" y="570"/>
                    </a:lnTo>
                    <a:lnTo>
                      <a:pt x="1151" y="581"/>
                    </a:lnTo>
                    <a:lnTo>
                      <a:pt x="1158" y="596"/>
                    </a:lnTo>
                    <a:lnTo>
                      <a:pt x="1158" y="603"/>
                    </a:lnTo>
                    <a:lnTo>
                      <a:pt x="1156" y="610"/>
                    </a:lnTo>
                    <a:lnTo>
                      <a:pt x="1153" y="615"/>
                    </a:lnTo>
                    <a:lnTo>
                      <a:pt x="1153" y="624"/>
                    </a:lnTo>
                    <a:lnTo>
                      <a:pt x="1156" y="626"/>
                    </a:lnTo>
                    <a:lnTo>
                      <a:pt x="1165" y="631"/>
                    </a:lnTo>
                    <a:lnTo>
                      <a:pt x="1167" y="638"/>
                    </a:lnTo>
                    <a:lnTo>
                      <a:pt x="1170" y="648"/>
                    </a:lnTo>
                    <a:lnTo>
                      <a:pt x="1170" y="652"/>
                    </a:lnTo>
                    <a:lnTo>
                      <a:pt x="1163" y="664"/>
                    </a:lnTo>
                    <a:lnTo>
                      <a:pt x="1160" y="681"/>
                    </a:lnTo>
                    <a:lnTo>
                      <a:pt x="1153" y="704"/>
                    </a:lnTo>
                    <a:lnTo>
                      <a:pt x="1144" y="719"/>
                    </a:lnTo>
                    <a:lnTo>
                      <a:pt x="1144" y="726"/>
                    </a:lnTo>
                    <a:lnTo>
                      <a:pt x="1144" y="730"/>
                    </a:lnTo>
                    <a:lnTo>
                      <a:pt x="1156" y="747"/>
                    </a:lnTo>
                    <a:lnTo>
                      <a:pt x="1158" y="752"/>
                    </a:lnTo>
                    <a:lnTo>
                      <a:pt x="1160" y="761"/>
                    </a:lnTo>
                    <a:lnTo>
                      <a:pt x="1165" y="778"/>
                    </a:lnTo>
                    <a:lnTo>
                      <a:pt x="1153" y="775"/>
                    </a:lnTo>
                    <a:lnTo>
                      <a:pt x="1141" y="766"/>
                    </a:lnTo>
                    <a:lnTo>
                      <a:pt x="1134" y="752"/>
                    </a:lnTo>
                    <a:lnTo>
                      <a:pt x="1115" y="737"/>
                    </a:lnTo>
                    <a:lnTo>
                      <a:pt x="1082" y="723"/>
                    </a:lnTo>
                    <a:lnTo>
                      <a:pt x="1059" y="714"/>
                    </a:lnTo>
                    <a:lnTo>
                      <a:pt x="1049" y="702"/>
                    </a:lnTo>
                    <a:lnTo>
                      <a:pt x="1021" y="697"/>
                    </a:lnTo>
                    <a:lnTo>
                      <a:pt x="976" y="700"/>
                    </a:lnTo>
                    <a:lnTo>
                      <a:pt x="948" y="704"/>
                    </a:lnTo>
                    <a:lnTo>
                      <a:pt x="936" y="711"/>
                    </a:lnTo>
                    <a:lnTo>
                      <a:pt x="907" y="702"/>
                    </a:lnTo>
                    <a:lnTo>
                      <a:pt x="862" y="669"/>
                    </a:lnTo>
                    <a:lnTo>
                      <a:pt x="801" y="667"/>
                    </a:lnTo>
                    <a:lnTo>
                      <a:pt x="749" y="667"/>
                    </a:lnTo>
                    <a:lnTo>
                      <a:pt x="695" y="664"/>
                    </a:lnTo>
                    <a:lnTo>
                      <a:pt x="640" y="662"/>
                    </a:lnTo>
                    <a:lnTo>
                      <a:pt x="588" y="659"/>
                    </a:lnTo>
                    <a:lnTo>
                      <a:pt x="534" y="657"/>
                    </a:lnTo>
                    <a:lnTo>
                      <a:pt x="479" y="655"/>
                    </a:lnTo>
                    <a:lnTo>
                      <a:pt x="427" y="650"/>
                    </a:lnTo>
                    <a:lnTo>
                      <a:pt x="373" y="648"/>
                    </a:lnTo>
                    <a:lnTo>
                      <a:pt x="321" y="645"/>
                    </a:lnTo>
                    <a:lnTo>
                      <a:pt x="267" y="641"/>
                    </a:lnTo>
                    <a:lnTo>
                      <a:pt x="212" y="636"/>
                    </a:lnTo>
                    <a:lnTo>
                      <a:pt x="160" y="633"/>
                    </a:lnTo>
                    <a:lnTo>
                      <a:pt x="106" y="629"/>
                    </a:lnTo>
                    <a:lnTo>
                      <a:pt x="54" y="624"/>
                    </a:lnTo>
                    <a:lnTo>
                      <a:pt x="0" y="619"/>
                    </a:lnTo>
                    <a:lnTo>
                      <a:pt x="4" y="567"/>
                    </a:lnTo>
                    <a:lnTo>
                      <a:pt x="9" y="515"/>
                    </a:lnTo>
                    <a:lnTo>
                      <a:pt x="14" y="461"/>
                    </a:lnTo>
                    <a:lnTo>
                      <a:pt x="19" y="409"/>
                    </a:lnTo>
                    <a:lnTo>
                      <a:pt x="23" y="357"/>
                    </a:lnTo>
                    <a:lnTo>
                      <a:pt x="26" y="305"/>
                    </a:lnTo>
                    <a:lnTo>
                      <a:pt x="30" y="250"/>
                    </a:lnTo>
                    <a:lnTo>
                      <a:pt x="35" y="198"/>
                    </a:lnTo>
                    <a:lnTo>
                      <a:pt x="37" y="198"/>
                    </a:lnTo>
                    <a:lnTo>
                      <a:pt x="37" y="198"/>
                    </a:lnTo>
                    <a:lnTo>
                      <a:pt x="40" y="198"/>
                    </a:lnTo>
                    <a:lnTo>
                      <a:pt x="40" y="198"/>
                    </a:lnTo>
                    <a:lnTo>
                      <a:pt x="40" y="198"/>
                    </a:lnTo>
                    <a:lnTo>
                      <a:pt x="40" y="198"/>
                    </a:lnTo>
                    <a:lnTo>
                      <a:pt x="40" y="196"/>
                    </a:lnTo>
                    <a:lnTo>
                      <a:pt x="40" y="196"/>
                    </a:lnTo>
                    <a:lnTo>
                      <a:pt x="45" y="146"/>
                    </a:lnTo>
                    <a:lnTo>
                      <a:pt x="49" y="99"/>
                    </a:lnTo>
                    <a:lnTo>
                      <a:pt x="54" y="49"/>
                    </a:lnTo>
                    <a:lnTo>
                      <a:pt x="56" y="0"/>
                    </a:lnTo>
                    <a:lnTo>
                      <a:pt x="92" y="2"/>
                    </a:lnTo>
                    <a:lnTo>
                      <a:pt x="125" y="7"/>
                    </a:lnTo>
                    <a:lnTo>
                      <a:pt x="160" y="9"/>
                    </a:lnTo>
                    <a:lnTo>
                      <a:pt x="193" y="12"/>
                    </a:lnTo>
                    <a:lnTo>
                      <a:pt x="229" y="14"/>
                    </a:lnTo>
                    <a:lnTo>
                      <a:pt x="264" y="16"/>
                    </a:lnTo>
                    <a:lnTo>
                      <a:pt x="297" y="19"/>
                    </a:lnTo>
                    <a:lnTo>
                      <a:pt x="333" y="21"/>
                    </a:lnTo>
                    <a:lnTo>
                      <a:pt x="366" y="23"/>
                    </a:lnTo>
                    <a:lnTo>
                      <a:pt x="401" y="26"/>
                    </a:lnTo>
                    <a:lnTo>
                      <a:pt x="435" y="28"/>
                    </a:lnTo>
                    <a:lnTo>
                      <a:pt x="470" y="30"/>
                    </a:lnTo>
                    <a:lnTo>
                      <a:pt x="503" y="33"/>
                    </a:lnTo>
                    <a:lnTo>
                      <a:pt x="539" y="35"/>
                    </a:lnTo>
                    <a:lnTo>
                      <a:pt x="572" y="35"/>
                    </a:lnTo>
                    <a:lnTo>
                      <a:pt x="607" y="38"/>
                    </a:lnTo>
                    <a:lnTo>
                      <a:pt x="643" y="40"/>
                    </a:lnTo>
                    <a:lnTo>
                      <a:pt x="676" y="40"/>
                    </a:lnTo>
                    <a:lnTo>
                      <a:pt x="711" y="42"/>
                    </a:lnTo>
                    <a:lnTo>
                      <a:pt x="744" y="42"/>
                    </a:lnTo>
                    <a:lnTo>
                      <a:pt x="780" y="45"/>
                    </a:lnTo>
                    <a:lnTo>
                      <a:pt x="813" y="45"/>
                    </a:lnTo>
                    <a:lnTo>
                      <a:pt x="848" y="47"/>
                    </a:lnTo>
                    <a:lnTo>
                      <a:pt x="881" y="47"/>
                    </a:lnTo>
                    <a:lnTo>
                      <a:pt x="917" y="49"/>
                    </a:lnTo>
                    <a:lnTo>
                      <a:pt x="952" y="49"/>
                    </a:lnTo>
                    <a:lnTo>
                      <a:pt x="985" y="49"/>
                    </a:lnTo>
                    <a:lnTo>
                      <a:pt x="1021" y="52"/>
                    </a:lnTo>
                    <a:lnTo>
                      <a:pt x="1054" y="52"/>
                    </a:lnTo>
                    <a:lnTo>
                      <a:pt x="1089" y="52"/>
                    </a:lnTo>
                    <a:lnTo>
                      <a:pt x="1122" y="52"/>
                    </a:lnTo>
                    <a:lnTo>
                      <a:pt x="1158" y="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46" name="Freeform 84">
                <a:extLst>
                  <a:ext uri="{FF2B5EF4-FFF2-40B4-BE49-F238E27FC236}">
                    <a16:creationId xmlns:a16="http://schemas.microsoft.com/office/drawing/2014/main" id="{BFFD435F-E1A3-1A58-6E8C-411ACBB7EA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7" y="1632"/>
                <a:ext cx="1432" cy="498"/>
              </a:xfrm>
              <a:custGeom>
                <a:avLst/>
                <a:gdLst>
                  <a:gd name="T0" fmla="*/ 1215 w 1432"/>
                  <a:gd name="T1" fmla="*/ 35 h 498"/>
                  <a:gd name="T2" fmla="*/ 1347 w 1432"/>
                  <a:gd name="T3" fmla="*/ 14 h 498"/>
                  <a:gd name="T4" fmla="*/ 1409 w 1432"/>
                  <a:gd name="T5" fmla="*/ 2 h 498"/>
                  <a:gd name="T6" fmla="*/ 1427 w 1432"/>
                  <a:gd name="T7" fmla="*/ 28 h 498"/>
                  <a:gd name="T8" fmla="*/ 1416 w 1432"/>
                  <a:gd name="T9" fmla="*/ 56 h 498"/>
                  <a:gd name="T10" fmla="*/ 1383 w 1432"/>
                  <a:gd name="T11" fmla="*/ 111 h 498"/>
                  <a:gd name="T12" fmla="*/ 1340 w 1432"/>
                  <a:gd name="T13" fmla="*/ 115 h 498"/>
                  <a:gd name="T14" fmla="*/ 1307 w 1432"/>
                  <a:gd name="T15" fmla="*/ 153 h 498"/>
                  <a:gd name="T16" fmla="*/ 1295 w 1432"/>
                  <a:gd name="T17" fmla="*/ 153 h 498"/>
                  <a:gd name="T18" fmla="*/ 1283 w 1432"/>
                  <a:gd name="T19" fmla="*/ 141 h 498"/>
                  <a:gd name="T20" fmla="*/ 1260 w 1432"/>
                  <a:gd name="T21" fmla="*/ 167 h 498"/>
                  <a:gd name="T22" fmla="*/ 1243 w 1432"/>
                  <a:gd name="T23" fmla="*/ 184 h 498"/>
                  <a:gd name="T24" fmla="*/ 1212 w 1432"/>
                  <a:gd name="T25" fmla="*/ 210 h 498"/>
                  <a:gd name="T26" fmla="*/ 1115 w 1432"/>
                  <a:gd name="T27" fmla="*/ 269 h 498"/>
                  <a:gd name="T28" fmla="*/ 1070 w 1432"/>
                  <a:gd name="T29" fmla="*/ 307 h 498"/>
                  <a:gd name="T30" fmla="*/ 1037 w 1432"/>
                  <a:gd name="T31" fmla="*/ 342 h 498"/>
                  <a:gd name="T32" fmla="*/ 1028 w 1432"/>
                  <a:gd name="T33" fmla="*/ 401 h 498"/>
                  <a:gd name="T34" fmla="*/ 860 w 1432"/>
                  <a:gd name="T35" fmla="*/ 420 h 498"/>
                  <a:gd name="T36" fmla="*/ 749 w 1432"/>
                  <a:gd name="T37" fmla="*/ 432 h 498"/>
                  <a:gd name="T38" fmla="*/ 666 w 1432"/>
                  <a:gd name="T39" fmla="*/ 439 h 498"/>
                  <a:gd name="T40" fmla="*/ 584 w 1432"/>
                  <a:gd name="T41" fmla="*/ 449 h 498"/>
                  <a:gd name="T42" fmla="*/ 501 w 1432"/>
                  <a:gd name="T43" fmla="*/ 456 h 498"/>
                  <a:gd name="T44" fmla="*/ 418 w 1432"/>
                  <a:gd name="T45" fmla="*/ 463 h 498"/>
                  <a:gd name="T46" fmla="*/ 359 w 1432"/>
                  <a:gd name="T47" fmla="*/ 465 h 498"/>
                  <a:gd name="T48" fmla="*/ 319 w 1432"/>
                  <a:gd name="T49" fmla="*/ 475 h 498"/>
                  <a:gd name="T50" fmla="*/ 182 w 1432"/>
                  <a:gd name="T51" fmla="*/ 487 h 498"/>
                  <a:gd name="T52" fmla="*/ 42 w 1432"/>
                  <a:gd name="T53" fmla="*/ 496 h 498"/>
                  <a:gd name="T54" fmla="*/ 4 w 1432"/>
                  <a:gd name="T55" fmla="*/ 489 h 498"/>
                  <a:gd name="T56" fmla="*/ 26 w 1432"/>
                  <a:gd name="T57" fmla="*/ 430 h 498"/>
                  <a:gd name="T58" fmla="*/ 54 w 1432"/>
                  <a:gd name="T59" fmla="*/ 371 h 498"/>
                  <a:gd name="T60" fmla="*/ 75 w 1432"/>
                  <a:gd name="T61" fmla="*/ 323 h 498"/>
                  <a:gd name="T62" fmla="*/ 78 w 1432"/>
                  <a:gd name="T63" fmla="*/ 312 h 498"/>
                  <a:gd name="T64" fmla="*/ 82 w 1432"/>
                  <a:gd name="T65" fmla="*/ 302 h 498"/>
                  <a:gd name="T66" fmla="*/ 90 w 1432"/>
                  <a:gd name="T67" fmla="*/ 293 h 498"/>
                  <a:gd name="T68" fmla="*/ 87 w 1432"/>
                  <a:gd name="T69" fmla="*/ 276 h 498"/>
                  <a:gd name="T70" fmla="*/ 87 w 1432"/>
                  <a:gd name="T71" fmla="*/ 236 h 498"/>
                  <a:gd name="T72" fmla="*/ 101 w 1432"/>
                  <a:gd name="T73" fmla="*/ 227 h 498"/>
                  <a:gd name="T74" fmla="*/ 97 w 1432"/>
                  <a:gd name="T75" fmla="*/ 212 h 498"/>
                  <a:gd name="T76" fmla="*/ 108 w 1432"/>
                  <a:gd name="T77" fmla="*/ 191 h 498"/>
                  <a:gd name="T78" fmla="*/ 116 w 1432"/>
                  <a:gd name="T79" fmla="*/ 174 h 498"/>
                  <a:gd name="T80" fmla="*/ 123 w 1432"/>
                  <a:gd name="T81" fmla="*/ 174 h 498"/>
                  <a:gd name="T82" fmla="*/ 215 w 1432"/>
                  <a:gd name="T83" fmla="*/ 167 h 498"/>
                  <a:gd name="T84" fmla="*/ 302 w 1432"/>
                  <a:gd name="T85" fmla="*/ 160 h 498"/>
                  <a:gd name="T86" fmla="*/ 359 w 1432"/>
                  <a:gd name="T87" fmla="*/ 156 h 498"/>
                  <a:gd name="T88" fmla="*/ 350 w 1432"/>
                  <a:gd name="T89" fmla="*/ 115 h 498"/>
                  <a:gd name="T90" fmla="*/ 392 w 1432"/>
                  <a:gd name="T91" fmla="*/ 122 h 498"/>
                  <a:gd name="T92" fmla="*/ 560 w 1432"/>
                  <a:gd name="T93" fmla="*/ 101 h 498"/>
                  <a:gd name="T94" fmla="*/ 732 w 1432"/>
                  <a:gd name="T95" fmla="*/ 87 h 498"/>
                  <a:gd name="T96" fmla="*/ 910 w 1432"/>
                  <a:gd name="T97" fmla="*/ 73 h 498"/>
                  <a:gd name="T98" fmla="*/ 1085 w 1432"/>
                  <a:gd name="T99" fmla="*/ 56 h 498"/>
                  <a:gd name="T100" fmla="*/ 1089 w 1432"/>
                  <a:gd name="T101" fmla="*/ 54 h 498"/>
                  <a:gd name="T102" fmla="*/ 1092 w 1432"/>
                  <a:gd name="T103" fmla="*/ 52 h 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32" h="498">
                    <a:moveTo>
                      <a:pt x="1094" y="49"/>
                    </a:moveTo>
                    <a:lnTo>
                      <a:pt x="1134" y="44"/>
                    </a:lnTo>
                    <a:lnTo>
                      <a:pt x="1215" y="35"/>
                    </a:lnTo>
                    <a:lnTo>
                      <a:pt x="1271" y="26"/>
                    </a:lnTo>
                    <a:lnTo>
                      <a:pt x="1319" y="18"/>
                    </a:lnTo>
                    <a:lnTo>
                      <a:pt x="1347" y="14"/>
                    </a:lnTo>
                    <a:lnTo>
                      <a:pt x="1383" y="9"/>
                    </a:lnTo>
                    <a:lnTo>
                      <a:pt x="1390" y="4"/>
                    </a:lnTo>
                    <a:lnTo>
                      <a:pt x="1409" y="2"/>
                    </a:lnTo>
                    <a:lnTo>
                      <a:pt x="1432" y="0"/>
                    </a:lnTo>
                    <a:lnTo>
                      <a:pt x="1427" y="16"/>
                    </a:lnTo>
                    <a:lnTo>
                      <a:pt x="1427" y="28"/>
                    </a:lnTo>
                    <a:lnTo>
                      <a:pt x="1425" y="44"/>
                    </a:lnTo>
                    <a:lnTo>
                      <a:pt x="1427" y="54"/>
                    </a:lnTo>
                    <a:lnTo>
                      <a:pt x="1416" y="56"/>
                    </a:lnTo>
                    <a:lnTo>
                      <a:pt x="1409" y="61"/>
                    </a:lnTo>
                    <a:lnTo>
                      <a:pt x="1399" y="68"/>
                    </a:lnTo>
                    <a:lnTo>
                      <a:pt x="1383" y="111"/>
                    </a:lnTo>
                    <a:lnTo>
                      <a:pt x="1373" y="115"/>
                    </a:lnTo>
                    <a:lnTo>
                      <a:pt x="1359" y="108"/>
                    </a:lnTo>
                    <a:lnTo>
                      <a:pt x="1340" y="115"/>
                    </a:lnTo>
                    <a:lnTo>
                      <a:pt x="1328" y="125"/>
                    </a:lnTo>
                    <a:lnTo>
                      <a:pt x="1314" y="146"/>
                    </a:lnTo>
                    <a:lnTo>
                      <a:pt x="1307" y="153"/>
                    </a:lnTo>
                    <a:lnTo>
                      <a:pt x="1302" y="156"/>
                    </a:lnTo>
                    <a:lnTo>
                      <a:pt x="1297" y="156"/>
                    </a:lnTo>
                    <a:lnTo>
                      <a:pt x="1295" y="153"/>
                    </a:lnTo>
                    <a:lnTo>
                      <a:pt x="1293" y="144"/>
                    </a:lnTo>
                    <a:lnTo>
                      <a:pt x="1290" y="141"/>
                    </a:lnTo>
                    <a:lnTo>
                      <a:pt x="1283" y="141"/>
                    </a:lnTo>
                    <a:lnTo>
                      <a:pt x="1276" y="146"/>
                    </a:lnTo>
                    <a:lnTo>
                      <a:pt x="1267" y="153"/>
                    </a:lnTo>
                    <a:lnTo>
                      <a:pt x="1260" y="167"/>
                    </a:lnTo>
                    <a:lnTo>
                      <a:pt x="1245" y="167"/>
                    </a:lnTo>
                    <a:lnTo>
                      <a:pt x="1243" y="170"/>
                    </a:lnTo>
                    <a:lnTo>
                      <a:pt x="1243" y="184"/>
                    </a:lnTo>
                    <a:lnTo>
                      <a:pt x="1238" y="193"/>
                    </a:lnTo>
                    <a:lnTo>
                      <a:pt x="1234" y="200"/>
                    </a:lnTo>
                    <a:lnTo>
                      <a:pt x="1212" y="210"/>
                    </a:lnTo>
                    <a:lnTo>
                      <a:pt x="1186" y="234"/>
                    </a:lnTo>
                    <a:lnTo>
                      <a:pt x="1151" y="260"/>
                    </a:lnTo>
                    <a:lnTo>
                      <a:pt x="1115" y="269"/>
                    </a:lnTo>
                    <a:lnTo>
                      <a:pt x="1101" y="276"/>
                    </a:lnTo>
                    <a:lnTo>
                      <a:pt x="1092" y="281"/>
                    </a:lnTo>
                    <a:lnTo>
                      <a:pt x="1070" y="307"/>
                    </a:lnTo>
                    <a:lnTo>
                      <a:pt x="1066" y="333"/>
                    </a:lnTo>
                    <a:lnTo>
                      <a:pt x="1054" y="340"/>
                    </a:lnTo>
                    <a:lnTo>
                      <a:pt x="1037" y="342"/>
                    </a:lnTo>
                    <a:lnTo>
                      <a:pt x="1033" y="347"/>
                    </a:lnTo>
                    <a:lnTo>
                      <a:pt x="1028" y="357"/>
                    </a:lnTo>
                    <a:lnTo>
                      <a:pt x="1028" y="401"/>
                    </a:lnTo>
                    <a:lnTo>
                      <a:pt x="974" y="409"/>
                    </a:lnTo>
                    <a:lnTo>
                      <a:pt x="917" y="416"/>
                    </a:lnTo>
                    <a:lnTo>
                      <a:pt x="860" y="420"/>
                    </a:lnTo>
                    <a:lnTo>
                      <a:pt x="806" y="427"/>
                    </a:lnTo>
                    <a:lnTo>
                      <a:pt x="777" y="430"/>
                    </a:lnTo>
                    <a:lnTo>
                      <a:pt x="749" y="432"/>
                    </a:lnTo>
                    <a:lnTo>
                      <a:pt x="721" y="435"/>
                    </a:lnTo>
                    <a:lnTo>
                      <a:pt x="695" y="437"/>
                    </a:lnTo>
                    <a:lnTo>
                      <a:pt x="666" y="439"/>
                    </a:lnTo>
                    <a:lnTo>
                      <a:pt x="638" y="444"/>
                    </a:lnTo>
                    <a:lnTo>
                      <a:pt x="612" y="446"/>
                    </a:lnTo>
                    <a:lnTo>
                      <a:pt x="584" y="449"/>
                    </a:lnTo>
                    <a:lnTo>
                      <a:pt x="555" y="451"/>
                    </a:lnTo>
                    <a:lnTo>
                      <a:pt x="527" y="453"/>
                    </a:lnTo>
                    <a:lnTo>
                      <a:pt x="501" y="456"/>
                    </a:lnTo>
                    <a:lnTo>
                      <a:pt x="472" y="458"/>
                    </a:lnTo>
                    <a:lnTo>
                      <a:pt x="444" y="461"/>
                    </a:lnTo>
                    <a:lnTo>
                      <a:pt x="418" y="463"/>
                    </a:lnTo>
                    <a:lnTo>
                      <a:pt x="390" y="463"/>
                    </a:lnTo>
                    <a:lnTo>
                      <a:pt x="361" y="465"/>
                    </a:lnTo>
                    <a:lnTo>
                      <a:pt x="359" y="465"/>
                    </a:lnTo>
                    <a:lnTo>
                      <a:pt x="361" y="468"/>
                    </a:lnTo>
                    <a:lnTo>
                      <a:pt x="366" y="472"/>
                    </a:lnTo>
                    <a:lnTo>
                      <a:pt x="319" y="475"/>
                    </a:lnTo>
                    <a:lnTo>
                      <a:pt x="272" y="480"/>
                    </a:lnTo>
                    <a:lnTo>
                      <a:pt x="227" y="482"/>
                    </a:lnTo>
                    <a:lnTo>
                      <a:pt x="182" y="487"/>
                    </a:lnTo>
                    <a:lnTo>
                      <a:pt x="134" y="489"/>
                    </a:lnTo>
                    <a:lnTo>
                      <a:pt x="90" y="491"/>
                    </a:lnTo>
                    <a:lnTo>
                      <a:pt x="42" y="496"/>
                    </a:lnTo>
                    <a:lnTo>
                      <a:pt x="0" y="498"/>
                    </a:lnTo>
                    <a:lnTo>
                      <a:pt x="0" y="498"/>
                    </a:lnTo>
                    <a:lnTo>
                      <a:pt x="4" y="489"/>
                    </a:lnTo>
                    <a:lnTo>
                      <a:pt x="23" y="472"/>
                    </a:lnTo>
                    <a:lnTo>
                      <a:pt x="30" y="453"/>
                    </a:lnTo>
                    <a:lnTo>
                      <a:pt x="26" y="430"/>
                    </a:lnTo>
                    <a:lnTo>
                      <a:pt x="33" y="409"/>
                    </a:lnTo>
                    <a:lnTo>
                      <a:pt x="49" y="390"/>
                    </a:lnTo>
                    <a:lnTo>
                      <a:pt x="54" y="371"/>
                    </a:lnTo>
                    <a:lnTo>
                      <a:pt x="49" y="352"/>
                    </a:lnTo>
                    <a:lnTo>
                      <a:pt x="56" y="335"/>
                    </a:lnTo>
                    <a:lnTo>
                      <a:pt x="75" y="323"/>
                    </a:lnTo>
                    <a:lnTo>
                      <a:pt x="78" y="319"/>
                    </a:lnTo>
                    <a:lnTo>
                      <a:pt x="78" y="314"/>
                    </a:lnTo>
                    <a:lnTo>
                      <a:pt x="78" y="312"/>
                    </a:lnTo>
                    <a:lnTo>
                      <a:pt x="78" y="309"/>
                    </a:lnTo>
                    <a:lnTo>
                      <a:pt x="78" y="305"/>
                    </a:lnTo>
                    <a:lnTo>
                      <a:pt x="82" y="302"/>
                    </a:lnTo>
                    <a:lnTo>
                      <a:pt x="87" y="302"/>
                    </a:lnTo>
                    <a:lnTo>
                      <a:pt x="90" y="297"/>
                    </a:lnTo>
                    <a:lnTo>
                      <a:pt x="90" y="293"/>
                    </a:lnTo>
                    <a:lnTo>
                      <a:pt x="85" y="286"/>
                    </a:lnTo>
                    <a:lnTo>
                      <a:pt x="87" y="281"/>
                    </a:lnTo>
                    <a:lnTo>
                      <a:pt x="87" y="276"/>
                    </a:lnTo>
                    <a:lnTo>
                      <a:pt x="94" y="260"/>
                    </a:lnTo>
                    <a:lnTo>
                      <a:pt x="97" y="245"/>
                    </a:lnTo>
                    <a:lnTo>
                      <a:pt x="87" y="236"/>
                    </a:lnTo>
                    <a:lnTo>
                      <a:pt x="92" y="229"/>
                    </a:lnTo>
                    <a:lnTo>
                      <a:pt x="97" y="227"/>
                    </a:lnTo>
                    <a:lnTo>
                      <a:pt x="101" y="227"/>
                    </a:lnTo>
                    <a:lnTo>
                      <a:pt x="104" y="224"/>
                    </a:lnTo>
                    <a:lnTo>
                      <a:pt x="104" y="219"/>
                    </a:lnTo>
                    <a:lnTo>
                      <a:pt x="97" y="212"/>
                    </a:lnTo>
                    <a:lnTo>
                      <a:pt x="99" y="208"/>
                    </a:lnTo>
                    <a:lnTo>
                      <a:pt x="106" y="200"/>
                    </a:lnTo>
                    <a:lnTo>
                      <a:pt x="108" y="191"/>
                    </a:lnTo>
                    <a:lnTo>
                      <a:pt x="104" y="174"/>
                    </a:lnTo>
                    <a:lnTo>
                      <a:pt x="116" y="174"/>
                    </a:lnTo>
                    <a:lnTo>
                      <a:pt x="116" y="174"/>
                    </a:lnTo>
                    <a:lnTo>
                      <a:pt x="118" y="177"/>
                    </a:lnTo>
                    <a:lnTo>
                      <a:pt x="123" y="174"/>
                    </a:lnTo>
                    <a:lnTo>
                      <a:pt x="123" y="174"/>
                    </a:lnTo>
                    <a:lnTo>
                      <a:pt x="156" y="172"/>
                    </a:lnTo>
                    <a:lnTo>
                      <a:pt x="184" y="170"/>
                    </a:lnTo>
                    <a:lnTo>
                      <a:pt x="215" y="167"/>
                    </a:lnTo>
                    <a:lnTo>
                      <a:pt x="243" y="165"/>
                    </a:lnTo>
                    <a:lnTo>
                      <a:pt x="272" y="163"/>
                    </a:lnTo>
                    <a:lnTo>
                      <a:pt x="302" y="160"/>
                    </a:lnTo>
                    <a:lnTo>
                      <a:pt x="331" y="158"/>
                    </a:lnTo>
                    <a:lnTo>
                      <a:pt x="357" y="156"/>
                    </a:lnTo>
                    <a:lnTo>
                      <a:pt x="359" y="156"/>
                    </a:lnTo>
                    <a:lnTo>
                      <a:pt x="357" y="137"/>
                    </a:lnTo>
                    <a:lnTo>
                      <a:pt x="347" y="115"/>
                    </a:lnTo>
                    <a:lnTo>
                      <a:pt x="350" y="115"/>
                    </a:lnTo>
                    <a:lnTo>
                      <a:pt x="371" y="115"/>
                    </a:lnTo>
                    <a:lnTo>
                      <a:pt x="387" y="115"/>
                    </a:lnTo>
                    <a:lnTo>
                      <a:pt x="392" y="122"/>
                    </a:lnTo>
                    <a:lnTo>
                      <a:pt x="449" y="115"/>
                    </a:lnTo>
                    <a:lnTo>
                      <a:pt x="503" y="108"/>
                    </a:lnTo>
                    <a:lnTo>
                      <a:pt x="560" y="101"/>
                    </a:lnTo>
                    <a:lnTo>
                      <a:pt x="617" y="94"/>
                    </a:lnTo>
                    <a:lnTo>
                      <a:pt x="676" y="92"/>
                    </a:lnTo>
                    <a:lnTo>
                      <a:pt x="732" y="87"/>
                    </a:lnTo>
                    <a:lnTo>
                      <a:pt x="792" y="82"/>
                    </a:lnTo>
                    <a:lnTo>
                      <a:pt x="851" y="78"/>
                    </a:lnTo>
                    <a:lnTo>
                      <a:pt x="910" y="73"/>
                    </a:lnTo>
                    <a:lnTo>
                      <a:pt x="969" y="66"/>
                    </a:lnTo>
                    <a:lnTo>
                      <a:pt x="1026" y="61"/>
                    </a:lnTo>
                    <a:lnTo>
                      <a:pt x="1085" y="56"/>
                    </a:lnTo>
                    <a:lnTo>
                      <a:pt x="1087" y="54"/>
                    </a:lnTo>
                    <a:lnTo>
                      <a:pt x="1087" y="54"/>
                    </a:lnTo>
                    <a:lnTo>
                      <a:pt x="1089" y="54"/>
                    </a:lnTo>
                    <a:lnTo>
                      <a:pt x="1089" y="52"/>
                    </a:lnTo>
                    <a:lnTo>
                      <a:pt x="1092" y="52"/>
                    </a:lnTo>
                    <a:lnTo>
                      <a:pt x="1092" y="52"/>
                    </a:lnTo>
                    <a:lnTo>
                      <a:pt x="1094" y="52"/>
                    </a:lnTo>
                    <a:lnTo>
                      <a:pt x="1094" y="4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47" name="Freeform 86">
                <a:extLst>
                  <a:ext uri="{FF2B5EF4-FFF2-40B4-BE49-F238E27FC236}">
                    <a16:creationId xmlns:a16="http://schemas.microsoft.com/office/drawing/2014/main" id="{991D49B4-02DB-0208-1461-F92C61C4F2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92" y="1799"/>
                <a:ext cx="2366" cy="2301"/>
              </a:xfrm>
              <a:custGeom>
                <a:avLst/>
                <a:gdLst>
                  <a:gd name="T0" fmla="*/ 2226 w 2366"/>
                  <a:gd name="T1" fmla="*/ 658 h 2301"/>
                  <a:gd name="T2" fmla="*/ 2264 w 2366"/>
                  <a:gd name="T3" fmla="*/ 804 h 2301"/>
                  <a:gd name="T4" fmla="*/ 2295 w 2366"/>
                  <a:gd name="T5" fmla="*/ 1017 h 2301"/>
                  <a:gd name="T6" fmla="*/ 2340 w 2366"/>
                  <a:gd name="T7" fmla="*/ 1133 h 2301"/>
                  <a:gd name="T8" fmla="*/ 2359 w 2366"/>
                  <a:gd name="T9" fmla="*/ 1239 h 2301"/>
                  <a:gd name="T10" fmla="*/ 2340 w 2366"/>
                  <a:gd name="T11" fmla="*/ 1391 h 2301"/>
                  <a:gd name="T12" fmla="*/ 2181 w 2366"/>
                  <a:gd name="T13" fmla="*/ 1528 h 2301"/>
                  <a:gd name="T14" fmla="*/ 2151 w 2366"/>
                  <a:gd name="T15" fmla="*/ 1471 h 2301"/>
                  <a:gd name="T16" fmla="*/ 2125 w 2366"/>
                  <a:gd name="T17" fmla="*/ 1552 h 2301"/>
                  <a:gd name="T18" fmla="*/ 1945 w 2366"/>
                  <a:gd name="T19" fmla="*/ 1710 h 2301"/>
                  <a:gd name="T20" fmla="*/ 1846 w 2366"/>
                  <a:gd name="T21" fmla="*/ 1705 h 2301"/>
                  <a:gd name="T22" fmla="*/ 1817 w 2366"/>
                  <a:gd name="T23" fmla="*/ 1741 h 2301"/>
                  <a:gd name="T24" fmla="*/ 1763 w 2366"/>
                  <a:gd name="T25" fmla="*/ 1797 h 2301"/>
                  <a:gd name="T26" fmla="*/ 1697 w 2366"/>
                  <a:gd name="T27" fmla="*/ 1814 h 2301"/>
                  <a:gd name="T28" fmla="*/ 1650 w 2366"/>
                  <a:gd name="T29" fmla="*/ 1873 h 2301"/>
                  <a:gd name="T30" fmla="*/ 1579 w 2366"/>
                  <a:gd name="T31" fmla="*/ 1958 h 2301"/>
                  <a:gd name="T32" fmla="*/ 1628 w 2366"/>
                  <a:gd name="T33" fmla="*/ 2110 h 2301"/>
                  <a:gd name="T34" fmla="*/ 1668 w 2366"/>
                  <a:gd name="T35" fmla="*/ 2284 h 2301"/>
                  <a:gd name="T36" fmla="*/ 1512 w 2366"/>
                  <a:gd name="T37" fmla="*/ 2256 h 2301"/>
                  <a:gd name="T38" fmla="*/ 1333 w 2366"/>
                  <a:gd name="T39" fmla="*/ 2178 h 2301"/>
                  <a:gd name="T40" fmla="*/ 1255 w 2366"/>
                  <a:gd name="T41" fmla="*/ 2034 h 2301"/>
                  <a:gd name="T42" fmla="*/ 1248 w 2366"/>
                  <a:gd name="T43" fmla="*/ 1930 h 2301"/>
                  <a:gd name="T44" fmla="*/ 1099 w 2366"/>
                  <a:gd name="T45" fmla="*/ 1734 h 2301"/>
                  <a:gd name="T46" fmla="*/ 999 w 2366"/>
                  <a:gd name="T47" fmla="*/ 1540 h 2301"/>
                  <a:gd name="T48" fmla="*/ 891 w 2366"/>
                  <a:gd name="T49" fmla="*/ 1433 h 2301"/>
                  <a:gd name="T50" fmla="*/ 744 w 2366"/>
                  <a:gd name="T51" fmla="*/ 1407 h 2301"/>
                  <a:gd name="T52" fmla="*/ 631 w 2366"/>
                  <a:gd name="T53" fmla="*/ 1537 h 2301"/>
                  <a:gd name="T54" fmla="*/ 453 w 2366"/>
                  <a:gd name="T55" fmla="*/ 1507 h 2301"/>
                  <a:gd name="T56" fmla="*/ 314 w 2366"/>
                  <a:gd name="T57" fmla="*/ 1346 h 2301"/>
                  <a:gd name="T58" fmla="*/ 134 w 2366"/>
                  <a:gd name="T59" fmla="*/ 1060 h 2301"/>
                  <a:gd name="T60" fmla="*/ 11 w 2366"/>
                  <a:gd name="T61" fmla="*/ 923 h 2301"/>
                  <a:gd name="T62" fmla="*/ 241 w 2366"/>
                  <a:gd name="T63" fmla="*/ 908 h 2301"/>
                  <a:gd name="T64" fmla="*/ 565 w 2366"/>
                  <a:gd name="T65" fmla="*/ 939 h 2301"/>
                  <a:gd name="T66" fmla="*/ 673 w 2366"/>
                  <a:gd name="T67" fmla="*/ 592 h 2301"/>
                  <a:gd name="T68" fmla="*/ 713 w 2366"/>
                  <a:gd name="T69" fmla="*/ 119 h 2301"/>
                  <a:gd name="T70" fmla="*/ 888 w 2366"/>
                  <a:gd name="T71" fmla="*/ 12 h 2301"/>
                  <a:gd name="T72" fmla="*/ 1141 w 2366"/>
                  <a:gd name="T73" fmla="*/ 26 h 2301"/>
                  <a:gd name="T74" fmla="*/ 1231 w 2366"/>
                  <a:gd name="T75" fmla="*/ 159 h 2301"/>
                  <a:gd name="T76" fmla="*/ 1224 w 2366"/>
                  <a:gd name="T77" fmla="*/ 360 h 2301"/>
                  <a:gd name="T78" fmla="*/ 1300 w 2366"/>
                  <a:gd name="T79" fmla="*/ 476 h 2301"/>
                  <a:gd name="T80" fmla="*/ 1359 w 2366"/>
                  <a:gd name="T81" fmla="*/ 497 h 2301"/>
                  <a:gd name="T82" fmla="*/ 1479 w 2366"/>
                  <a:gd name="T83" fmla="*/ 549 h 2301"/>
                  <a:gd name="T84" fmla="*/ 1572 w 2366"/>
                  <a:gd name="T85" fmla="*/ 570 h 2301"/>
                  <a:gd name="T86" fmla="*/ 1626 w 2366"/>
                  <a:gd name="T87" fmla="*/ 573 h 2301"/>
                  <a:gd name="T88" fmla="*/ 1678 w 2366"/>
                  <a:gd name="T89" fmla="*/ 606 h 2301"/>
                  <a:gd name="T90" fmla="*/ 1711 w 2366"/>
                  <a:gd name="T91" fmla="*/ 625 h 2301"/>
                  <a:gd name="T92" fmla="*/ 1744 w 2366"/>
                  <a:gd name="T93" fmla="*/ 587 h 2301"/>
                  <a:gd name="T94" fmla="*/ 1803 w 2366"/>
                  <a:gd name="T95" fmla="*/ 594 h 2301"/>
                  <a:gd name="T96" fmla="*/ 1862 w 2366"/>
                  <a:gd name="T97" fmla="*/ 634 h 2301"/>
                  <a:gd name="T98" fmla="*/ 1983 w 2366"/>
                  <a:gd name="T99" fmla="*/ 589 h 2301"/>
                  <a:gd name="T100" fmla="*/ 2051 w 2366"/>
                  <a:gd name="T101" fmla="*/ 582 h 2301"/>
                  <a:gd name="T102" fmla="*/ 2096 w 2366"/>
                  <a:gd name="T103" fmla="*/ 1599 h 2301"/>
                  <a:gd name="T104" fmla="*/ 1765 w 2366"/>
                  <a:gd name="T105" fmla="*/ 1814 h 2301"/>
                  <a:gd name="T106" fmla="*/ 1813 w 2366"/>
                  <a:gd name="T107" fmla="*/ 1786 h 2301"/>
                  <a:gd name="T108" fmla="*/ 1758 w 2366"/>
                  <a:gd name="T109" fmla="*/ 1826 h 2301"/>
                  <a:gd name="T110" fmla="*/ 1716 w 2366"/>
                  <a:gd name="T111" fmla="*/ 1883 h 2301"/>
                  <a:gd name="T112" fmla="*/ 1652 w 2366"/>
                  <a:gd name="T113" fmla="*/ 2015 h 2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366" h="2301">
                    <a:moveTo>
                      <a:pt x="2184" y="646"/>
                    </a:moveTo>
                    <a:lnTo>
                      <a:pt x="2193" y="655"/>
                    </a:lnTo>
                    <a:lnTo>
                      <a:pt x="2200" y="658"/>
                    </a:lnTo>
                    <a:lnTo>
                      <a:pt x="2203" y="662"/>
                    </a:lnTo>
                    <a:lnTo>
                      <a:pt x="2205" y="662"/>
                    </a:lnTo>
                    <a:lnTo>
                      <a:pt x="2210" y="662"/>
                    </a:lnTo>
                    <a:lnTo>
                      <a:pt x="2217" y="658"/>
                    </a:lnTo>
                    <a:lnTo>
                      <a:pt x="2226" y="658"/>
                    </a:lnTo>
                    <a:lnTo>
                      <a:pt x="2236" y="658"/>
                    </a:lnTo>
                    <a:lnTo>
                      <a:pt x="2252" y="658"/>
                    </a:lnTo>
                    <a:lnTo>
                      <a:pt x="2262" y="662"/>
                    </a:lnTo>
                    <a:lnTo>
                      <a:pt x="2262" y="691"/>
                    </a:lnTo>
                    <a:lnTo>
                      <a:pt x="2262" y="722"/>
                    </a:lnTo>
                    <a:lnTo>
                      <a:pt x="2264" y="750"/>
                    </a:lnTo>
                    <a:lnTo>
                      <a:pt x="2264" y="778"/>
                    </a:lnTo>
                    <a:lnTo>
                      <a:pt x="2264" y="804"/>
                    </a:lnTo>
                    <a:lnTo>
                      <a:pt x="2266" y="830"/>
                    </a:lnTo>
                    <a:lnTo>
                      <a:pt x="2266" y="859"/>
                    </a:lnTo>
                    <a:lnTo>
                      <a:pt x="2266" y="885"/>
                    </a:lnTo>
                    <a:lnTo>
                      <a:pt x="2266" y="911"/>
                    </a:lnTo>
                    <a:lnTo>
                      <a:pt x="2269" y="939"/>
                    </a:lnTo>
                    <a:lnTo>
                      <a:pt x="2269" y="965"/>
                    </a:lnTo>
                    <a:lnTo>
                      <a:pt x="2269" y="991"/>
                    </a:lnTo>
                    <a:lnTo>
                      <a:pt x="2295" y="1017"/>
                    </a:lnTo>
                    <a:lnTo>
                      <a:pt x="2307" y="1034"/>
                    </a:lnTo>
                    <a:lnTo>
                      <a:pt x="2309" y="1043"/>
                    </a:lnTo>
                    <a:lnTo>
                      <a:pt x="2311" y="1074"/>
                    </a:lnTo>
                    <a:lnTo>
                      <a:pt x="2314" y="1081"/>
                    </a:lnTo>
                    <a:lnTo>
                      <a:pt x="2326" y="1093"/>
                    </a:lnTo>
                    <a:lnTo>
                      <a:pt x="2328" y="1100"/>
                    </a:lnTo>
                    <a:lnTo>
                      <a:pt x="2340" y="1124"/>
                    </a:lnTo>
                    <a:lnTo>
                      <a:pt x="2340" y="1133"/>
                    </a:lnTo>
                    <a:lnTo>
                      <a:pt x="2354" y="1157"/>
                    </a:lnTo>
                    <a:lnTo>
                      <a:pt x="2361" y="1164"/>
                    </a:lnTo>
                    <a:lnTo>
                      <a:pt x="2363" y="1180"/>
                    </a:lnTo>
                    <a:lnTo>
                      <a:pt x="2366" y="1192"/>
                    </a:lnTo>
                    <a:lnTo>
                      <a:pt x="2361" y="1202"/>
                    </a:lnTo>
                    <a:lnTo>
                      <a:pt x="2363" y="1213"/>
                    </a:lnTo>
                    <a:lnTo>
                      <a:pt x="2361" y="1223"/>
                    </a:lnTo>
                    <a:lnTo>
                      <a:pt x="2359" y="1239"/>
                    </a:lnTo>
                    <a:lnTo>
                      <a:pt x="2352" y="1263"/>
                    </a:lnTo>
                    <a:lnTo>
                      <a:pt x="2344" y="1275"/>
                    </a:lnTo>
                    <a:lnTo>
                      <a:pt x="2335" y="1296"/>
                    </a:lnTo>
                    <a:lnTo>
                      <a:pt x="2335" y="1313"/>
                    </a:lnTo>
                    <a:lnTo>
                      <a:pt x="2330" y="1334"/>
                    </a:lnTo>
                    <a:lnTo>
                      <a:pt x="2330" y="1341"/>
                    </a:lnTo>
                    <a:lnTo>
                      <a:pt x="2335" y="1355"/>
                    </a:lnTo>
                    <a:lnTo>
                      <a:pt x="2340" y="1391"/>
                    </a:lnTo>
                    <a:lnTo>
                      <a:pt x="2335" y="1398"/>
                    </a:lnTo>
                    <a:lnTo>
                      <a:pt x="2323" y="1419"/>
                    </a:lnTo>
                    <a:lnTo>
                      <a:pt x="2316" y="1419"/>
                    </a:lnTo>
                    <a:lnTo>
                      <a:pt x="2297" y="1455"/>
                    </a:lnTo>
                    <a:lnTo>
                      <a:pt x="2309" y="1473"/>
                    </a:lnTo>
                    <a:lnTo>
                      <a:pt x="2309" y="1481"/>
                    </a:lnTo>
                    <a:lnTo>
                      <a:pt x="2269" y="1485"/>
                    </a:lnTo>
                    <a:lnTo>
                      <a:pt x="2181" y="1528"/>
                    </a:lnTo>
                    <a:lnTo>
                      <a:pt x="2148" y="1549"/>
                    </a:lnTo>
                    <a:lnTo>
                      <a:pt x="2148" y="1542"/>
                    </a:lnTo>
                    <a:lnTo>
                      <a:pt x="2191" y="1514"/>
                    </a:lnTo>
                    <a:lnTo>
                      <a:pt x="2177" y="1509"/>
                    </a:lnTo>
                    <a:lnTo>
                      <a:pt x="2153" y="1516"/>
                    </a:lnTo>
                    <a:lnTo>
                      <a:pt x="2144" y="1514"/>
                    </a:lnTo>
                    <a:lnTo>
                      <a:pt x="2153" y="1492"/>
                    </a:lnTo>
                    <a:lnTo>
                      <a:pt x="2151" y="1471"/>
                    </a:lnTo>
                    <a:lnTo>
                      <a:pt x="2134" y="1471"/>
                    </a:lnTo>
                    <a:lnTo>
                      <a:pt x="2122" y="1488"/>
                    </a:lnTo>
                    <a:lnTo>
                      <a:pt x="2115" y="1485"/>
                    </a:lnTo>
                    <a:lnTo>
                      <a:pt x="2106" y="1481"/>
                    </a:lnTo>
                    <a:lnTo>
                      <a:pt x="2099" y="1483"/>
                    </a:lnTo>
                    <a:lnTo>
                      <a:pt x="2103" y="1518"/>
                    </a:lnTo>
                    <a:lnTo>
                      <a:pt x="2115" y="1533"/>
                    </a:lnTo>
                    <a:lnTo>
                      <a:pt x="2125" y="1552"/>
                    </a:lnTo>
                    <a:lnTo>
                      <a:pt x="2099" y="1575"/>
                    </a:lnTo>
                    <a:lnTo>
                      <a:pt x="2077" y="1596"/>
                    </a:lnTo>
                    <a:lnTo>
                      <a:pt x="2075" y="1615"/>
                    </a:lnTo>
                    <a:lnTo>
                      <a:pt x="2054" y="1639"/>
                    </a:lnTo>
                    <a:lnTo>
                      <a:pt x="2032" y="1653"/>
                    </a:lnTo>
                    <a:lnTo>
                      <a:pt x="1980" y="1686"/>
                    </a:lnTo>
                    <a:lnTo>
                      <a:pt x="1966" y="1693"/>
                    </a:lnTo>
                    <a:lnTo>
                      <a:pt x="1945" y="1710"/>
                    </a:lnTo>
                    <a:lnTo>
                      <a:pt x="1912" y="1719"/>
                    </a:lnTo>
                    <a:lnTo>
                      <a:pt x="1884" y="1738"/>
                    </a:lnTo>
                    <a:lnTo>
                      <a:pt x="1872" y="1741"/>
                    </a:lnTo>
                    <a:lnTo>
                      <a:pt x="1891" y="1726"/>
                    </a:lnTo>
                    <a:lnTo>
                      <a:pt x="1914" y="1710"/>
                    </a:lnTo>
                    <a:lnTo>
                      <a:pt x="1895" y="1712"/>
                    </a:lnTo>
                    <a:lnTo>
                      <a:pt x="1865" y="1705"/>
                    </a:lnTo>
                    <a:lnTo>
                      <a:pt x="1846" y="1705"/>
                    </a:lnTo>
                    <a:lnTo>
                      <a:pt x="1846" y="1710"/>
                    </a:lnTo>
                    <a:lnTo>
                      <a:pt x="1832" y="1719"/>
                    </a:lnTo>
                    <a:lnTo>
                      <a:pt x="1817" y="1708"/>
                    </a:lnTo>
                    <a:lnTo>
                      <a:pt x="1810" y="1700"/>
                    </a:lnTo>
                    <a:lnTo>
                      <a:pt x="1808" y="1693"/>
                    </a:lnTo>
                    <a:lnTo>
                      <a:pt x="1803" y="1691"/>
                    </a:lnTo>
                    <a:lnTo>
                      <a:pt x="1796" y="1693"/>
                    </a:lnTo>
                    <a:lnTo>
                      <a:pt x="1817" y="1741"/>
                    </a:lnTo>
                    <a:lnTo>
                      <a:pt x="1827" y="1743"/>
                    </a:lnTo>
                    <a:lnTo>
                      <a:pt x="1836" y="1748"/>
                    </a:lnTo>
                    <a:lnTo>
                      <a:pt x="1824" y="1760"/>
                    </a:lnTo>
                    <a:lnTo>
                      <a:pt x="1810" y="1767"/>
                    </a:lnTo>
                    <a:lnTo>
                      <a:pt x="1789" y="1771"/>
                    </a:lnTo>
                    <a:lnTo>
                      <a:pt x="1770" y="1755"/>
                    </a:lnTo>
                    <a:lnTo>
                      <a:pt x="1765" y="1776"/>
                    </a:lnTo>
                    <a:lnTo>
                      <a:pt x="1763" y="1797"/>
                    </a:lnTo>
                    <a:lnTo>
                      <a:pt x="1758" y="1805"/>
                    </a:lnTo>
                    <a:lnTo>
                      <a:pt x="1749" y="1812"/>
                    </a:lnTo>
                    <a:lnTo>
                      <a:pt x="1742" y="1805"/>
                    </a:lnTo>
                    <a:lnTo>
                      <a:pt x="1739" y="1797"/>
                    </a:lnTo>
                    <a:lnTo>
                      <a:pt x="1735" y="1805"/>
                    </a:lnTo>
                    <a:lnTo>
                      <a:pt x="1725" y="1809"/>
                    </a:lnTo>
                    <a:lnTo>
                      <a:pt x="1709" y="1812"/>
                    </a:lnTo>
                    <a:lnTo>
                      <a:pt x="1697" y="1814"/>
                    </a:lnTo>
                    <a:lnTo>
                      <a:pt x="1697" y="1823"/>
                    </a:lnTo>
                    <a:lnTo>
                      <a:pt x="1702" y="1831"/>
                    </a:lnTo>
                    <a:lnTo>
                      <a:pt x="1720" y="1826"/>
                    </a:lnTo>
                    <a:lnTo>
                      <a:pt x="1713" y="1847"/>
                    </a:lnTo>
                    <a:lnTo>
                      <a:pt x="1694" y="1871"/>
                    </a:lnTo>
                    <a:lnTo>
                      <a:pt x="1678" y="1875"/>
                    </a:lnTo>
                    <a:lnTo>
                      <a:pt x="1657" y="1871"/>
                    </a:lnTo>
                    <a:lnTo>
                      <a:pt x="1650" y="1873"/>
                    </a:lnTo>
                    <a:lnTo>
                      <a:pt x="1645" y="1878"/>
                    </a:lnTo>
                    <a:lnTo>
                      <a:pt x="1671" y="1913"/>
                    </a:lnTo>
                    <a:lnTo>
                      <a:pt x="1654" y="1968"/>
                    </a:lnTo>
                    <a:lnTo>
                      <a:pt x="1642" y="1987"/>
                    </a:lnTo>
                    <a:lnTo>
                      <a:pt x="1633" y="1989"/>
                    </a:lnTo>
                    <a:lnTo>
                      <a:pt x="1626" y="1989"/>
                    </a:lnTo>
                    <a:lnTo>
                      <a:pt x="1595" y="1972"/>
                    </a:lnTo>
                    <a:lnTo>
                      <a:pt x="1579" y="1958"/>
                    </a:lnTo>
                    <a:lnTo>
                      <a:pt x="1593" y="1996"/>
                    </a:lnTo>
                    <a:lnTo>
                      <a:pt x="1633" y="2005"/>
                    </a:lnTo>
                    <a:lnTo>
                      <a:pt x="1635" y="2020"/>
                    </a:lnTo>
                    <a:lnTo>
                      <a:pt x="1633" y="2031"/>
                    </a:lnTo>
                    <a:lnTo>
                      <a:pt x="1626" y="2046"/>
                    </a:lnTo>
                    <a:lnTo>
                      <a:pt x="1619" y="2065"/>
                    </a:lnTo>
                    <a:lnTo>
                      <a:pt x="1624" y="2076"/>
                    </a:lnTo>
                    <a:lnTo>
                      <a:pt x="1628" y="2110"/>
                    </a:lnTo>
                    <a:lnTo>
                      <a:pt x="1635" y="2124"/>
                    </a:lnTo>
                    <a:lnTo>
                      <a:pt x="1640" y="2169"/>
                    </a:lnTo>
                    <a:lnTo>
                      <a:pt x="1645" y="2188"/>
                    </a:lnTo>
                    <a:lnTo>
                      <a:pt x="1680" y="2258"/>
                    </a:lnTo>
                    <a:lnTo>
                      <a:pt x="1692" y="2258"/>
                    </a:lnTo>
                    <a:lnTo>
                      <a:pt x="1694" y="2266"/>
                    </a:lnTo>
                    <a:lnTo>
                      <a:pt x="1694" y="2282"/>
                    </a:lnTo>
                    <a:lnTo>
                      <a:pt x="1668" y="2284"/>
                    </a:lnTo>
                    <a:lnTo>
                      <a:pt x="1657" y="2292"/>
                    </a:lnTo>
                    <a:lnTo>
                      <a:pt x="1654" y="2296"/>
                    </a:lnTo>
                    <a:lnTo>
                      <a:pt x="1652" y="2301"/>
                    </a:lnTo>
                    <a:lnTo>
                      <a:pt x="1650" y="2299"/>
                    </a:lnTo>
                    <a:lnTo>
                      <a:pt x="1635" y="2296"/>
                    </a:lnTo>
                    <a:lnTo>
                      <a:pt x="1607" y="2275"/>
                    </a:lnTo>
                    <a:lnTo>
                      <a:pt x="1567" y="2261"/>
                    </a:lnTo>
                    <a:lnTo>
                      <a:pt x="1512" y="2256"/>
                    </a:lnTo>
                    <a:lnTo>
                      <a:pt x="1475" y="2244"/>
                    </a:lnTo>
                    <a:lnTo>
                      <a:pt x="1456" y="2228"/>
                    </a:lnTo>
                    <a:lnTo>
                      <a:pt x="1434" y="2218"/>
                    </a:lnTo>
                    <a:lnTo>
                      <a:pt x="1413" y="2216"/>
                    </a:lnTo>
                    <a:lnTo>
                      <a:pt x="1397" y="2206"/>
                    </a:lnTo>
                    <a:lnTo>
                      <a:pt x="1382" y="2192"/>
                    </a:lnTo>
                    <a:lnTo>
                      <a:pt x="1361" y="2183"/>
                    </a:lnTo>
                    <a:lnTo>
                      <a:pt x="1333" y="2178"/>
                    </a:lnTo>
                    <a:lnTo>
                      <a:pt x="1316" y="2169"/>
                    </a:lnTo>
                    <a:lnTo>
                      <a:pt x="1304" y="2143"/>
                    </a:lnTo>
                    <a:lnTo>
                      <a:pt x="1304" y="2143"/>
                    </a:lnTo>
                    <a:lnTo>
                      <a:pt x="1295" y="2100"/>
                    </a:lnTo>
                    <a:lnTo>
                      <a:pt x="1283" y="2072"/>
                    </a:lnTo>
                    <a:lnTo>
                      <a:pt x="1257" y="2039"/>
                    </a:lnTo>
                    <a:lnTo>
                      <a:pt x="1255" y="2034"/>
                    </a:lnTo>
                    <a:lnTo>
                      <a:pt x="1255" y="2034"/>
                    </a:lnTo>
                    <a:lnTo>
                      <a:pt x="1255" y="2029"/>
                    </a:lnTo>
                    <a:lnTo>
                      <a:pt x="1257" y="2010"/>
                    </a:lnTo>
                    <a:lnTo>
                      <a:pt x="1255" y="1996"/>
                    </a:lnTo>
                    <a:lnTo>
                      <a:pt x="1248" y="1984"/>
                    </a:lnTo>
                    <a:lnTo>
                      <a:pt x="1245" y="1972"/>
                    </a:lnTo>
                    <a:lnTo>
                      <a:pt x="1250" y="1961"/>
                    </a:lnTo>
                    <a:lnTo>
                      <a:pt x="1252" y="1946"/>
                    </a:lnTo>
                    <a:lnTo>
                      <a:pt x="1248" y="1930"/>
                    </a:lnTo>
                    <a:lnTo>
                      <a:pt x="1231" y="1909"/>
                    </a:lnTo>
                    <a:lnTo>
                      <a:pt x="1203" y="1887"/>
                    </a:lnTo>
                    <a:lnTo>
                      <a:pt x="1179" y="1859"/>
                    </a:lnTo>
                    <a:lnTo>
                      <a:pt x="1158" y="1819"/>
                    </a:lnTo>
                    <a:lnTo>
                      <a:pt x="1139" y="1790"/>
                    </a:lnTo>
                    <a:lnTo>
                      <a:pt x="1120" y="1776"/>
                    </a:lnTo>
                    <a:lnTo>
                      <a:pt x="1106" y="1757"/>
                    </a:lnTo>
                    <a:lnTo>
                      <a:pt x="1099" y="1734"/>
                    </a:lnTo>
                    <a:lnTo>
                      <a:pt x="1099" y="1722"/>
                    </a:lnTo>
                    <a:lnTo>
                      <a:pt x="1101" y="1719"/>
                    </a:lnTo>
                    <a:lnTo>
                      <a:pt x="1089" y="1693"/>
                    </a:lnTo>
                    <a:lnTo>
                      <a:pt x="1063" y="1648"/>
                    </a:lnTo>
                    <a:lnTo>
                      <a:pt x="1049" y="1615"/>
                    </a:lnTo>
                    <a:lnTo>
                      <a:pt x="1047" y="1594"/>
                    </a:lnTo>
                    <a:lnTo>
                      <a:pt x="1030" y="1570"/>
                    </a:lnTo>
                    <a:lnTo>
                      <a:pt x="999" y="1540"/>
                    </a:lnTo>
                    <a:lnTo>
                      <a:pt x="983" y="1521"/>
                    </a:lnTo>
                    <a:lnTo>
                      <a:pt x="981" y="1509"/>
                    </a:lnTo>
                    <a:lnTo>
                      <a:pt x="978" y="1509"/>
                    </a:lnTo>
                    <a:lnTo>
                      <a:pt x="933" y="1469"/>
                    </a:lnTo>
                    <a:lnTo>
                      <a:pt x="919" y="1445"/>
                    </a:lnTo>
                    <a:lnTo>
                      <a:pt x="910" y="1436"/>
                    </a:lnTo>
                    <a:lnTo>
                      <a:pt x="895" y="1436"/>
                    </a:lnTo>
                    <a:lnTo>
                      <a:pt x="891" y="1433"/>
                    </a:lnTo>
                    <a:lnTo>
                      <a:pt x="891" y="1429"/>
                    </a:lnTo>
                    <a:lnTo>
                      <a:pt x="886" y="1429"/>
                    </a:lnTo>
                    <a:lnTo>
                      <a:pt x="877" y="1433"/>
                    </a:lnTo>
                    <a:lnTo>
                      <a:pt x="851" y="1431"/>
                    </a:lnTo>
                    <a:lnTo>
                      <a:pt x="808" y="1426"/>
                    </a:lnTo>
                    <a:lnTo>
                      <a:pt x="775" y="1419"/>
                    </a:lnTo>
                    <a:lnTo>
                      <a:pt x="756" y="1407"/>
                    </a:lnTo>
                    <a:lnTo>
                      <a:pt x="744" y="1407"/>
                    </a:lnTo>
                    <a:lnTo>
                      <a:pt x="735" y="1419"/>
                    </a:lnTo>
                    <a:lnTo>
                      <a:pt x="718" y="1426"/>
                    </a:lnTo>
                    <a:lnTo>
                      <a:pt x="692" y="1429"/>
                    </a:lnTo>
                    <a:lnTo>
                      <a:pt x="669" y="1450"/>
                    </a:lnTo>
                    <a:lnTo>
                      <a:pt x="645" y="1490"/>
                    </a:lnTo>
                    <a:lnTo>
                      <a:pt x="635" y="1516"/>
                    </a:lnTo>
                    <a:lnTo>
                      <a:pt x="638" y="1528"/>
                    </a:lnTo>
                    <a:lnTo>
                      <a:pt x="631" y="1537"/>
                    </a:lnTo>
                    <a:lnTo>
                      <a:pt x="619" y="1542"/>
                    </a:lnTo>
                    <a:lnTo>
                      <a:pt x="605" y="1554"/>
                    </a:lnTo>
                    <a:lnTo>
                      <a:pt x="591" y="1573"/>
                    </a:lnTo>
                    <a:lnTo>
                      <a:pt x="576" y="1580"/>
                    </a:lnTo>
                    <a:lnTo>
                      <a:pt x="560" y="1578"/>
                    </a:lnTo>
                    <a:lnTo>
                      <a:pt x="529" y="1561"/>
                    </a:lnTo>
                    <a:lnTo>
                      <a:pt x="487" y="1528"/>
                    </a:lnTo>
                    <a:lnTo>
                      <a:pt x="453" y="1507"/>
                    </a:lnTo>
                    <a:lnTo>
                      <a:pt x="430" y="1497"/>
                    </a:lnTo>
                    <a:lnTo>
                      <a:pt x="409" y="1483"/>
                    </a:lnTo>
                    <a:lnTo>
                      <a:pt x="390" y="1462"/>
                    </a:lnTo>
                    <a:lnTo>
                      <a:pt x="373" y="1445"/>
                    </a:lnTo>
                    <a:lnTo>
                      <a:pt x="357" y="1438"/>
                    </a:lnTo>
                    <a:lnTo>
                      <a:pt x="340" y="1414"/>
                    </a:lnTo>
                    <a:lnTo>
                      <a:pt x="323" y="1374"/>
                    </a:lnTo>
                    <a:lnTo>
                      <a:pt x="314" y="1346"/>
                    </a:lnTo>
                    <a:lnTo>
                      <a:pt x="316" y="1315"/>
                    </a:lnTo>
                    <a:lnTo>
                      <a:pt x="295" y="1246"/>
                    </a:lnTo>
                    <a:lnTo>
                      <a:pt x="283" y="1216"/>
                    </a:lnTo>
                    <a:lnTo>
                      <a:pt x="274" y="1202"/>
                    </a:lnTo>
                    <a:lnTo>
                      <a:pt x="253" y="1183"/>
                    </a:lnTo>
                    <a:lnTo>
                      <a:pt x="222" y="1161"/>
                    </a:lnTo>
                    <a:lnTo>
                      <a:pt x="184" y="1121"/>
                    </a:lnTo>
                    <a:lnTo>
                      <a:pt x="134" y="1060"/>
                    </a:lnTo>
                    <a:lnTo>
                      <a:pt x="99" y="1022"/>
                    </a:lnTo>
                    <a:lnTo>
                      <a:pt x="80" y="1010"/>
                    </a:lnTo>
                    <a:lnTo>
                      <a:pt x="61" y="986"/>
                    </a:lnTo>
                    <a:lnTo>
                      <a:pt x="49" y="958"/>
                    </a:lnTo>
                    <a:lnTo>
                      <a:pt x="35" y="937"/>
                    </a:lnTo>
                    <a:lnTo>
                      <a:pt x="33" y="937"/>
                    </a:lnTo>
                    <a:lnTo>
                      <a:pt x="11" y="923"/>
                    </a:lnTo>
                    <a:lnTo>
                      <a:pt x="11" y="923"/>
                    </a:lnTo>
                    <a:lnTo>
                      <a:pt x="0" y="882"/>
                    </a:lnTo>
                    <a:lnTo>
                      <a:pt x="0" y="882"/>
                    </a:lnTo>
                    <a:lnTo>
                      <a:pt x="40" y="887"/>
                    </a:lnTo>
                    <a:lnTo>
                      <a:pt x="80" y="892"/>
                    </a:lnTo>
                    <a:lnTo>
                      <a:pt x="120" y="897"/>
                    </a:lnTo>
                    <a:lnTo>
                      <a:pt x="160" y="901"/>
                    </a:lnTo>
                    <a:lnTo>
                      <a:pt x="201" y="906"/>
                    </a:lnTo>
                    <a:lnTo>
                      <a:pt x="241" y="908"/>
                    </a:lnTo>
                    <a:lnTo>
                      <a:pt x="281" y="913"/>
                    </a:lnTo>
                    <a:lnTo>
                      <a:pt x="321" y="918"/>
                    </a:lnTo>
                    <a:lnTo>
                      <a:pt x="361" y="920"/>
                    </a:lnTo>
                    <a:lnTo>
                      <a:pt x="401" y="925"/>
                    </a:lnTo>
                    <a:lnTo>
                      <a:pt x="444" y="930"/>
                    </a:lnTo>
                    <a:lnTo>
                      <a:pt x="484" y="932"/>
                    </a:lnTo>
                    <a:lnTo>
                      <a:pt x="524" y="937"/>
                    </a:lnTo>
                    <a:lnTo>
                      <a:pt x="565" y="939"/>
                    </a:lnTo>
                    <a:lnTo>
                      <a:pt x="605" y="941"/>
                    </a:lnTo>
                    <a:lnTo>
                      <a:pt x="645" y="946"/>
                    </a:lnTo>
                    <a:lnTo>
                      <a:pt x="650" y="887"/>
                    </a:lnTo>
                    <a:lnTo>
                      <a:pt x="654" y="828"/>
                    </a:lnTo>
                    <a:lnTo>
                      <a:pt x="659" y="769"/>
                    </a:lnTo>
                    <a:lnTo>
                      <a:pt x="664" y="710"/>
                    </a:lnTo>
                    <a:lnTo>
                      <a:pt x="669" y="651"/>
                    </a:lnTo>
                    <a:lnTo>
                      <a:pt x="673" y="592"/>
                    </a:lnTo>
                    <a:lnTo>
                      <a:pt x="678" y="532"/>
                    </a:lnTo>
                    <a:lnTo>
                      <a:pt x="683" y="473"/>
                    </a:lnTo>
                    <a:lnTo>
                      <a:pt x="687" y="414"/>
                    </a:lnTo>
                    <a:lnTo>
                      <a:pt x="692" y="355"/>
                    </a:lnTo>
                    <a:lnTo>
                      <a:pt x="697" y="296"/>
                    </a:lnTo>
                    <a:lnTo>
                      <a:pt x="704" y="237"/>
                    </a:lnTo>
                    <a:lnTo>
                      <a:pt x="709" y="178"/>
                    </a:lnTo>
                    <a:lnTo>
                      <a:pt x="713" y="119"/>
                    </a:lnTo>
                    <a:lnTo>
                      <a:pt x="718" y="60"/>
                    </a:lnTo>
                    <a:lnTo>
                      <a:pt x="723" y="0"/>
                    </a:lnTo>
                    <a:lnTo>
                      <a:pt x="730" y="0"/>
                    </a:lnTo>
                    <a:lnTo>
                      <a:pt x="761" y="3"/>
                    </a:lnTo>
                    <a:lnTo>
                      <a:pt x="791" y="5"/>
                    </a:lnTo>
                    <a:lnTo>
                      <a:pt x="825" y="7"/>
                    </a:lnTo>
                    <a:lnTo>
                      <a:pt x="855" y="10"/>
                    </a:lnTo>
                    <a:lnTo>
                      <a:pt x="888" y="12"/>
                    </a:lnTo>
                    <a:lnTo>
                      <a:pt x="919" y="15"/>
                    </a:lnTo>
                    <a:lnTo>
                      <a:pt x="952" y="17"/>
                    </a:lnTo>
                    <a:lnTo>
                      <a:pt x="983" y="19"/>
                    </a:lnTo>
                    <a:lnTo>
                      <a:pt x="1016" y="22"/>
                    </a:lnTo>
                    <a:lnTo>
                      <a:pt x="1047" y="22"/>
                    </a:lnTo>
                    <a:lnTo>
                      <a:pt x="1077" y="24"/>
                    </a:lnTo>
                    <a:lnTo>
                      <a:pt x="1111" y="26"/>
                    </a:lnTo>
                    <a:lnTo>
                      <a:pt x="1141" y="26"/>
                    </a:lnTo>
                    <a:lnTo>
                      <a:pt x="1174" y="29"/>
                    </a:lnTo>
                    <a:lnTo>
                      <a:pt x="1205" y="31"/>
                    </a:lnTo>
                    <a:lnTo>
                      <a:pt x="1238" y="31"/>
                    </a:lnTo>
                    <a:lnTo>
                      <a:pt x="1236" y="57"/>
                    </a:lnTo>
                    <a:lnTo>
                      <a:pt x="1236" y="83"/>
                    </a:lnTo>
                    <a:lnTo>
                      <a:pt x="1233" y="107"/>
                    </a:lnTo>
                    <a:lnTo>
                      <a:pt x="1233" y="133"/>
                    </a:lnTo>
                    <a:lnTo>
                      <a:pt x="1231" y="159"/>
                    </a:lnTo>
                    <a:lnTo>
                      <a:pt x="1231" y="182"/>
                    </a:lnTo>
                    <a:lnTo>
                      <a:pt x="1231" y="208"/>
                    </a:lnTo>
                    <a:lnTo>
                      <a:pt x="1229" y="234"/>
                    </a:lnTo>
                    <a:lnTo>
                      <a:pt x="1229" y="258"/>
                    </a:lnTo>
                    <a:lnTo>
                      <a:pt x="1226" y="284"/>
                    </a:lnTo>
                    <a:lnTo>
                      <a:pt x="1226" y="308"/>
                    </a:lnTo>
                    <a:lnTo>
                      <a:pt x="1224" y="334"/>
                    </a:lnTo>
                    <a:lnTo>
                      <a:pt x="1224" y="360"/>
                    </a:lnTo>
                    <a:lnTo>
                      <a:pt x="1222" y="383"/>
                    </a:lnTo>
                    <a:lnTo>
                      <a:pt x="1222" y="409"/>
                    </a:lnTo>
                    <a:lnTo>
                      <a:pt x="1222" y="435"/>
                    </a:lnTo>
                    <a:lnTo>
                      <a:pt x="1231" y="438"/>
                    </a:lnTo>
                    <a:lnTo>
                      <a:pt x="1243" y="445"/>
                    </a:lnTo>
                    <a:lnTo>
                      <a:pt x="1274" y="473"/>
                    </a:lnTo>
                    <a:lnTo>
                      <a:pt x="1283" y="478"/>
                    </a:lnTo>
                    <a:lnTo>
                      <a:pt x="1300" y="476"/>
                    </a:lnTo>
                    <a:lnTo>
                      <a:pt x="1319" y="480"/>
                    </a:lnTo>
                    <a:lnTo>
                      <a:pt x="1323" y="480"/>
                    </a:lnTo>
                    <a:lnTo>
                      <a:pt x="1326" y="469"/>
                    </a:lnTo>
                    <a:lnTo>
                      <a:pt x="1328" y="466"/>
                    </a:lnTo>
                    <a:lnTo>
                      <a:pt x="1330" y="466"/>
                    </a:lnTo>
                    <a:lnTo>
                      <a:pt x="1347" y="478"/>
                    </a:lnTo>
                    <a:lnTo>
                      <a:pt x="1349" y="483"/>
                    </a:lnTo>
                    <a:lnTo>
                      <a:pt x="1359" y="497"/>
                    </a:lnTo>
                    <a:lnTo>
                      <a:pt x="1359" y="513"/>
                    </a:lnTo>
                    <a:lnTo>
                      <a:pt x="1364" y="518"/>
                    </a:lnTo>
                    <a:lnTo>
                      <a:pt x="1373" y="521"/>
                    </a:lnTo>
                    <a:lnTo>
                      <a:pt x="1397" y="521"/>
                    </a:lnTo>
                    <a:lnTo>
                      <a:pt x="1427" y="532"/>
                    </a:lnTo>
                    <a:lnTo>
                      <a:pt x="1439" y="535"/>
                    </a:lnTo>
                    <a:lnTo>
                      <a:pt x="1460" y="532"/>
                    </a:lnTo>
                    <a:lnTo>
                      <a:pt x="1479" y="549"/>
                    </a:lnTo>
                    <a:lnTo>
                      <a:pt x="1486" y="551"/>
                    </a:lnTo>
                    <a:lnTo>
                      <a:pt x="1494" y="549"/>
                    </a:lnTo>
                    <a:lnTo>
                      <a:pt x="1505" y="539"/>
                    </a:lnTo>
                    <a:lnTo>
                      <a:pt x="1529" y="539"/>
                    </a:lnTo>
                    <a:lnTo>
                      <a:pt x="1550" y="539"/>
                    </a:lnTo>
                    <a:lnTo>
                      <a:pt x="1550" y="551"/>
                    </a:lnTo>
                    <a:lnTo>
                      <a:pt x="1555" y="561"/>
                    </a:lnTo>
                    <a:lnTo>
                      <a:pt x="1572" y="570"/>
                    </a:lnTo>
                    <a:lnTo>
                      <a:pt x="1574" y="575"/>
                    </a:lnTo>
                    <a:lnTo>
                      <a:pt x="1574" y="592"/>
                    </a:lnTo>
                    <a:lnTo>
                      <a:pt x="1579" y="596"/>
                    </a:lnTo>
                    <a:lnTo>
                      <a:pt x="1586" y="596"/>
                    </a:lnTo>
                    <a:lnTo>
                      <a:pt x="1593" y="596"/>
                    </a:lnTo>
                    <a:lnTo>
                      <a:pt x="1602" y="592"/>
                    </a:lnTo>
                    <a:lnTo>
                      <a:pt x="1619" y="577"/>
                    </a:lnTo>
                    <a:lnTo>
                      <a:pt x="1626" y="573"/>
                    </a:lnTo>
                    <a:lnTo>
                      <a:pt x="1628" y="573"/>
                    </a:lnTo>
                    <a:lnTo>
                      <a:pt x="1633" y="573"/>
                    </a:lnTo>
                    <a:lnTo>
                      <a:pt x="1635" y="577"/>
                    </a:lnTo>
                    <a:lnTo>
                      <a:pt x="1640" y="589"/>
                    </a:lnTo>
                    <a:lnTo>
                      <a:pt x="1657" y="596"/>
                    </a:lnTo>
                    <a:lnTo>
                      <a:pt x="1666" y="606"/>
                    </a:lnTo>
                    <a:lnTo>
                      <a:pt x="1671" y="608"/>
                    </a:lnTo>
                    <a:lnTo>
                      <a:pt x="1678" y="606"/>
                    </a:lnTo>
                    <a:lnTo>
                      <a:pt x="1687" y="599"/>
                    </a:lnTo>
                    <a:lnTo>
                      <a:pt x="1694" y="601"/>
                    </a:lnTo>
                    <a:lnTo>
                      <a:pt x="1704" y="594"/>
                    </a:lnTo>
                    <a:lnTo>
                      <a:pt x="1706" y="596"/>
                    </a:lnTo>
                    <a:lnTo>
                      <a:pt x="1709" y="599"/>
                    </a:lnTo>
                    <a:lnTo>
                      <a:pt x="1706" y="613"/>
                    </a:lnTo>
                    <a:lnTo>
                      <a:pt x="1706" y="618"/>
                    </a:lnTo>
                    <a:lnTo>
                      <a:pt x="1711" y="625"/>
                    </a:lnTo>
                    <a:lnTo>
                      <a:pt x="1716" y="627"/>
                    </a:lnTo>
                    <a:lnTo>
                      <a:pt x="1720" y="629"/>
                    </a:lnTo>
                    <a:lnTo>
                      <a:pt x="1723" y="625"/>
                    </a:lnTo>
                    <a:lnTo>
                      <a:pt x="1730" y="608"/>
                    </a:lnTo>
                    <a:lnTo>
                      <a:pt x="1730" y="603"/>
                    </a:lnTo>
                    <a:lnTo>
                      <a:pt x="1737" y="601"/>
                    </a:lnTo>
                    <a:lnTo>
                      <a:pt x="1742" y="599"/>
                    </a:lnTo>
                    <a:lnTo>
                      <a:pt x="1744" y="587"/>
                    </a:lnTo>
                    <a:lnTo>
                      <a:pt x="1754" y="582"/>
                    </a:lnTo>
                    <a:lnTo>
                      <a:pt x="1756" y="582"/>
                    </a:lnTo>
                    <a:lnTo>
                      <a:pt x="1761" y="587"/>
                    </a:lnTo>
                    <a:lnTo>
                      <a:pt x="1768" y="599"/>
                    </a:lnTo>
                    <a:lnTo>
                      <a:pt x="1787" y="603"/>
                    </a:lnTo>
                    <a:lnTo>
                      <a:pt x="1791" y="603"/>
                    </a:lnTo>
                    <a:lnTo>
                      <a:pt x="1796" y="601"/>
                    </a:lnTo>
                    <a:lnTo>
                      <a:pt x="1803" y="594"/>
                    </a:lnTo>
                    <a:lnTo>
                      <a:pt x="1808" y="592"/>
                    </a:lnTo>
                    <a:lnTo>
                      <a:pt x="1810" y="594"/>
                    </a:lnTo>
                    <a:lnTo>
                      <a:pt x="1813" y="594"/>
                    </a:lnTo>
                    <a:lnTo>
                      <a:pt x="1813" y="606"/>
                    </a:lnTo>
                    <a:lnTo>
                      <a:pt x="1832" y="618"/>
                    </a:lnTo>
                    <a:lnTo>
                      <a:pt x="1846" y="620"/>
                    </a:lnTo>
                    <a:lnTo>
                      <a:pt x="1858" y="634"/>
                    </a:lnTo>
                    <a:lnTo>
                      <a:pt x="1862" y="634"/>
                    </a:lnTo>
                    <a:lnTo>
                      <a:pt x="1867" y="625"/>
                    </a:lnTo>
                    <a:lnTo>
                      <a:pt x="1881" y="622"/>
                    </a:lnTo>
                    <a:lnTo>
                      <a:pt x="1893" y="610"/>
                    </a:lnTo>
                    <a:lnTo>
                      <a:pt x="1926" y="599"/>
                    </a:lnTo>
                    <a:lnTo>
                      <a:pt x="1940" y="603"/>
                    </a:lnTo>
                    <a:lnTo>
                      <a:pt x="1954" y="601"/>
                    </a:lnTo>
                    <a:lnTo>
                      <a:pt x="1959" y="596"/>
                    </a:lnTo>
                    <a:lnTo>
                      <a:pt x="1983" y="589"/>
                    </a:lnTo>
                    <a:lnTo>
                      <a:pt x="1988" y="584"/>
                    </a:lnTo>
                    <a:lnTo>
                      <a:pt x="1995" y="589"/>
                    </a:lnTo>
                    <a:lnTo>
                      <a:pt x="1997" y="594"/>
                    </a:lnTo>
                    <a:lnTo>
                      <a:pt x="2002" y="596"/>
                    </a:lnTo>
                    <a:lnTo>
                      <a:pt x="2018" y="601"/>
                    </a:lnTo>
                    <a:lnTo>
                      <a:pt x="2028" y="601"/>
                    </a:lnTo>
                    <a:lnTo>
                      <a:pt x="2044" y="592"/>
                    </a:lnTo>
                    <a:lnTo>
                      <a:pt x="2051" y="582"/>
                    </a:lnTo>
                    <a:lnTo>
                      <a:pt x="2054" y="582"/>
                    </a:lnTo>
                    <a:lnTo>
                      <a:pt x="2068" y="587"/>
                    </a:lnTo>
                    <a:lnTo>
                      <a:pt x="2099" y="606"/>
                    </a:lnTo>
                    <a:lnTo>
                      <a:pt x="2115" y="622"/>
                    </a:lnTo>
                    <a:lnTo>
                      <a:pt x="2134" y="629"/>
                    </a:lnTo>
                    <a:lnTo>
                      <a:pt x="2144" y="636"/>
                    </a:lnTo>
                    <a:lnTo>
                      <a:pt x="2184" y="646"/>
                    </a:lnTo>
                    <a:close/>
                    <a:moveTo>
                      <a:pt x="2096" y="1599"/>
                    </a:moveTo>
                    <a:lnTo>
                      <a:pt x="2087" y="1601"/>
                    </a:lnTo>
                    <a:lnTo>
                      <a:pt x="2127" y="1568"/>
                    </a:lnTo>
                    <a:lnTo>
                      <a:pt x="2134" y="1559"/>
                    </a:lnTo>
                    <a:lnTo>
                      <a:pt x="2146" y="1559"/>
                    </a:lnTo>
                    <a:lnTo>
                      <a:pt x="2127" y="1578"/>
                    </a:lnTo>
                    <a:lnTo>
                      <a:pt x="2096" y="1599"/>
                    </a:lnTo>
                    <a:close/>
                    <a:moveTo>
                      <a:pt x="1772" y="1812"/>
                    </a:moveTo>
                    <a:lnTo>
                      <a:pt x="1765" y="1814"/>
                    </a:lnTo>
                    <a:lnTo>
                      <a:pt x="1772" y="1802"/>
                    </a:lnTo>
                    <a:lnTo>
                      <a:pt x="1787" y="1795"/>
                    </a:lnTo>
                    <a:lnTo>
                      <a:pt x="1817" y="1774"/>
                    </a:lnTo>
                    <a:lnTo>
                      <a:pt x="1832" y="1771"/>
                    </a:lnTo>
                    <a:lnTo>
                      <a:pt x="1836" y="1764"/>
                    </a:lnTo>
                    <a:lnTo>
                      <a:pt x="1841" y="1764"/>
                    </a:lnTo>
                    <a:lnTo>
                      <a:pt x="1839" y="1774"/>
                    </a:lnTo>
                    <a:lnTo>
                      <a:pt x="1813" y="1786"/>
                    </a:lnTo>
                    <a:lnTo>
                      <a:pt x="1772" y="1812"/>
                    </a:lnTo>
                    <a:close/>
                    <a:moveTo>
                      <a:pt x="1723" y="1866"/>
                    </a:moveTo>
                    <a:lnTo>
                      <a:pt x="1720" y="1866"/>
                    </a:lnTo>
                    <a:lnTo>
                      <a:pt x="1730" y="1847"/>
                    </a:lnTo>
                    <a:lnTo>
                      <a:pt x="1730" y="1842"/>
                    </a:lnTo>
                    <a:lnTo>
                      <a:pt x="1746" y="1819"/>
                    </a:lnTo>
                    <a:lnTo>
                      <a:pt x="1754" y="1816"/>
                    </a:lnTo>
                    <a:lnTo>
                      <a:pt x="1758" y="1826"/>
                    </a:lnTo>
                    <a:lnTo>
                      <a:pt x="1742" y="1840"/>
                    </a:lnTo>
                    <a:lnTo>
                      <a:pt x="1723" y="1866"/>
                    </a:lnTo>
                    <a:close/>
                    <a:moveTo>
                      <a:pt x="1657" y="1994"/>
                    </a:moveTo>
                    <a:lnTo>
                      <a:pt x="1652" y="2005"/>
                    </a:lnTo>
                    <a:lnTo>
                      <a:pt x="1654" y="1987"/>
                    </a:lnTo>
                    <a:lnTo>
                      <a:pt x="1668" y="1946"/>
                    </a:lnTo>
                    <a:lnTo>
                      <a:pt x="1702" y="1892"/>
                    </a:lnTo>
                    <a:lnTo>
                      <a:pt x="1716" y="1883"/>
                    </a:lnTo>
                    <a:lnTo>
                      <a:pt x="1678" y="1942"/>
                    </a:lnTo>
                    <a:lnTo>
                      <a:pt x="1657" y="1994"/>
                    </a:lnTo>
                    <a:close/>
                    <a:moveTo>
                      <a:pt x="1690" y="2237"/>
                    </a:moveTo>
                    <a:lnTo>
                      <a:pt x="1687" y="2249"/>
                    </a:lnTo>
                    <a:lnTo>
                      <a:pt x="1671" y="2202"/>
                    </a:lnTo>
                    <a:lnTo>
                      <a:pt x="1647" y="2095"/>
                    </a:lnTo>
                    <a:lnTo>
                      <a:pt x="1647" y="2036"/>
                    </a:lnTo>
                    <a:lnTo>
                      <a:pt x="1652" y="2015"/>
                    </a:lnTo>
                    <a:lnTo>
                      <a:pt x="1657" y="2100"/>
                    </a:lnTo>
                    <a:lnTo>
                      <a:pt x="1683" y="2209"/>
                    </a:lnTo>
                    <a:lnTo>
                      <a:pt x="1690" y="223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48" name="Freeform 87">
                <a:extLst>
                  <a:ext uri="{FF2B5EF4-FFF2-40B4-BE49-F238E27FC236}">
                    <a16:creationId xmlns:a16="http://schemas.microsoft.com/office/drawing/2014/main" id="{A9E23D84-CA11-BF8E-DD8C-01D153DE64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409"/>
                <a:ext cx="948" cy="1173"/>
              </a:xfrm>
              <a:custGeom>
                <a:avLst/>
                <a:gdLst>
                  <a:gd name="T0" fmla="*/ 664 w 948"/>
                  <a:gd name="T1" fmla="*/ 111 h 1173"/>
                  <a:gd name="T2" fmla="*/ 654 w 948"/>
                  <a:gd name="T3" fmla="*/ 163 h 1173"/>
                  <a:gd name="T4" fmla="*/ 647 w 948"/>
                  <a:gd name="T5" fmla="*/ 215 h 1173"/>
                  <a:gd name="T6" fmla="*/ 638 w 948"/>
                  <a:gd name="T7" fmla="*/ 267 h 1173"/>
                  <a:gd name="T8" fmla="*/ 673 w 948"/>
                  <a:gd name="T9" fmla="*/ 298 h 1173"/>
                  <a:gd name="T10" fmla="*/ 751 w 948"/>
                  <a:gd name="T11" fmla="*/ 312 h 1173"/>
                  <a:gd name="T12" fmla="*/ 829 w 948"/>
                  <a:gd name="T13" fmla="*/ 324 h 1173"/>
                  <a:gd name="T14" fmla="*/ 910 w 948"/>
                  <a:gd name="T15" fmla="*/ 336 h 1173"/>
                  <a:gd name="T16" fmla="*/ 940 w 948"/>
                  <a:gd name="T17" fmla="*/ 393 h 1173"/>
                  <a:gd name="T18" fmla="*/ 926 w 948"/>
                  <a:gd name="T19" fmla="*/ 497 h 1173"/>
                  <a:gd name="T20" fmla="*/ 912 w 948"/>
                  <a:gd name="T21" fmla="*/ 601 h 1173"/>
                  <a:gd name="T22" fmla="*/ 896 w 948"/>
                  <a:gd name="T23" fmla="*/ 705 h 1173"/>
                  <a:gd name="T24" fmla="*/ 881 w 948"/>
                  <a:gd name="T25" fmla="*/ 809 h 1173"/>
                  <a:gd name="T26" fmla="*/ 865 w 948"/>
                  <a:gd name="T27" fmla="*/ 913 h 1173"/>
                  <a:gd name="T28" fmla="*/ 851 w 948"/>
                  <a:gd name="T29" fmla="*/ 1017 h 1173"/>
                  <a:gd name="T30" fmla="*/ 836 w 948"/>
                  <a:gd name="T31" fmla="*/ 1121 h 1173"/>
                  <a:gd name="T32" fmla="*/ 777 w 948"/>
                  <a:gd name="T33" fmla="*/ 1166 h 1173"/>
                  <a:gd name="T34" fmla="*/ 673 w 948"/>
                  <a:gd name="T35" fmla="*/ 1149 h 1173"/>
                  <a:gd name="T36" fmla="*/ 569 w 948"/>
                  <a:gd name="T37" fmla="*/ 1133 h 1173"/>
                  <a:gd name="T38" fmla="*/ 465 w 948"/>
                  <a:gd name="T39" fmla="*/ 1116 h 1173"/>
                  <a:gd name="T40" fmla="*/ 361 w 948"/>
                  <a:gd name="T41" fmla="*/ 1100 h 1173"/>
                  <a:gd name="T42" fmla="*/ 257 w 948"/>
                  <a:gd name="T43" fmla="*/ 1081 h 1173"/>
                  <a:gd name="T44" fmla="*/ 153 w 948"/>
                  <a:gd name="T45" fmla="*/ 1059 h 1173"/>
                  <a:gd name="T46" fmla="*/ 52 w 948"/>
                  <a:gd name="T47" fmla="*/ 1040 h 1173"/>
                  <a:gd name="T48" fmla="*/ 4 w 948"/>
                  <a:gd name="T49" fmla="*/ 998 h 1173"/>
                  <a:gd name="T50" fmla="*/ 19 w 948"/>
                  <a:gd name="T51" fmla="*/ 934 h 1173"/>
                  <a:gd name="T52" fmla="*/ 30 w 948"/>
                  <a:gd name="T53" fmla="*/ 868 h 1173"/>
                  <a:gd name="T54" fmla="*/ 45 w 948"/>
                  <a:gd name="T55" fmla="*/ 804 h 1173"/>
                  <a:gd name="T56" fmla="*/ 56 w 948"/>
                  <a:gd name="T57" fmla="*/ 740 h 1173"/>
                  <a:gd name="T58" fmla="*/ 71 w 948"/>
                  <a:gd name="T59" fmla="*/ 676 h 1173"/>
                  <a:gd name="T60" fmla="*/ 82 w 948"/>
                  <a:gd name="T61" fmla="*/ 612 h 1173"/>
                  <a:gd name="T62" fmla="*/ 97 w 948"/>
                  <a:gd name="T63" fmla="*/ 546 h 1173"/>
                  <a:gd name="T64" fmla="*/ 108 w 948"/>
                  <a:gd name="T65" fmla="*/ 482 h 1173"/>
                  <a:gd name="T66" fmla="*/ 123 w 948"/>
                  <a:gd name="T67" fmla="*/ 419 h 1173"/>
                  <a:gd name="T68" fmla="*/ 134 w 948"/>
                  <a:gd name="T69" fmla="*/ 355 h 1173"/>
                  <a:gd name="T70" fmla="*/ 149 w 948"/>
                  <a:gd name="T71" fmla="*/ 289 h 1173"/>
                  <a:gd name="T72" fmla="*/ 160 w 948"/>
                  <a:gd name="T73" fmla="*/ 225 h 1173"/>
                  <a:gd name="T74" fmla="*/ 175 w 948"/>
                  <a:gd name="T75" fmla="*/ 161 h 1173"/>
                  <a:gd name="T76" fmla="*/ 186 w 948"/>
                  <a:gd name="T77" fmla="*/ 97 h 1173"/>
                  <a:gd name="T78" fmla="*/ 198 w 948"/>
                  <a:gd name="T79" fmla="*/ 31 h 1173"/>
                  <a:gd name="T80" fmla="*/ 234 w 948"/>
                  <a:gd name="T81" fmla="*/ 5 h 1173"/>
                  <a:gd name="T82" fmla="*/ 293 w 948"/>
                  <a:gd name="T83" fmla="*/ 17 h 1173"/>
                  <a:gd name="T84" fmla="*/ 350 w 948"/>
                  <a:gd name="T85" fmla="*/ 28 h 1173"/>
                  <a:gd name="T86" fmla="*/ 409 w 948"/>
                  <a:gd name="T87" fmla="*/ 38 h 1173"/>
                  <a:gd name="T88" fmla="*/ 465 w 948"/>
                  <a:gd name="T89" fmla="*/ 50 h 1173"/>
                  <a:gd name="T90" fmla="*/ 522 w 948"/>
                  <a:gd name="T91" fmla="*/ 59 h 1173"/>
                  <a:gd name="T92" fmla="*/ 581 w 948"/>
                  <a:gd name="T93" fmla="*/ 71 h 1173"/>
                  <a:gd name="T94" fmla="*/ 638 w 948"/>
                  <a:gd name="T95" fmla="*/ 80 h 1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48" h="1173">
                    <a:moveTo>
                      <a:pt x="669" y="85"/>
                    </a:moveTo>
                    <a:lnTo>
                      <a:pt x="664" y="111"/>
                    </a:lnTo>
                    <a:lnTo>
                      <a:pt x="659" y="137"/>
                    </a:lnTo>
                    <a:lnTo>
                      <a:pt x="654" y="163"/>
                    </a:lnTo>
                    <a:lnTo>
                      <a:pt x="650" y="189"/>
                    </a:lnTo>
                    <a:lnTo>
                      <a:pt x="647" y="215"/>
                    </a:lnTo>
                    <a:lnTo>
                      <a:pt x="643" y="241"/>
                    </a:lnTo>
                    <a:lnTo>
                      <a:pt x="638" y="267"/>
                    </a:lnTo>
                    <a:lnTo>
                      <a:pt x="633" y="293"/>
                    </a:lnTo>
                    <a:lnTo>
                      <a:pt x="673" y="298"/>
                    </a:lnTo>
                    <a:lnTo>
                      <a:pt x="711" y="305"/>
                    </a:lnTo>
                    <a:lnTo>
                      <a:pt x="751" y="312"/>
                    </a:lnTo>
                    <a:lnTo>
                      <a:pt x="792" y="317"/>
                    </a:lnTo>
                    <a:lnTo>
                      <a:pt x="829" y="324"/>
                    </a:lnTo>
                    <a:lnTo>
                      <a:pt x="870" y="329"/>
                    </a:lnTo>
                    <a:lnTo>
                      <a:pt x="910" y="336"/>
                    </a:lnTo>
                    <a:lnTo>
                      <a:pt x="948" y="341"/>
                    </a:lnTo>
                    <a:lnTo>
                      <a:pt x="940" y="393"/>
                    </a:lnTo>
                    <a:lnTo>
                      <a:pt x="933" y="445"/>
                    </a:lnTo>
                    <a:lnTo>
                      <a:pt x="926" y="497"/>
                    </a:lnTo>
                    <a:lnTo>
                      <a:pt x="919" y="549"/>
                    </a:lnTo>
                    <a:lnTo>
                      <a:pt x="912" y="601"/>
                    </a:lnTo>
                    <a:lnTo>
                      <a:pt x="903" y="653"/>
                    </a:lnTo>
                    <a:lnTo>
                      <a:pt x="896" y="705"/>
                    </a:lnTo>
                    <a:lnTo>
                      <a:pt x="888" y="757"/>
                    </a:lnTo>
                    <a:lnTo>
                      <a:pt x="881" y="809"/>
                    </a:lnTo>
                    <a:lnTo>
                      <a:pt x="874" y="861"/>
                    </a:lnTo>
                    <a:lnTo>
                      <a:pt x="865" y="913"/>
                    </a:lnTo>
                    <a:lnTo>
                      <a:pt x="858" y="965"/>
                    </a:lnTo>
                    <a:lnTo>
                      <a:pt x="851" y="1017"/>
                    </a:lnTo>
                    <a:lnTo>
                      <a:pt x="844" y="1069"/>
                    </a:lnTo>
                    <a:lnTo>
                      <a:pt x="836" y="1121"/>
                    </a:lnTo>
                    <a:lnTo>
                      <a:pt x="829" y="1173"/>
                    </a:lnTo>
                    <a:lnTo>
                      <a:pt x="777" y="1166"/>
                    </a:lnTo>
                    <a:lnTo>
                      <a:pt x="725" y="1159"/>
                    </a:lnTo>
                    <a:lnTo>
                      <a:pt x="673" y="1149"/>
                    </a:lnTo>
                    <a:lnTo>
                      <a:pt x="621" y="1142"/>
                    </a:lnTo>
                    <a:lnTo>
                      <a:pt x="569" y="1133"/>
                    </a:lnTo>
                    <a:lnTo>
                      <a:pt x="517" y="1126"/>
                    </a:lnTo>
                    <a:lnTo>
                      <a:pt x="465" y="1116"/>
                    </a:lnTo>
                    <a:lnTo>
                      <a:pt x="413" y="1107"/>
                    </a:lnTo>
                    <a:lnTo>
                      <a:pt x="361" y="1100"/>
                    </a:lnTo>
                    <a:lnTo>
                      <a:pt x="309" y="1090"/>
                    </a:lnTo>
                    <a:lnTo>
                      <a:pt x="257" y="1081"/>
                    </a:lnTo>
                    <a:lnTo>
                      <a:pt x="205" y="1071"/>
                    </a:lnTo>
                    <a:lnTo>
                      <a:pt x="153" y="1059"/>
                    </a:lnTo>
                    <a:lnTo>
                      <a:pt x="101" y="1050"/>
                    </a:lnTo>
                    <a:lnTo>
                      <a:pt x="52" y="1040"/>
                    </a:lnTo>
                    <a:lnTo>
                      <a:pt x="0" y="1029"/>
                    </a:lnTo>
                    <a:lnTo>
                      <a:pt x="4" y="998"/>
                    </a:lnTo>
                    <a:lnTo>
                      <a:pt x="12" y="965"/>
                    </a:lnTo>
                    <a:lnTo>
                      <a:pt x="19" y="934"/>
                    </a:lnTo>
                    <a:lnTo>
                      <a:pt x="26" y="901"/>
                    </a:lnTo>
                    <a:lnTo>
                      <a:pt x="30" y="868"/>
                    </a:lnTo>
                    <a:lnTo>
                      <a:pt x="38" y="837"/>
                    </a:lnTo>
                    <a:lnTo>
                      <a:pt x="45" y="804"/>
                    </a:lnTo>
                    <a:lnTo>
                      <a:pt x="52" y="773"/>
                    </a:lnTo>
                    <a:lnTo>
                      <a:pt x="56" y="740"/>
                    </a:lnTo>
                    <a:lnTo>
                      <a:pt x="64" y="707"/>
                    </a:lnTo>
                    <a:lnTo>
                      <a:pt x="71" y="676"/>
                    </a:lnTo>
                    <a:lnTo>
                      <a:pt x="75" y="643"/>
                    </a:lnTo>
                    <a:lnTo>
                      <a:pt x="82" y="612"/>
                    </a:lnTo>
                    <a:lnTo>
                      <a:pt x="90" y="579"/>
                    </a:lnTo>
                    <a:lnTo>
                      <a:pt x="97" y="546"/>
                    </a:lnTo>
                    <a:lnTo>
                      <a:pt x="101" y="516"/>
                    </a:lnTo>
                    <a:lnTo>
                      <a:pt x="108" y="482"/>
                    </a:lnTo>
                    <a:lnTo>
                      <a:pt x="116" y="452"/>
                    </a:lnTo>
                    <a:lnTo>
                      <a:pt x="123" y="419"/>
                    </a:lnTo>
                    <a:lnTo>
                      <a:pt x="127" y="385"/>
                    </a:lnTo>
                    <a:lnTo>
                      <a:pt x="134" y="355"/>
                    </a:lnTo>
                    <a:lnTo>
                      <a:pt x="142" y="322"/>
                    </a:lnTo>
                    <a:lnTo>
                      <a:pt x="149" y="289"/>
                    </a:lnTo>
                    <a:lnTo>
                      <a:pt x="153" y="258"/>
                    </a:lnTo>
                    <a:lnTo>
                      <a:pt x="160" y="225"/>
                    </a:lnTo>
                    <a:lnTo>
                      <a:pt x="168" y="194"/>
                    </a:lnTo>
                    <a:lnTo>
                      <a:pt x="175" y="161"/>
                    </a:lnTo>
                    <a:lnTo>
                      <a:pt x="179" y="128"/>
                    </a:lnTo>
                    <a:lnTo>
                      <a:pt x="186" y="97"/>
                    </a:lnTo>
                    <a:lnTo>
                      <a:pt x="194" y="64"/>
                    </a:lnTo>
                    <a:lnTo>
                      <a:pt x="198" y="31"/>
                    </a:lnTo>
                    <a:lnTo>
                      <a:pt x="205" y="0"/>
                    </a:lnTo>
                    <a:lnTo>
                      <a:pt x="234" y="5"/>
                    </a:lnTo>
                    <a:lnTo>
                      <a:pt x="264" y="12"/>
                    </a:lnTo>
                    <a:lnTo>
                      <a:pt x="293" y="17"/>
                    </a:lnTo>
                    <a:lnTo>
                      <a:pt x="321" y="21"/>
                    </a:lnTo>
                    <a:lnTo>
                      <a:pt x="350" y="28"/>
                    </a:lnTo>
                    <a:lnTo>
                      <a:pt x="378" y="33"/>
                    </a:lnTo>
                    <a:lnTo>
                      <a:pt x="409" y="38"/>
                    </a:lnTo>
                    <a:lnTo>
                      <a:pt x="437" y="45"/>
                    </a:lnTo>
                    <a:lnTo>
                      <a:pt x="465" y="50"/>
                    </a:lnTo>
                    <a:lnTo>
                      <a:pt x="494" y="54"/>
                    </a:lnTo>
                    <a:lnTo>
                      <a:pt x="522" y="59"/>
                    </a:lnTo>
                    <a:lnTo>
                      <a:pt x="553" y="64"/>
                    </a:lnTo>
                    <a:lnTo>
                      <a:pt x="581" y="71"/>
                    </a:lnTo>
                    <a:lnTo>
                      <a:pt x="610" y="76"/>
                    </a:lnTo>
                    <a:lnTo>
                      <a:pt x="638" y="80"/>
                    </a:lnTo>
                    <a:lnTo>
                      <a:pt x="669" y="8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49" name="Freeform 88">
                <a:extLst>
                  <a:ext uri="{FF2B5EF4-FFF2-40B4-BE49-F238E27FC236}">
                    <a16:creationId xmlns:a16="http://schemas.microsoft.com/office/drawing/2014/main" id="{3E8FE50A-5AC8-4A01-C1B8-A4EAAAC827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91" y="946"/>
                <a:ext cx="1340" cy="735"/>
              </a:xfrm>
              <a:custGeom>
                <a:avLst/>
                <a:gdLst>
                  <a:gd name="T0" fmla="*/ 924 w 1340"/>
                  <a:gd name="T1" fmla="*/ 21 h 735"/>
                  <a:gd name="T2" fmla="*/ 960 w 1340"/>
                  <a:gd name="T3" fmla="*/ 49 h 735"/>
                  <a:gd name="T4" fmla="*/ 1005 w 1340"/>
                  <a:gd name="T5" fmla="*/ 68 h 735"/>
                  <a:gd name="T6" fmla="*/ 998 w 1340"/>
                  <a:gd name="T7" fmla="*/ 123 h 735"/>
                  <a:gd name="T8" fmla="*/ 993 w 1340"/>
                  <a:gd name="T9" fmla="*/ 191 h 735"/>
                  <a:gd name="T10" fmla="*/ 1059 w 1340"/>
                  <a:gd name="T11" fmla="*/ 213 h 735"/>
                  <a:gd name="T12" fmla="*/ 1161 w 1340"/>
                  <a:gd name="T13" fmla="*/ 241 h 735"/>
                  <a:gd name="T14" fmla="*/ 1180 w 1340"/>
                  <a:gd name="T15" fmla="*/ 288 h 735"/>
                  <a:gd name="T16" fmla="*/ 1090 w 1340"/>
                  <a:gd name="T17" fmla="*/ 260 h 735"/>
                  <a:gd name="T18" fmla="*/ 1028 w 1340"/>
                  <a:gd name="T19" fmla="*/ 224 h 735"/>
                  <a:gd name="T20" fmla="*/ 1125 w 1340"/>
                  <a:gd name="T21" fmla="*/ 293 h 735"/>
                  <a:gd name="T22" fmla="*/ 1177 w 1340"/>
                  <a:gd name="T23" fmla="*/ 328 h 735"/>
                  <a:gd name="T24" fmla="*/ 1177 w 1340"/>
                  <a:gd name="T25" fmla="*/ 359 h 735"/>
                  <a:gd name="T26" fmla="*/ 1158 w 1340"/>
                  <a:gd name="T27" fmla="*/ 380 h 735"/>
                  <a:gd name="T28" fmla="*/ 1147 w 1340"/>
                  <a:gd name="T29" fmla="*/ 380 h 735"/>
                  <a:gd name="T30" fmla="*/ 1208 w 1340"/>
                  <a:gd name="T31" fmla="*/ 414 h 735"/>
                  <a:gd name="T32" fmla="*/ 1184 w 1340"/>
                  <a:gd name="T33" fmla="*/ 435 h 735"/>
                  <a:gd name="T34" fmla="*/ 1137 w 1340"/>
                  <a:gd name="T35" fmla="*/ 407 h 735"/>
                  <a:gd name="T36" fmla="*/ 1052 w 1340"/>
                  <a:gd name="T37" fmla="*/ 407 h 735"/>
                  <a:gd name="T38" fmla="*/ 1144 w 1340"/>
                  <a:gd name="T39" fmla="*/ 414 h 735"/>
                  <a:gd name="T40" fmla="*/ 1201 w 1340"/>
                  <a:gd name="T41" fmla="*/ 461 h 735"/>
                  <a:gd name="T42" fmla="*/ 1274 w 1340"/>
                  <a:gd name="T43" fmla="*/ 451 h 735"/>
                  <a:gd name="T44" fmla="*/ 1300 w 1340"/>
                  <a:gd name="T45" fmla="*/ 513 h 735"/>
                  <a:gd name="T46" fmla="*/ 1125 w 1340"/>
                  <a:gd name="T47" fmla="*/ 548 h 735"/>
                  <a:gd name="T48" fmla="*/ 887 w 1340"/>
                  <a:gd name="T49" fmla="*/ 596 h 735"/>
                  <a:gd name="T50" fmla="*/ 643 w 1340"/>
                  <a:gd name="T51" fmla="*/ 638 h 735"/>
                  <a:gd name="T52" fmla="*/ 402 w 1340"/>
                  <a:gd name="T53" fmla="*/ 678 h 735"/>
                  <a:gd name="T54" fmla="*/ 296 w 1340"/>
                  <a:gd name="T55" fmla="*/ 690 h 735"/>
                  <a:gd name="T56" fmla="*/ 177 w 1340"/>
                  <a:gd name="T57" fmla="*/ 712 h 735"/>
                  <a:gd name="T58" fmla="*/ 17 w 1340"/>
                  <a:gd name="T59" fmla="*/ 723 h 735"/>
                  <a:gd name="T60" fmla="*/ 121 w 1340"/>
                  <a:gd name="T61" fmla="*/ 655 h 735"/>
                  <a:gd name="T62" fmla="*/ 149 w 1340"/>
                  <a:gd name="T63" fmla="*/ 603 h 735"/>
                  <a:gd name="T64" fmla="*/ 258 w 1340"/>
                  <a:gd name="T65" fmla="*/ 506 h 735"/>
                  <a:gd name="T66" fmla="*/ 277 w 1340"/>
                  <a:gd name="T67" fmla="*/ 541 h 735"/>
                  <a:gd name="T68" fmla="*/ 329 w 1340"/>
                  <a:gd name="T69" fmla="*/ 560 h 735"/>
                  <a:gd name="T70" fmla="*/ 364 w 1340"/>
                  <a:gd name="T71" fmla="*/ 527 h 735"/>
                  <a:gd name="T72" fmla="*/ 433 w 1340"/>
                  <a:gd name="T73" fmla="*/ 522 h 735"/>
                  <a:gd name="T74" fmla="*/ 442 w 1340"/>
                  <a:gd name="T75" fmla="*/ 496 h 735"/>
                  <a:gd name="T76" fmla="*/ 466 w 1340"/>
                  <a:gd name="T77" fmla="*/ 496 h 735"/>
                  <a:gd name="T78" fmla="*/ 523 w 1340"/>
                  <a:gd name="T79" fmla="*/ 470 h 735"/>
                  <a:gd name="T80" fmla="*/ 534 w 1340"/>
                  <a:gd name="T81" fmla="*/ 433 h 735"/>
                  <a:gd name="T82" fmla="*/ 567 w 1340"/>
                  <a:gd name="T83" fmla="*/ 340 h 735"/>
                  <a:gd name="T84" fmla="*/ 596 w 1340"/>
                  <a:gd name="T85" fmla="*/ 260 h 735"/>
                  <a:gd name="T86" fmla="*/ 615 w 1340"/>
                  <a:gd name="T87" fmla="*/ 222 h 735"/>
                  <a:gd name="T88" fmla="*/ 660 w 1340"/>
                  <a:gd name="T89" fmla="*/ 236 h 735"/>
                  <a:gd name="T90" fmla="*/ 683 w 1340"/>
                  <a:gd name="T91" fmla="*/ 184 h 735"/>
                  <a:gd name="T92" fmla="*/ 716 w 1340"/>
                  <a:gd name="T93" fmla="*/ 149 h 735"/>
                  <a:gd name="T94" fmla="*/ 740 w 1340"/>
                  <a:gd name="T95" fmla="*/ 120 h 735"/>
                  <a:gd name="T96" fmla="*/ 778 w 1340"/>
                  <a:gd name="T97" fmla="*/ 26 h 735"/>
                  <a:gd name="T98" fmla="*/ 818 w 1340"/>
                  <a:gd name="T99" fmla="*/ 21 h 735"/>
                  <a:gd name="T100" fmla="*/ 879 w 1340"/>
                  <a:gd name="T101" fmla="*/ 2 h 735"/>
                  <a:gd name="T102" fmla="*/ 1329 w 1340"/>
                  <a:gd name="T103" fmla="*/ 217 h 735"/>
                  <a:gd name="T104" fmla="*/ 1277 w 1340"/>
                  <a:gd name="T105" fmla="*/ 206 h 735"/>
                  <a:gd name="T106" fmla="*/ 1303 w 1340"/>
                  <a:gd name="T107" fmla="*/ 295 h 735"/>
                  <a:gd name="T108" fmla="*/ 1272 w 1340"/>
                  <a:gd name="T109" fmla="*/ 331 h 735"/>
                  <a:gd name="T110" fmla="*/ 1251 w 1340"/>
                  <a:gd name="T111" fmla="*/ 371 h 735"/>
                  <a:gd name="T112" fmla="*/ 1269 w 1340"/>
                  <a:gd name="T113" fmla="*/ 246 h 7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40" h="735">
                    <a:moveTo>
                      <a:pt x="879" y="2"/>
                    </a:moveTo>
                    <a:lnTo>
                      <a:pt x="889" y="9"/>
                    </a:lnTo>
                    <a:lnTo>
                      <a:pt x="913" y="14"/>
                    </a:lnTo>
                    <a:lnTo>
                      <a:pt x="924" y="21"/>
                    </a:lnTo>
                    <a:lnTo>
                      <a:pt x="922" y="31"/>
                    </a:lnTo>
                    <a:lnTo>
                      <a:pt x="922" y="38"/>
                    </a:lnTo>
                    <a:lnTo>
                      <a:pt x="927" y="42"/>
                    </a:lnTo>
                    <a:lnTo>
                      <a:pt x="960" y="49"/>
                    </a:lnTo>
                    <a:lnTo>
                      <a:pt x="981" y="61"/>
                    </a:lnTo>
                    <a:lnTo>
                      <a:pt x="993" y="66"/>
                    </a:lnTo>
                    <a:lnTo>
                      <a:pt x="995" y="66"/>
                    </a:lnTo>
                    <a:lnTo>
                      <a:pt x="1005" y="68"/>
                    </a:lnTo>
                    <a:lnTo>
                      <a:pt x="1009" y="73"/>
                    </a:lnTo>
                    <a:lnTo>
                      <a:pt x="1012" y="97"/>
                    </a:lnTo>
                    <a:lnTo>
                      <a:pt x="1007" y="111"/>
                    </a:lnTo>
                    <a:lnTo>
                      <a:pt x="998" y="123"/>
                    </a:lnTo>
                    <a:lnTo>
                      <a:pt x="986" y="142"/>
                    </a:lnTo>
                    <a:lnTo>
                      <a:pt x="983" y="156"/>
                    </a:lnTo>
                    <a:lnTo>
                      <a:pt x="986" y="184"/>
                    </a:lnTo>
                    <a:lnTo>
                      <a:pt x="993" y="191"/>
                    </a:lnTo>
                    <a:lnTo>
                      <a:pt x="1000" y="194"/>
                    </a:lnTo>
                    <a:lnTo>
                      <a:pt x="1019" y="182"/>
                    </a:lnTo>
                    <a:lnTo>
                      <a:pt x="1031" y="184"/>
                    </a:lnTo>
                    <a:lnTo>
                      <a:pt x="1059" y="213"/>
                    </a:lnTo>
                    <a:lnTo>
                      <a:pt x="1104" y="215"/>
                    </a:lnTo>
                    <a:lnTo>
                      <a:pt x="1123" y="220"/>
                    </a:lnTo>
                    <a:lnTo>
                      <a:pt x="1139" y="234"/>
                    </a:lnTo>
                    <a:lnTo>
                      <a:pt x="1161" y="241"/>
                    </a:lnTo>
                    <a:lnTo>
                      <a:pt x="1177" y="250"/>
                    </a:lnTo>
                    <a:lnTo>
                      <a:pt x="1180" y="260"/>
                    </a:lnTo>
                    <a:lnTo>
                      <a:pt x="1177" y="272"/>
                    </a:lnTo>
                    <a:lnTo>
                      <a:pt x="1180" y="288"/>
                    </a:lnTo>
                    <a:lnTo>
                      <a:pt x="1175" y="298"/>
                    </a:lnTo>
                    <a:lnTo>
                      <a:pt x="1161" y="302"/>
                    </a:lnTo>
                    <a:lnTo>
                      <a:pt x="1149" y="302"/>
                    </a:lnTo>
                    <a:lnTo>
                      <a:pt x="1090" y="260"/>
                    </a:lnTo>
                    <a:lnTo>
                      <a:pt x="1083" y="258"/>
                    </a:lnTo>
                    <a:lnTo>
                      <a:pt x="1059" y="234"/>
                    </a:lnTo>
                    <a:lnTo>
                      <a:pt x="1035" y="224"/>
                    </a:lnTo>
                    <a:lnTo>
                      <a:pt x="1028" y="224"/>
                    </a:lnTo>
                    <a:lnTo>
                      <a:pt x="1064" y="246"/>
                    </a:lnTo>
                    <a:lnTo>
                      <a:pt x="1080" y="262"/>
                    </a:lnTo>
                    <a:lnTo>
                      <a:pt x="1109" y="284"/>
                    </a:lnTo>
                    <a:lnTo>
                      <a:pt x="1125" y="293"/>
                    </a:lnTo>
                    <a:lnTo>
                      <a:pt x="1142" y="307"/>
                    </a:lnTo>
                    <a:lnTo>
                      <a:pt x="1154" y="314"/>
                    </a:lnTo>
                    <a:lnTo>
                      <a:pt x="1187" y="319"/>
                    </a:lnTo>
                    <a:lnTo>
                      <a:pt x="1177" y="328"/>
                    </a:lnTo>
                    <a:lnTo>
                      <a:pt x="1196" y="333"/>
                    </a:lnTo>
                    <a:lnTo>
                      <a:pt x="1201" y="345"/>
                    </a:lnTo>
                    <a:lnTo>
                      <a:pt x="1203" y="362"/>
                    </a:lnTo>
                    <a:lnTo>
                      <a:pt x="1177" y="359"/>
                    </a:lnTo>
                    <a:lnTo>
                      <a:pt x="1180" y="371"/>
                    </a:lnTo>
                    <a:lnTo>
                      <a:pt x="1184" y="378"/>
                    </a:lnTo>
                    <a:lnTo>
                      <a:pt x="1175" y="385"/>
                    </a:lnTo>
                    <a:lnTo>
                      <a:pt x="1158" y="380"/>
                    </a:lnTo>
                    <a:lnTo>
                      <a:pt x="1113" y="347"/>
                    </a:lnTo>
                    <a:lnTo>
                      <a:pt x="1116" y="354"/>
                    </a:lnTo>
                    <a:lnTo>
                      <a:pt x="1121" y="359"/>
                    </a:lnTo>
                    <a:lnTo>
                      <a:pt x="1147" y="380"/>
                    </a:lnTo>
                    <a:lnTo>
                      <a:pt x="1168" y="392"/>
                    </a:lnTo>
                    <a:lnTo>
                      <a:pt x="1187" y="395"/>
                    </a:lnTo>
                    <a:lnTo>
                      <a:pt x="1201" y="407"/>
                    </a:lnTo>
                    <a:lnTo>
                      <a:pt x="1208" y="414"/>
                    </a:lnTo>
                    <a:lnTo>
                      <a:pt x="1213" y="425"/>
                    </a:lnTo>
                    <a:lnTo>
                      <a:pt x="1206" y="435"/>
                    </a:lnTo>
                    <a:lnTo>
                      <a:pt x="1196" y="442"/>
                    </a:lnTo>
                    <a:lnTo>
                      <a:pt x="1184" y="435"/>
                    </a:lnTo>
                    <a:lnTo>
                      <a:pt x="1175" y="428"/>
                    </a:lnTo>
                    <a:lnTo>
                      <a:pt x="1156" y="418"/>
                    </a:lnTo>
                    <a:lnTo>
                      <a:pt x="1149" y="402"/>
                    </a:lnTo>
                    <a:lnTo>
                      <a:pt x="1137" y="407"/>
                    </a:lnTo>
                    <a:lnTo>
                      <a:pt x="1083" y="395"/>
                    </a:lnTo>
                    <a:lnTo>
                      <a:pt x="1040" y="402"/>
                    </a:lnTo>
                    <a:lnTo>
                      <a:pt x="1045" y="404"/>
                    </a:lnTo>
                    <a:lnTo>
                      <a:pt x="1052" y="407"/>
                    </a:lnTo>
                    <a:lnTo>
                      <a:pt x="1085" y="404"/>
                    </a:lnTo>
                    <a:lnTo>
                      <a:pt x="1099" y="411"/>
                    </a:lnTo>
                    <a:lnTo>
                      <a:pt x="1128" y="414"/>
                    </a:lnTo>
                    <a:lnTo>
                      <a:pt x="1144" y="414"/>
                    </a:lnTo>
                    <a:lnTo>
                      <a:pt x="1156" y="437"/>
                    </a:lnTo>
                    <a:lnTo>
                      <a:pt x="1180" y="451"/>
                    </a:lnTo>
                    <a:lnTo>
                      <a:pt x="1187" y="463"/>
                    </a:lnTo>
                    <a:lnTo>
                      <a:pt x="1201" y="461"/>
                    </a:lnTo>
                    <a:lnTo>
                      <a:pt x="1225" y="444"/>
                    </a:lnTo>
                    <a:lnTo>
                      <a:pt x="1241" y="444"/>
                    </a:lnTo>
                    <a:lnTo>
                      <a:pt x="1265" y="442"/>
                    </a:lnTo>
                    <a:lnTo>
                      <a:pt x="1274" y="451"/>
                    </a:lnTo>
                    <a:lnTo>
                      <a:pt x="1281" y="470"/>
                    </a:lnTo>
                    <a:lnTo>
                      <a:pt x="1295" y="492"/>
                    </a:lnTo>
                    <a:lnTo>
                      <a:pt x="1305" y="511"/>
                    </a:lnTo>
                    <a:lnTo>
                      <a:pt x="1300" y="513"/>
                    </a:lnTo>
                    <a:lnTo>
                      <a:pt x="1288" y="515"/>
                    </a:lnTo>
                    <a:lnTo>
                      <a:pt x="1246" y="525"/>
                    </a:lnTo>
                    <a:lnTo>
                      <a:pt x="1187" y="537"/>
                    </a:lnTo>
                    <a:lnTo>
                      <a:pt x="1125" y="548"/>
                    </a:lnTo>
                    <a:lnTo>
                      <a:pt x="1066" y="563"/>
                    </a:lnTo>
                    <a:lnTo>
                      <a:pt x="1007" y="574"/>
                    </a:lnTo>
                    <a:lnTo>
                      <a:pt x="946" y="584"/>
                    </a:lnTo>
                    <a:lnTo>
                      <a:pt x="887" y="596"/>
                    </a:lnTo>
                    <a:lnTo>
                      <a:pt x="825" y="607"/>
                    </a:lnTo>
                    <a:lnTo>
                      <a:pt x="764" y="619"/>
                    </a:lnTo>
                    <a:lnTo>
                      <a:pt x="705" y="629"/>
                    </a:lnTo>
                    <a:lnTo>
                      <a:pt x="643" y="638"/>
                    </a:lnTo>
                    <a:lnTo>
                      <a:pt x="584" y="650"/>
                    </a:lnTo>
                    <a:lnTo>
                      <a:pt x="523" y="660"/>
                    </a:lnTo>
                    <a:lnTo>
                      <a:pt x="461" y="669"/>
                    </a:lnTo>
                    <a:lnTo>
                      <a:pt x="402" y="678"/>
                    </a:lnTo>
                    <a:lnTo>
                      <a:pt x="341" y="688"/>
                    </a:lnTo>
                    <a:lnTo>
                      <a:pt x="338" y="686"/>
                    </a:lnTo>
                    <a:lnTo>
                      <a:pt x="315" y="688"/>
                    </a:lnTo>
                    <a:lnTo>
                      <a:pt x="296" y="690"/>
                    </a:lnTo>
                    <a:lnTo>
                      <a:pt x="289" y="695"/>
                    </a:lnTo>
                    <a:lnTo>
                      <a:pt x="253" y="700"/>
                    </a:lnTo>
                    <a:lnTo>
                      <a:pt x="225" y="704"/>
                    </a:lnTo>
                    <a:lnTo>
                      <a:pt x="177" y="712"/>
                    </a:lnTo>
                    <a:lnTo>
                      <a:pt x="121" y="721"/>
                    </a:lnTo>
                    <a:lnTo>
                      <a:pt x="38" y="730"/>
                    </a:lnTo>
                    <a:lnTo>
                      <a:pt x="0" y="735"/>
                    </a:lnTo>
                    <a:lnTo>
                      <a:pt x="17" y="723"/>
                    </a:lnTo>
                    <a:lnTo>
                      <a:pt x="40" y="714"/>
                    </a:lnTo>
                    <a:lnTo>
                      <a:pt x="83" y="690"/>
                    </a:lnTo>
                    <a:lnTo>
                      <a:pt x="99" y="671"/>
                    </a:lnTo>
                    <a:lnTo>
                      <a:pt x="121" y="655"/>
                    </a:lnTo>
                    <a:lnTo>
                      <a:pt x="130" y="638"/>
                    </a:lnTo>
                    <a:lnTo>
                      <a:pt x="144" y="622"/>
                    </a:lnTo>
                    <a:lnTo>
                      <a:pt x="149" y="605"/>
                    </a:lnTo>
                    <a:lnTo>
                      <a:pt x="149" y="603"/>
                    </a:lnTo>
                    <a:lnTo>
                      <a:pt x="175" y="584"/>
                    </a:lnTo>
                    <a:lnTo>
                      <a:pt x="201" y="560"/>
                    </a:lnTo>
                    <a:lnTo>
                      <a:pt x="255" y="501"/>
                    </a:lnTo>
                    <a:lnTo>
                      <a:pt x="258" y="506"/>
                    </a:lnTo>
                    <a:lnTo>
                      <a:pt x="258" y="515"/>
                    </a:lnTo>
                    <a:lnTo>
                      <a:pt x="265" y="522"/>
                    </a:lnTo>
                    <a:lnTo>
                      <a:pt x="270" y="534"/>
                    </a:lnTo>
                    <a:lnTo>
                      <a:pt x="277" y="541"/>
                    </a:lnTo>
                    <a:lnTo>
                      <a:pt x="286" y="546"/>
                    </a:lnTo>
                    <a:lnTo>
                      <a:pt x="300" y="551"/>
                    </a:lnTo>
                    <a:lnTo>
                      <a:pt x="317" y="558"/>
                    </a:lnTo>
                    <a:lnTo>
                      <a:pt x="329" y="560"/>
                    </a:lnTo>
                    <a:lnTo>
                      <a:pt x="333" y="558"/>
                    </a:lnTo>
                    <a:lnTo>
                      <a:pt x="345" y="546"/>
                    </a:lnTo>
                    <a:lnTo>
                      <a:pt x="355" y="539"/>
                    </a:lnTo>
                    <a:lnTo>
                      <a:pt x="364" y="527"/>
                    </a:lnTo>
                    <a:lnTo>
                      <a:pt x="388" y="539"/>
                    </a:lnTo>
                    <a:lnTo>
                      <a:pt x="395" y="537"/>
                    </a:lnTo>
                    <a:lnTo>
                      <a:pt x="414" y="527"/>
                    </a:lnTo>
                    <a:lnTo>
                      <a:pt x="433" y="522"/>
                    </a:lnTo>
                    <a:lnTo>
                      <a:pt x="437" y="520"/>
                    </a:lnTo>
                    <a:lnTo>
                      <a:pt x="445" y="513"/>
                    </a:lnTo>
                    <a:lnTo>
                      <a:pt x="442" y="501"/>
                    </a:lnTo>
                    <a:lnTo>
                      <a:pt x="442" y="496"/>
                    </a:lnTo>
                    <a:lnTo>
                      <a:pt x="445" y="494"/>
                    </a:lnTo>
                    <a:lnTo>
                      <a:pt x="449" y="494"/>
                    </a:lnTo>
                    <a:lnTo>
                      <a:pt x="459" y="496"/>
                    </a:lnTo>
                    <a:lnTo>
                      <a:pt x="466" y="496"/>
                    </a:lnTo>
                    <a:lnTo>
                      <a:pt x="499" y="475"/>
                    </a:lnTo>
                    <a:lnTo>
                      <a:pt x="501" y="475"/>
                    </a:lnTo>
                    <a:lnTo>
                      <a:pt x="508" y="482"/>
                    </a:lnTo>
                    <a:lnTo>
                      <a:pt x="523" y="470"/>
                    </a:lnTo>
                    <a:lnTo>
                      <a:pt x="530" y="461"/>
                    </a:lnTo>
                    <a:lnTo>
                      <a:pt x="532" y="449"/>
                    </a:lnTo>
                    <a:lnTo>
                      <a:pt x="537" y="437"/>
                    </a:lnTo>
                    <a:lnTo>
                      <a:pt x="534" y="433"/>
                    </a:lnTo>
                    <a:lnTo>
                      <a:pt x="530" y="425"/>
                    </a:lnTo>
                    <a:lnTo>
                      <a:pt x="532" y="409"/>
                    </a:lnTo>
                    <a:lnTo>
                      <a:pt x="539" y="392"/>
                    </a:lnTo>
                    <a:lnTo>
                      <a:pt x="567" y="340"/>
                    </a:lnTo>
                    <a:lnTo>
                      <a:pt x="572" y="310"/>
                    </a:lnTo>
                    <a:lnTo>
                      <a:pt x="584" y="291"/>
                    </a:lnTo>
                    <a:lnTo>
                      <a:pt x="586" y="274"/>
                    </a:lnTo>
                    <a:lnTo>
                      <a:pt x="596" y="260"/>
                    </a:lnTo>
                    <a:lnTo>
                      <a:pt x="598" y="229"/>
                    </a:lnTo>
                    <a:lnTo>
                      <a:pt x="601" y="222"/>
                    </a:lnTo>
                    <a:lnTo>
                      <a:pt x="608" y="220"/>
                    </a:lnTo>
                    <a:lnTo>
                      <a:pt x="615" y="222"/>
                    </a:lnTo>
                    <a:lnTo>
                      <a:pt x="622" y="227"/>
                    </a:lnTo>
                    <a:lnTo>
                      <a:pt x="627" y="234"/>
                    </a:lnTo>
                    <a:lnTo>
                      <a:pt x="645" y="239"/>
                    </a:lnTo>
                    <a:lnTo>
                      <a:pt x="660" y="236"/>
                    </a:lnTo>
                    <a:lnTo>
                      <a:pt x="669" y="229"/>
                    </a:lnTo>
                    <a:lnTo>
                      <a:pt x="674" y="217"/>
                    </a:lnTo>
                    <a:lnTo>
                      <a:pt x="679" y="198"/>
                    </a:lnTo>
                    <a:lnTo>
                      <a:pt x="683" y="184"/>
                    </a:lnTo>
                    <a:lnTo>
                      <a:pt x="686" y="170"/>
                    </a:lnTo>
                    <a:lnTo>
                      <a:pt x="690" y="158"/>
                    </a:lnTo>
                    <a:lnTo>
                      <a:pt x="697" y="151"/>
                    </a:lnTo>
                    <a:lnTo>
                      <a:pt x="716" y="149"/>
                    </a:lnTo>
                    <a:lnTo>
                      <a:pt x="726" y="137"/>
                    </a:lnTo>
                    <a:lnTo>
                      <a:pt x="731" y="125"/>
                    </a:lnTo>
                    <a:lnTo>
                      <a:pt x="735" y="120"/>
                    </a:lnTo>
                    <a:lnTo>
                      <a:pt x="740" y="120"/>
                    </a:lnTo>
                    <a:lnTo>
                      <a:pt x="757" y="101"/>
                    </a:lnTo>
                    <a:lnTo>
                      <a:pt x="773" y="64"/>
                    </a:lnTo>
                    <a:lnTo>
                      <a:pt x="773" y="42"/>
                    </a:lnTo>
                    <a:lnTo>
                      <a:pt x="778" y="26"/>
                    </a:lnTo>
                    <a:lnTo>
                      <a:pt x="775" y="9"/>
                    </a:lnTo>
                    <a:lnTo>
                      <a:pt x="778" y="0"/>
                    </a:lnTo>
                    <a:lnTo>
                      <a:pt x="804" y="12"/>
                    </a:lnTo>
                    <a:lnTo>
                      <a:pt x="818" y="21"/>
                    </a:lnTo>
                    <a:lnTo>
                      <a:pt x="849" y="38"/>
                    </a:lnTo>
                    <a:lnTo>
                      <a:pt x="870" y="47"/>
                    </a:lnTo>
                    <a:lnTo>
                      <a:pt x="872" y="28"/>
                    </a:lnTo>
                    <a:lnTo>
                      <a:pt x="879" y="2"/>
                    </a:lnTo>
                    <a:close/>
                    <a:moveTo>
                      <a:pt x="1336" y="184"/>
                    </a:moveTo>
                    <a:lnTo>
                      <a:pt x="1340" y="182"/>
                    </a:lnTo>
                    <a:lnTo>
                      <a:pt x="1340" y="182"/>
                    </a:lnTo>
                    <a:lnTo>
                      <a:pt x="1329" y="217"/>
                    </a:lnTo>
                    <a:lnTo>
                      <a:pt x="1324" y="222"/>
                    </a:lnTo>
                    <a:lnTo>
                      <a:pt x="1336" y="184"/>
                    </a:lnTo>
                    <a:close/>
                    <a:moveTo>
                      <a:pt x="1274" y="217"/>
                    </a:moveTo>
                    <a:lnTo>
                      <a:pt x="1277" y="206"/>
                    </a:lnTo>
                    <a:lnTo>
                      <a:pt x="1300" y="198"/>
                    </a:lnTo>
                    <a:lnTo>
                      <a:pt x="1317" y="191"/>
                    </a:lnTo>
                    <a:lnTo>
                      <a:pt x="1298" y="281"/>
                    </a:lnTo>
                    <a:lnTo>
                      <a:pt x="1303" y="295"/>
                    </a:lnTo>
                    <a:lnTo>
                      <a:pt x="1298" y="302"/>
                    </a:lnTo>
                    <a:lnTo>
                      <a:pt x="1286" y="307"/>
                    </a:lnTo>
                    <a:lnTo>
                      <a:pt x="1279" y="319"/>
                    </a:lnTo>
                    <a:lnTo>
                      <a:pt x="1272" y="331"/>
                    </a:lnTo>
                    <a:lnTo>
                      <a:pt x="1272" y="359"/>
                    </a:lnTo>
                    <a:lnTo>
                      <a:pt x="1265" y="392"/>
                    </a:lnTo>
                    <a:lnTo>
                      <a:pt x="1255" y="380"/>
                    </a:lnTo>
                    <a:lnTo>
                      <a:pt x="1251" y="371"/>
                    </a:lnTo>
                    <a:lnTo>
                      <a:pt x="1248" y="343"/>
                    </a:lnTo>
                    <a:lnTo>
                      <a:pt x="1251" y="293"/>
                    </a:lnTo>
                    <a:lnTo>
                      <a:pt x="1260" y="262"/>
                    </a:lnTo>
                    <a:lnTo>
                      <a:pt x="1269" y="246"/>
                    </a:lnTo>
                    <a:lnTo>
                      <a:pt x="1274" y="21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50" name="Freeform 89">
                <a:extLst>
                  <a:ext uri="{FF2B5EF4-FFF2-40B4-BE49-F238E27FC236}">
                    <a16:creationId xmlns:a16="http://schemas.microsoft.com/office/drawing/2014/main" id="{E4DFC566-A2B4-8435-719A-86F258825C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2" y="-437"/>
                <a:ext cx="282" cy="527"/>
              </a:xfrm>
              <a:custGeom>
                <a:avLst/>
                <a:gdLst>
                  <a:gd name="T0" fmla="*/ 237 w 282"/>
                  <a:gd name="T1" fmla="*/ 506 h 527"/>
                  <a:gd name="T2" fmla="*/ 206 w 282"/>
                  <a:gd name="T3" fmla="*/ 513 h 527"/>
                  <a:gd name="T4" fmla="*/ 175 w 282"/>
                  <a:gd name="T5" fmla="*/ 517 h 527"/>
                  <a:gd name="T6" fmla="*/ 147 w 282"/>
                  <a:gd name="T7" fmla="*/ 524 h 527"/>
                  <a:gd name="T8" fmla="*/ 123 w 282"/>
                  <a:gd name="T9" fmla="*/ 517 h 527"/>
                  <a:gd name="T10" fmla="*/ 121 w 282"/>
                  <a:gd name="T11" fmla="*/ 491 h 527"/>
                  <a:gd name="T12" fmla="*/ 111 w 282"/>
                  <a:gd name="T13" fmla="*/ 451 h 527"/>
                  <a:gd name="T14" fmla="*/ 100 w 282"/>
                  <a:gd name="T15" fmla="*/ 404 h 527"/>
                  <a:gd name="T16" fmla="*/ 90 w 282"/>
                  <a:gd name="T17" fmla="*/ 364 h 527"/>
                  <a:gd name="T18" fmla="*/ 74 w 282"/>
                  <a:gd name="T19" fmla="*/ 352 h 527"/>
                  <a:gd name="T20" fmla="*/ 69 w 282"/>
                  <a:gd name="T21" fmla="*/ 364 h 527"/>
                  <a:gd name="T22" fmla="*/ 64 w 282"/>
                  <a:gd name="T23" fmla="*/ 364 h 527"/>
                  <a:gd name="T24" fmla="*/ 59 w 282"/>
                  <a:gd name="T25" fmla="*/ 326 h 527"/>
                  <a:gd name="T26" fmla="*/ 55 w 282"/>
                  <a:gd name="T27" fmla="*/ 302 h 527"/>
                  <a:gd name="T28" fmla="*/ 36 w 282"/>
                  <a:gd name="T29" fmla="*/ 264 h 527"/>
                  <a:gd name="T30" fmla="*/ 38 w 282"/>
                  <a:gd name="T31" fmla="*/ 238 h 527"/>
                  <a:gd name="T32" fmla="*/ 43 w 282"/>
                  <a:gd name="T33" fmla="*/ 219 h 527"/>
                  <a:gd name="T34" fmla="*/ 33 w 282"/>
                  <a:gd name="T35" fmla="*/ 182 h 527"/>
                  <a:gd name="T36" fmla="*/ 12 w 282"/>
                  <a:gd name="T37" fmla="*/ 118 h 527"/>
                  <a:gd name="T38" fmla="*/ 3 w 282"/>
                  <a:gd name="T39" fmla="*/ 85 h 527"/>
                  <a:gd name="T40" fmla="*/ 24 w 282"/>
                  <a:gd name="T41" fmla="*/ 63 h 527"/>
                  <a:gd name="T42" fmla="*/ 144 w 282"/>
                  <a:gd name="T43" fmla="*/ 33 h 527"/>
                  <a:gd name="T44" fmla="*/ 265 w 282"/>
                  <a:gd name="T45" fmla="*/ 0 h 527"/>
                  <a:gd name="T46" fmla="*/ 272 w 282"/>
                  <a:gd name="T47" fmla="*/ 18 h 527"/>
                  <a:gd name="T48" fmla="*/ 267 w 282"/>
                  <a:gd name="T49" fmla="*/ 61 h 527"/>
                  <a:gd name="T50" fmla="*/ 282 w 282"/>
                  <a:gd name="T51" fmla="*/ 89 h 527"/>
                  <a:gd name="T52" fmla="*/ 279 w 282"/>
                  <a:gd name="T53" fmla="*/ 104 h 527"/>
                  <a:gd name="T54" fmla="*/ 272 w 282"/>
                  <a:gd name="T55" fmla="*/ 120 h 527"/>
                  <a:gd name="T56" fmla="*/ 251 w 282"/>
                  <a:gd name="T57" fmla="*/ 146 h 527"/>
                  <a:gd name="T58" fmla="*/ 230 w 282"/>
                  <a:gd name="T59" fmla="*/ 165 h 527"/>
                  <a:gd name="T60" fmla="*/ 234 w 282"/>
                  <a:gd name="T61" fmla="*/ 227 h 527"/>
                  <a:gd name="T62" fmla="*/ 232 w 282"/>
                  <a:gd name="T63" fmla="*/ 255 h 527"/>
                  <a:gd name="T64" fmla="*/ 223 w 282"/>
                  <a:gd name="T65" fmla="*/ 295 h 527"/>
                  <a:gd name="T66" fmla="*/ 220 w 282"/>
                  <a:gd name="T67" fmla="*/ 324 h 527"/>
                  <a:gd name="T68" fmla="*/ 227 w 282"/>
                  <a:gd name="T69" fmla="*/ 376 h 527"/>
                  <a:gd name="T70" fmla="*/ 234 w 282"/>
                  <a:gd name="T71" fmla="*/ 439 h 527"/>
                  <a:gd name="T72" fmla="*/ 230 w 282"/>
                  <a:gd name="T73" fmla="*/ 456 h 527"/>
                  <a:gd name="T74" fmla="*/ 232 w 282"/>
                  <a:gd name="T75" fmla="*/ 480 h 527"/>
                  <a:gd name="T76" fmla="*/ 246 w 282"/>
                  <a:gd name="T77" fmla="*/ 496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2" h="527">
                    <a:moveTo>
                      <a:pt x="251" y="501"/>
                    </a:moveTo>
                    <a:lnTo>
                      <a:pt x="237" y="506"/>
                    </a:lnTo>
                    <a:lnTo>
                      <a:pt x="220" y="508"/>
                    </a:lnTo>
                    <a:lnTo>
                      <a:pt x="206" y="513"/>
                    </a:lnTo>
                    <a:lnTo>
                      <a:pt x="192" y="515"/>
                    </a:lnTo>
                    <a:lnTo>
                      <a:pt x="175" y="517"/>
                    </a:lnTo>
                    <a:lnTo>
                      <a:pt x="161" y="522"/>
                    </a:lnTo>
                    <a:lnTo>
                      <a:pt x="147" y="524"/>
                    </a:lnTo>
                    <a:lnTo>
                      <a:pt x="130" y="527"/>
                    </a:lnTo>
                    <a:lnTo>
                      <a:pt x="123" y="517"/>
                    </a:lnTo>
                    <a:lnTo>
                      <a:pt x="123" y="506"/>
                    </a:lnTo>
                    <a:lnTo>
                      <a:pt x="121" y="491"/>
                    </a:lnTo>
                    <a:lnTo>
                      <a:pt x="116" y="472"/>
                    </a:lnTo>
                    <a:lnTo>
                      <a:pt x="111" y="451"/>
                    </a:lnTo>
                    <a:lnTo>
                      <a:pt x="104" y="423"/>
                    </a:lnTo>
                    <a:lnTo>
                      <a:pt x="100" y="404"/>
                    </a:lnTo>
                    <a:lnTo>
                      <a:pt x="95" y="387"/>
                    </a:lnTo>
                    <a:lnTo>
                      <a:pt x="90" y="364"/>
                    </a:lnTo>
                    <a:lnTo>
                      <a:pt x="78" y="354"/>
                    </a:lnTo>
                    <a:lnTo>
                      <a:pt x="74" y="352"/>
                    </a:lnTo>
                    <a:lnTo>
                      <a:pt x="71" y="354"/>
                    </a:lnTo>
                    <a:lnTo>
                      <a:pt x="69" y="364"/>
                    </a:lnTo>
                    <a:lnTo>
                      <a:pt x="66" y="364"/>
                    </a:lnTo>
                    <a:lnTo>
                      <a:pt x="64" y="364"/>
                    </a:lnTo>
                    <a:lnTo>
                      <a:pt x="62" y="354"/>
                    </a:lnTo>
                    <a:lnTo>
                      <a:pt x="59" y="326"/>
                    </a:lnTo>
                    <a:lnTo>
                      <a:pt x="59" y="316"/>
                    </a:lnTo>
                    <a:lnTo>
                      <a:pt x="55" y="302"/>
                    </a:lnTo>
                    <a:lnTo>
                      <a:pt x="38" y="271"/>
                    </a:lnTo>
                    <a:lnTo>
                      <a:pt x="36" y="264"/>
                    </a:lnTo>
                    <a:lnTo>
                      <a:pt x="36" y="253"/>
                    </a:lnTo>
                    <a:lnTo>
                      <a:pt x="38" y="238"/>
                    </a:lnTo>
                    <a:lnTo>
                      <a:pt x="43" y="227"/>
                    </a:lnTo>
                    <a:lnTo>
                      <a:pt x="43" y="219"/>
                    </a:lnTo>
                    <a:lnTo>
                      <a:pt x="36" y="201"/>
                    </a:lnTo>
                    <a:lnTo>
                      <a:pt x="33" y="182"/>
                    </a:lnTo>
                    <a:lnTo>
                      <a:pt x="17" y="156"/>
                    </a:lnTo>
                    <a:lnTo>
                      <a:pt x="12" y="118"/>
                    </a:lnTo>
                    <a:lnTo>
                      <a:pt x="5" y="101"/>
                    </a:lnTo>
                    <a:lnTo>
                      <a:pt x="3" y="85"/>
                    </a:lnTo>
                    <a:lnTo>
                      <a:pt x="0" y="71"/>
                    </a:lnTo>
                    <a:lnTo>
                      <a:pt x="24" y="63"/>
                    </a:lnTo>
                    <a:lnTo>
                      <a:pt x="85" y="49"/>
                    </a:lnTo>
                    <a:lnTo>
                      <a:pt x="144" y="33"/>
                    </a:lnTo>
                    <a:lnTo>
                      <a:pt x="206" y="16"/>
                    </a:lnTo>
                    <a:lnTo>
                      <a:pt x="265" y="0"/>
                    </a:lnTo>
                    <a:lnTo>
                      <a:pt x="265" y="4"/>
                    </a:lnTo>
                    <a:lnTo>
                      <a:pt x="272" y="18"/>
                    </a:lnTo>
                    <a:lnTo>
                      <a:pt x="263" y="52"/>
                    </a:lnTo>
                    <a:lnTo>
                      <a:pt x="267" y="61"/>
                    </a:lnTo>
                    <a:lnTo>
                      <a:pt x="279" y="82"/>
                    </a:lnTo>
                    <a:lnTo>
                      <a:pt x="282" y="89"/>
                    </a:lnTo>
                    <a:lnTo>
                      <a:pt x="279" y="92"/>
                    </a:lnTo>
                    <a:lnTo>
                      <a:pt x="279" y="104"/>
                    </a:lnTo>
                    <a:lnTo>
                      <a:pt x="277" y="111"/>
                    </a:lnTo>
                    <a:lnTo>
                      <a:pt x="272" y="120"/>
                    </a:lnTo>
                    <a:lnTo>
                      <a:pt x="256" y="141"/>
                    </a:lnTo>
                    <a:lnTo>
                      <a:pt x="251" y="146"/>
                    </a:lnTo>
                    <a:lnTo>
                      <a:pt x="232" y="158"/>
                    </a:lnTo>
                    <a:lnTo>
                      <a:pt x="230" y="165"/>
                    </a:lnTo>
                    <a:lnTo>
                      <a:pt x="234" y="203"/>
                    </a:lnTo>
                    <a:lnTo>
                      <a:pt x="234" y="227"/>
                    </a:lnTo>
                    <a:lnTo>
                      <a:pt x="237" y="236"/>
                    </a:lnTo>
                    <a:lnTo>
                      <a:pt x="232" y="255"/>
                    </a:lnTo>
                    <a:lnTo>
                      <a:pt x="230" y="276"/>
                    </a:lnTo>
                    <a:lnTo>
                      <a:pt x="223" y="295"/>
                    </a:lnTo>
                    <a:lnTo>
                      <a:pt x="223" y="314"/>
                    </a:lnTo>
                    <a:lnTo>
                      <a:pt x="220" y="324"/>
                    </a:lnTo>
                    <a:lnTo>
                      <a:pt x="220" y="335"/>
                    </a:lnTo>
                    <a:lnTo>
                      <a:pt x="227" y="376"/>
                    </a:lnTo>
                    <a:lnTo>
                      <a:pt x="227" y="399"/>
                    </a:lnTo>
                    <a:lnTo>
                      <a:pt x="234" y="439"/>
                    </a:lnTo>
                    <a:lnTo>
                      <a:pt x="232" y="449"/>
                    </a:lnTo>
                    <a:lnTo>
                      <a:pt x="230" y="456"/>
                    </a:lnTo>
                    <a:lnTo>
                      <a:pt x="230" y="472"/>
                    </a:lnTo>
                    <a:lnTo>
                      <a:pt x="232" y="480"/>
                    </a:lnTo>
                    <a:lnTo>
                      <a:pt x="234" y="484"/>
                    </a:lnTo>
                    <a:lnTo>
                      <a:pt x="246" y="496"/>
                    </a:lnTo>
                    <a:lnTo>
                      <a:pt x="251" y="5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51" name="Freeform 90">
                <a:extLst>
                  <a:ext uri="{FF2B5EF4-FFF2-40B4-BE49-F238E27FC236}">
                    <a16:creationId xmlns:a16="http://schemas.microsoft.com/office/drawing/2014/main" id="{C3F8A9B5-404F-2E48-A265-1E91CA32CD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5" y="-1357"/>
                <a:ext cx="1130" cy="849"/>
              </a:xfrm>
              <a:custGeom>
                <a:avLst/>
                <a:gdLst>
                  <a:gd name="T0" fmla="*/ 816 w 1130"/>
                  <a:gd name="T1" fmla="*/ 801 h 849"/>
                  <a:gd name="T2" fmla="*/ 674 w 1130"/>
                  <a:gd name="T3" fmla="*/ 778 h 849"/>
                  <a:gd name="T4" fmla="*/ 390 w 1130"/>
                  <a:gd name="T5" fmla="*/ 768 h 849"/>
                  <a:gd name="T6" fmla="*/ 239 w 1130"/>
                  <a:gd name="T7" fmla="*/ 733 h 849"/>
                  <a:gd name="T8" fmla="*/ 152 w 1130"/>
                  <a:gd name="T9" fmla="*/ 690 h 849"/>
                  <a:gd name="T10" fmla="*/ 111 w 1130"/>
                  <a:gd name="T11" fmla="*/ 572 h 849"/>
                  <a:gd name="T12" fmla="*/ 55 w 1130"/>
                  <a:gd name="T13" fmla="*/ 522 h 849"/>
                  <a:gd name="T14" fmla="*/ 24 w 1130"/>
                  <a:gd name="T15" fmla="*/ 444 h 849"/>
                  <a:gd name="T16" fmla="*/ 31 w 1130"/>
                  <a:gd name="T17" fmla="*/ 416 h 849"/>
                  <a:gd name="T18" fmla="*/ 40 w 1130"/>
                  <a:gd name="T19" fmla="*/ 362 h 849"/>
                  <a:gd name="T20" fmla="*/ 48 w 1130"/>
                  <a:gd name="T21" fmla="*/ 217 h 849"/>
                  <a:gd name="T22" fmla="*/ 50 w 1130"/>
                  <a:gd name="T23" fmla="*/ 57 h 849"/>
                  <a:gd name="T24" fmla="*/ 225 w 1130"/>
                  <a:gd name="T25" fmla="*/ 170 h 849"/>
                  <a:gd name="T26" fmla="*/ 274 w 1130"/>
                  <a:gd name="T27" fmla="*/ 196 h 849"/>
                  <a:gd name="T28" fmla="*/ 298 w 1130"/>
                  <a:gd name="T29" fmla="*/ 234 h 849"/>
                  <a:gd name="T30" fmla="*/ 222 w 1130"/>
                  <a:gd name="T31" fmla="*/ 295 h 849"/>
                  <a:gd name="T32" fmla="*/ 232 w 1130"/>
                  <a:gd name="T33" fmla="*/ 331 h 849"/>
                  <a:gd name="T34" fmla="*/ 232 w 1130"/>
                  <a:gd name="T35" fmla="*/ 298 h 849"/>
                  <a:gd name="T36" fmla="*/ 305 w 1130"/>
                  <a:gd name="T37" fmla="*/ 253 h 849"/>
                  <a:gd name="T38" fmla="*/ 291 w 1130"/>
                  <a:gd name="T39" fmla="*/ 281 h 849"/>
                  <a:gd name="T40" fmla="*/ 284 w 1130"/>
                  <a:gd name="T41" fmla="*/ 321 h 849"/>
                  <a:gd name="T42" fmla="*/ 256 w 1130"/>
                  <a:gd name="T43" fmla="*/ 359 h 849"/>
                  <a:gd name="T44" fmla="*/ 225 w 1130"/>
                  <a:gd name="T45" fmla="*/ 354 h 849"/>
                  <a:gd name="T46" fmla="*/ 239 w 1130"/>
                  <a:gd name="T47" fmla="*/ 399 h 849"/>
                  <a:gd name="T48" fmla="*/ 286 w 1130"/>
                  <a:gd name="T49" fmla="*/ 373 h 849"/>
                  <a:gd name="T50" fmla="*/ 319 w 1130"/>
                  <a:gd name="T51" fmla="*/ 310 h 849"/>
                  <a:gd name="T52" fmla="*/ 329 w 1130"/>
                  <a:gd name="T53" fmla="*/ 269 h 849"/>
                  <a:gd name="T54" fmla="*/ 352 w 1130"/>
                  <a:gd name="T55" fmla="*/ 210 h 849"/>
                  <a:gd name="T56" fmla="*/ 334 w 1130"/>
                  <a:gd name="T57" fmla="*/ 201 h 849"/>
                  <a:gd name="T58" fmla="*/ 355 w 1130"/>
                  <a:gd name="T59" fmla="*/ 170 h 849"/>
                  <a:gd name="T60" fmla="*/ 331 w 1130"/>
                  <a:gd name="T61" fmla="*/ 125 h 849"/>
                  <a:gd name="T62" fmla="*/ 357 w 1130"/>
                  <a:gd name="T63" fmla="*/ 113 h 849"/>
                  <a:gd name="T64" fmla="*/ 352 w 1130"/>
                  <a:gd name="T65" fmla="*/ 66 h 849"/>
                  <a:gd name="T66" fmla="*/ 478 w 1130"/>
                  <a:gd name="T67" fmla="*/ 52 h 849"/>
                  <a:gd name="T68" fmla="*/ 823 w 1130"/>
                  <a:gd name="T69" fmla="*/ 146 h 849"/>
                  <a:gd name="T70" fmla="*/ 1130 w 1130"/>
                  <a:gd name="T71" fmla="*/ 222 h 849"/>
                  <a:gd name="T72" fmla="*/ 1083 w 1130"/>
                  <a:gd name="T73" fmla="*/ 423 h 849"/>
                  <a:gd name="T74" fmla="*/ 1036 w 1130"/>
                  <a:gd name="T75" fmla="*/ 622 h 849"/>
                  <a:gd name="T76" fmla="*/ 1003 w 1130"/>
                  <a:gd name="T77" fmla="*/ 761 h 849"/>
                  <a:gd name="T78" fmla="*/ 1003 w 1130"/>
                  <a:gd name="T79" fmla="*/ 849 h 849"/>
                  <a:gd name="T80" fmla="*/ 329 w 1130"/>
                  <a:gd name="T81" fmla="*/ 78 h 849"/>
                  <a:gd name="T82" fmla="*/ 310 w 1130"/>
                  <a:gd name="T83" fmla="*/ 87 h 849"/>
                  <a:gd name="T84" fmla="*/ 315 w 1130"/>
                  <a:gd name="T85" fmla="*/ 66 h 849"/>
                  <a:gd name="T86" fmla="*/ 270 w 1130"/>
                  <a:gd name="T87" fmla="*/ 92 h 849"/>
                  <a:gd name="T88" fmla="*/ 310 w 1130"/>
                  <a:gd name="T89" fmla="*/ 125 h 849"/>
                  <a:gd name="T90" fmla="*/ 308 w 1130"/>
                  <a:gd name="T91" fmla="*/ 99 h 849"/>
                  <a:gd name="T92" fmla="*/ 324 w 1130"/>
                  <a:gd name="T93" fmla="*/ 222 h 849"/>
                  <a:gd name="T94" fmla="*/ 331 w 1130"/>
                  <a:gd name="T95" fmla="*/ 243 h 849"/>
                  <a:gd name="T96" fmla="*/ 319 w 1130"/>
                  <a:gd name="T97" fmla="*/ 196 h 849"/>
                  <a:gd name="T98" fmla="*/ 312 w 1130"/>
                  <a:gd name="T99" fmla="*/ 161 h 849"/>
                  <a:gd name="T100" fmla="*/ 338 w 1130"/>
                  <a:gd name="T101" fmla="*/ 165 h 849"/>
                  <a:gd name="T102" fmla="*/ 300 w 1130"/>
                  <a:gd name="T103" fmla="*/ 310 h 849"/>
                  <a:gd name="T104" fmla="*/ 300 w 1130"/>
                  <a:gd name="T105" fmla="*/ 286 h 849"/>
                  <a:gd name="T106" fmla="*/ 296 w 1130"/>
                  <a:gd name="T107" fmla="*/ 362 h 849"/>
                  <a:gd name="T108" fmla="*/ 296 w 1130"/>
                  <a:gd name="T109" fmla="*/ 333 h 849"/>
                  <a:gd name="T110" fmla="*/ 225 w 1130"/>
                  <a:gd name="T111" fmla="*/ 378 h 8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30" h="849">
                    <a:moveTo>
                      <a:pt x="1003" y="849"/>
                    </a:moveTo>
                    <a:lnTo>
                      <a:pt x="967" y="839"/>
                    </a:lnTo>
                    <a:lnTo>
                      <a:pt x="929" y="830"/>
                    </a:lnTo>
                    <a:lnTo>
                      <a:pt x="891" y="820"/>
                    </a:lnTo>
                    <a:lnTo>
                      <a:pt x="854" y="811"/>
                    </a:lnTo>
                    <a:lnTo>
                      <a:pt x="816" y="801"/>
                    </a:lnTo>
                    <a:lnTo>
                      <a:pt x="778" y="792"/>
                    </a:lnTo>
                    <a:lnTo>
                      <a:pt x="740" y="782"/>
                    </a:lnTo>
                    <a:lnTo>
                      <a:pt x="702" y="773"/>
                    </a:lnTo>
                    <a:lnTo>
                      <a:pt x="700" y="773"/>
                    </a:lnTo>
                    <a:lnTo>
                      <a:pt x="693" y="775"/>
                    </a:lnTo>
                    <a:lnTo>
                      <a:pt x="674" y="778"/>
                    </a:lnTo>
                    <a:lnTo>
                      <a:pt x="636" y="771"/>
                    </a:lnTo>
                    <a:lnTo>
                      <a:pt x="558" y="771"/>
                    </a:lnTo>
                    <a:lnTo>
                      <a:pt x="523" y="778"/>
                    </a:lnTo>
                    <a:lnTo>
                      <a:pt x="494" y="778"/>
                    </a:lnTo>
                    <a:lnTo>
                      <a:pt x="440" y="771"/>
                    </a:lnTo>
                    <a:lnTo>
                      <a:pt x="390" y="768"/>
                    </a:lnTo>
                    <a:lnTo>
                      <a:pt x="369" y="761"/>
                    </a:lnTo>
                    <a:lnTo>
                      <a:pt x="364" y="752"/>
                    </a:lnTo>
                    <a:lnTo>
                      <a:pt x="343" y="740"/>
                    </a:lnTo>
                    <a:lnTo>
                      <a:pt x="305" y="728"/>
                    </a:lnTo>
                    <a:lnTo>
                      <a:pt x="272" y="723"/>
                    </a:lnTo>
                    <a:lnTo>
                      <a:pt x="239" y="733"/>
                    </a:lnTo>
                    <a:lnTo>
                      <a:pt x="230" y="733"/>
                    </a:lnTo>
                    <a:lnTo>
                      <a:pt x="230" y="733"/>
                    </a:lnTo>
                    <a:lnTo>
                      <a:pt x="220" y="730"/>
                    </a:lnTo>
                    <a:lnTo>
                      <a:pt x="173" y="709"/>
                    </a:lnTo>
                    <a:lnTo>
                      <a:pt x="159" y="704"/>
                    </a:lnTo>
                    <a:lnTo>
                      <a:pt x="152" y="690"/>
                    </a:lnTo>
                    <a:lnTo>
                      <a:pt x="154" y="676"/>
                    </a:lnTo>
                    <a:lnTo>
                      <a:pt x="154" y="624"/>
                    </a:lnTo>
                    <a:lnTo>
                      <a:pt x="149" y="593"/>
                    </a:lnTo>
                    <a:lnTo>
                      <a:pt x="137" y="579"/>
                    </a:lnTo>
                    <a:lnTo>
                      <a:pt x="128" y="572"/>
                    </a:lnTo>
                    <a:lnTo>
                      <a:pt x="111" y="572"/>
                    </a:lnTo>
                    <a:lnTo>
                      <a:pt x="109" y="567"/>
                    </a:lnTo>
                    <a:lnTo>
                      <a:pt x="102" y="565"/>
                    </a:lnTo>
                    <a:lnTo>
                      <a:pt x="90" y="551"/>
                    </a:lnTo>
                    <a:lnTo>
                      <a:pt x="85" y="539"/>
                    </a:lnTo>
                    <a:lnTo>
                      <a:pt x="59" y="532"/>
                    </a:lnTo>
                    <a:lnTo>
                      <a:pt x="55" y="522"/>
                    </a:lnTo>
                    <a:lnTo>
                      <a:pt x="24" y="520"/>
                    </a:lnTo>
                    <a:lnTo>
                      <a:pt x="17" y="511"/>
                    </a:lnTo>
                    <a:lnTo>
                      <a:pt x="0" y="511"/>
                    </a:lnTo>
                    <a:lnTo>
                      <a:pt x="10" y="492"/>
                    </a:lnTo>
                    <a:lnTo>
                      <a:pt x="17" y="468"/>
                    </a:lnTo>
                    <a:lnTo>
                      <a:pt x="24" y="444"/>
                    </a:lnTo>
                    <a:lnTo>
                      <a:pt x="24" y="463"/>
                    </a:lnTo>
                    <a:lnTo>
                      <a:pt x="29" y="485"/>
                    </a:lnTo>
                    <a:lnTo>
                      <a:pt x="38" y="466"/>
                    </a:lnTo>
                    <a:lnTo>
                      <a:pt x="50" y="440"/>
                    </a:lnTo>
                    <a:lnTo>
                      <a:pt x="43" y="428"/>
                    </a:lnTo>
                    <a:lnTo>
                      <a:pt x="31" y="416"/>
                    </a:lnTo>
                    <a:lnTo>
                      <a:pt x="31" y="390"/>
                    </a:lnTo>
                    <a:lnTo>
                      <a:pt x="76" y="380"/>
                    </a:lnTo>
                    <a:lnTo>
                      <a:pt x="57" y="371"/>
                    </a:lnTo>
                    <a:lnTo>
                      <a:pt x="52" y="359"/>
                    </a:lnTo>
                    <a:lnTo>
                      <a:pt x="43" y="354"/>
                    </a:lnTo>
                    <a:lnTo>
                      <a:pt x="40" y="362"/>
                    </a:lnTo>
                    <a:lnTo>
                      <a:pt x="33" y="371"/>
                    </a:lnTo>
                    <a:lnTo>
                      <a:pt x="36" y="357"/>
                    </a:lnTo>
                    <a:lnTo>
                      <a:pt x="38" y="343"/>
                    </a:lnTo>
                    <a:lnTo>
                      <a:pt x="43" y="317"/>
                    </a:lnTo>
                    <a:lnTo>
                      <a:pt x="40" y="272"/>
                    </a:lnTo>
                    <a:lnTo>
                      <a:pt x="48" y="217"/>
                    </a:lnTo>
                    <a:lnTo>
                      <a:pt x="45" y="187"/>
                    </a:lnTo>
                    <a:lnTo>
                      <a:pt x="31" y="156"/>
                    </a:lnTo>
                    <a:lnTo>
                      <a:pt x="29" y="139"/>
                    </a:lnTo>
                    <a:lnTo>
                      <a:pt x="36" y="101"/>
                    </a:lnTo>
                    <a:lnTo>
                      <a:pt x="48" y="75"/>
                    </a:lnTo>
                    <a:lnTo>
                      <a:pt x="50" y="57"/>
                    </a:lnTo>
                    <a:lnTo>
                      <a:pt x="59" y="61"/>
                    </a:lnTo>
                    <a:lnTo>
                      <a:pt x="83" y="85"/>
                    </a:lnTo>
                    <a:lnTo>
                      <a:pt x="114" y="106"/>
                    </a:lnTo>
                    <a:lnTo>
                      <a:pt x="121" y="118"/>
                    </a:lnTo>
                    <a:lnTo>
                      <a:pt x="135" y="130"/>
                    </a:lnTo>
                    <a:lnTo>
                      <a:pt x="225" y="170"/>
                    </a:lnTo>
                    <a:lnTo>
                      <a:pt x="232" y="170"/>
                    </a:lnTo>
                    <a:lnTo>
                      <a:pt x="246" y="168"/>
                    </a:lnTo>
                    <a:lnTo>
                      <a:pt x="251" y="170"/>
                    </a:lnTo>
                    <a:lnTo>
                      <a:pt x="260" y="189"/>
                    </a:lnTo>
                    <a:lnTo>
                      <a:pt x="265" y="194"/>
                    </a:lnTo>
                    <a:lnTo>
                      <a:pt x="274" y="196"/>
                    </a:lnTo>
                    <a:lnTo>
                      <a:pt x="282" y="194"/>
                    </a:lnTo>
                    <a:lnTo>
                      <a:pt x="296" y="189"/>
                    </a:lnTo>
                    <a:lnTo>
                      <a:pt x="296" y="191"/>
                    </a:lnTo>
                    <a:lnTo>
                      <a:pt x="293" y="201"/>
                    </a:lnTo>
                    <a:lnTo>
                      <a:pt x="293" y="215"/>
                    </a:lnTo>
                    <a:lnTo>
                      <a:pt x="298" y="234"/>
                    </a:lnTo>
                    <a:lnTo>
                      <a:pt x="298" y="246"/>
                    </a:lnTo>
                    <a:lnTo>
                      <a:pt x="272" y="269"/>
                    </a:lnTo>
                    <a:lnTo>
                      <a:pt x="267" y="269"/>
                    </a:lnTo>
                    <a:lnTo>
                      <a:pt x="270" y="260"/>
                    </a:lnTo>
                    <a:lnTo>
                      <a:pt x="270" y="258"/>
                    </a:lnTo>
                    <a:lnTo>
                      <a:pt x="222" y="295"/>
                    </a:lnTo>
                    <a:lnTo>
                      <a:pt x="204" y="317"/>
                    </a:lnTo>
                    <a:lnTo>
                      <a:pt x="199" y="326"/>
                    </a:lnTo>
                    <a:lnTo>
                      <a:pt x="199" y="333"/>
                    </a:lnTo>
                    <a:lnTo>
                      <a:pt x="204" y="336"/>
                    </a:lnTo>
                    <a:lnTo>
                      <a:pt x="213" y="336"/>
                    </a:lnTo>
                    <a:lnTo>
                      <a:pt x="232" y="331"/>
                    </a:lnTo>
                    <a:lnTo>
                      <a:pt x="232" y="328"/>
                    </a:lnTo>
                    <a:lnTo>
                      <a:pt x="218" y="328"/>
                    </a:lnTo>
                    <a:lnTo>
                      <a:pt x="211" y="326"/>
                    </a:lnTo>
                    <a:lnTo>
                      <a:pt x="215" y="317"/>
                    </a:lnTo>
                    <a:lnTo>
                      <a:pt x="218" y="312"/>
                    </a:lnTo>
                    <a:lnTo>
                      <a:pt x="232" y="298"/>
                    </a:lnTo>
                    <a:lnTo>
                      <a:pt x="244" y="291"/>
                    </a:lnTo>
                    <a:lnTo>
                      <a:pt x="263" y="284"/>
                    </a:lnTo>
                    <a:lnTo>
                      <a:pt x="272" y="279"/>
                    </a:lnTo>
                    <a:lnTo>
                      <a:pt x="282" y="267"/>
                    </a:lnTo>
                    <a:lnTo>
                      <a:pt x="300" y="258"/>
                    </a:lnTo>
                    <a:lnTo>
                      <a:pt x="305" y="253"/>
                    </a:lnTo>
                    <a:lnTo>
                      <a:pt x="308" y="241"/>
                    </a:lnTo>
                    <a:lnTo>
                      <a:pt x="310" y="239"/>
                    </a:lnTo>
                    <a:lnTo>
                      <a:pt x="317" y="243"/>
                    </a:lnTo>
                    <a:lnTo>
                      <a:pt x="312" y="265"/>
                    </a:lnTo>
                    <a:lnTo>
                      <a:pt x="308" y="274"/>
                    </a:lnTo>
                    <a:lnTo>
                      <a:pt x="291" y="281"/>
                    </a:lnTo>
                    <a:lnTo>
                      <a:pt x="289" y="286"/>
                    </a:lnTo>
                    <a:lnTo>
                      <a:pt x="286" y="302"/>
                    </a:lnTo>
                    <a:lnTo>
                      <a:pt x="284" y="302"/>
                    </a:lnTo>
                    <a:lnTo>
                      <a:pt x="279" y="298"/>
                    </a:lnTo>
                    <a:lnTo>
                      <a:pt x="277" y="300"/>
                    </a:lnTo>
                    <a:lnTo>
                      <a:pt x="284" y="321"/>
                    </a:lnTo>
                    <a:lnTo>
                      <a:pt x="284" y="336"/>
                    </a:lnTo>
                    <a:lnTo>
                      <a:pt x="282" y="347"/>
                    </a:lnTo>
                    <a:lnTo>
                      <a:pt x="272" y="369"/>
                    </a:lnTo>
                    <a:lnTo>
                      <a:pt x="267" y="371"/>
                    </a:lnTo>
                    <a:lnTo>
                      <a:pt x="260" y="369"/>
                    </a:lnTo>
                    <a:lnTo>
                      <a:pt x="256" y="359"/>
                    </a:lnTo>
                    <a:lnTo>
                      <a:pt x="253" y="359"/>
                    </a:lnTo>
                    <a:lnTo>
                      <a:pt x="241" y="376"/>
                    </a:lnTo>
                    <a:lnTo>
                      <a:pt x="239" y="373"/>
                    </a:lnTo>
                    <a:lnTo>
                      <a:pt x="241" y="352"/>
                    </a:lnTo>
                    <a:lnTo>
                      <a:pt x="239" y="350"/>
                    </a:lnTo>
                    <a:lnTo>
                      <a:pt x="225" y="354"/>
                    </a:lnTo>
                    <a:lnTo>
                      <a:pt x="215" y="362"/>
                    </a:lnTo>
                    <a:lnTo>
                      <a:pt x="208" y="376"/>
                    </a:lnTo>
                    <a:lnTo>
                      <a:pt x="199" y="380"/>
                    </a:lnTo>
                    <a:lnTo>
                      <a:pt x="215" y="388"/>
                    </a:lnTo>
                    <a:lnTo>
                      <a:pt x="230" y="388"/>
                    </a:lnTo>
                    <a:lnTo>
                      <a:pt x="239" y="399"/>
                    </a:lnTo>
                    <a:lnTo>
                      <a:pt x="244" y="399"/>
                    </a:lnTo>
                    <a:lnTo>
                      <a:pt x="256" y="397"/>
                    </a:lnTo>
                    <a:lnTo>
                      <a:pt x="260" y="392"/>
                    </a:lnTo>
                    <a:lnTo>
                      <a:pt x="274" y="373"/>
                    </a:lnTo>
                    <a:lnTo>
                      <a:pt x="282" y="371"/>
                    </a:lnTo>
                    <a:lnTo>
                      <a:pt x="286" y="373"/>
                    </a:lnTo>
                    <a:lnTo>
                      <a:pt x="293" y="371"/>
                    </a:lnTo>
                    <a:lnTo>
                      <a:pt x="308" y="362"/>
                    </a:lnTo>
                    <a:lnTo>
                      <a:pt x="310" y="357"/>
                    </a:lnTo>
                    <a:lnTo>
                      <a:pt x="315" y="328"/>
                    </a:lnTo>
                    <a:lnTo>
                      <a:pt x="319" y="314"/>
                    </a:lnTo>
                    <a:lnTo>
                      <a:pt x="319" y="310"/>
                    </a:lnTo>
                    <a:lnTo>
                      <a:pt x="317" y="302"/>
                    </a:lnTo>
                    <a:lnTo>
                      <a:pt x="319" y="298"/>
                    </a:lnTo>
                    <a:lnTo>
                      <a:pt x="324" y="291"/>
                    </a:lnTo>
                    <a:lnTo>
                      <a:pt x="326" y="284"/>
                    </a:lnTo>
                    <a:lnTo>
                      <a:pt x="326" y="276"/>
                    </a:lnTo>
                    <a:lnTo>
                      <a:pt x="329" y="269"/>
                    </a:lnTo>
                    <a:lnTo>
                      <a:pt x="343" y="255"/>
                    </a:lnTo>
                    <a:lnTo>
                      <a:pt x="345" y="248"/>
                    </a:lnTo>
                    <a:lnTo>
                      <a:pt x="362" y="236"/>
                    </a:lnTo>
                    <a:lnTo>
                      <a:pt x="360" y="229"/>
                    </a:lnTo>
                    <a:lnTo>
                      <a:pt x="355" y="220"/>
                    </a:lnTo>
                    <a:lnTo>
                      <a:pt x="352" y="210"/>
                    </a:lnTo>
                    <a:lnTo>
                      <a:pt x="350" y="198"/>
                    </a:lnTo>
                    <a:lnTo>
                      <a:pt x="348" y="194"/>
                    </a:lnTo>
                    <a:lnTo>
                      <a:pt x="345" y="194"/>
                    </a:lnTo>
                    <a:lnTo>
                      <a:pt x="345" y="213"/>
                    </a:lnTo>
                    <a:lnTo>
                      <a:pt x="345" y="215"/>
                    </a:lnTo>
                    <a:lnTo>
                      <a:pt x="334" y="201"/>
                    </a:lnTo>
                    <a:lnTo>
                      <a:pt x="334" y="194"/>
                    </a:lnTo>
                    <a:lnTo>
                      <a:pt x="334" y="187"/>
                    </a:lnTo>
                    <a:lnTo>
                      <a:pt x="336" y="179"/>
                    </a:lnTo>
                    <a:lnTo>
                      <a:pt x="345" y="177"/>
                    </a:lnTo>
                    <a:lnTo>
                      <a:pt x="355" y="177"/>
                    </a:lnTo>
                    <a:lnTo>
                      <a:pt x="355" y="170"/>
                    </a:lnTo>
                    <a:lnTo>
                      <a:pt x="350" y="151"/>
                    </a:lnTo>
                    <a:lnTo>
                      <a:pt x="345" y="142"/>
                    </a:lnTo>
                    <a:lnTo>
                      <a:pt x="341" y="137"/>
                    </a:lnTo>
                    <a:lnTo>
                      <a:pt x="334" y="132"/>
                    </a:lnTo>
                    <a:lnTo>
                      <a:pt x="331" y="130"/>
                    </a:lnTo>
                    <a:lnTo>
                      <a:pt x="331" y="125"/>
                    </a:lnTo>
                    <a:lnTo>
                      <a:pt x="334" y="120"/>
                    </a:lnTo>
                    <a:lnTo>
                      <a:pt x="338" y="120"/>
                    </a:lnTo>
                    <a:lnTo>
                      <a:pt x="350" y="125"/>
                    </a:lnTo>
                    <a:lnTo>
                      <a:pt x="357" y="125"/>
                    </a:lnTo>
                    <a:lnTo>
                      <a:pt x="360" y="118"/>
                    </a:lnTo>
                    <a:lnTo>
                      <a:pt x="357" y="113"/>
                    </a:lnTo>
                    <a:lnTo>
                      <a:pt x="364" y="90"/>
                    </a:lnTo>
                    <a:lnTo>
                      <a:pt x="367" y="68"/>
                    </a:lnTo>
                    <a:lnTo>
                      <a:pt x="364" y="66"/>
                    </a:lnTo>
                    <a:lnTo>
                      <a:pt x="362" y="64"/>
                    </a:lnTo>
                    <a:lnTo>
                      <a:pt x="360" y="66"/>
                    </a:lnTo>
                    <a:lnTo>
                      <a:pt x="352" y="66"/>
                    </a:lnTo>
                    <a:lnTo>
                      <a:pt x="350" y="57"/>
                    </a:lnTo>
                    <a:lnTo>
                      <a:pt x="348" y="45"/>
                    </a:lnTo>
                    <a:lnTo>
                      <a:pt x="348" y="12"/>
                    </a:lnTo>
                    <a:lnTo>
                      <a:pt x="362" y="16"/>
                    </a:lnTo>
                    <a:lnTo>
                      <a:pt x="419" y="33"/>
                    </a:lnTo>
                    <a:lnTo>
                      <a:pt x="478" y="52"/>
                    </a:lnTo>
                    <a:lnTo>
                      <a:pt x="534" y="68"/>
                    </a:lnTo>
                    <a:lnTo>
                      <a:pt x="591" y="85"/>
                    </a:lnTo>
                    <a:lnTo>
                      <a:pt x="650" y="99"/>
                    </a:lnTo>
                    <a:lnTo>
                      <a:pt x="707" y="116"/>
                    </a:lnTo>
                    <a:lnTo>
                      <a:pt x="766" y="132"/>
                    </a:lnTo>
                    <a:lnTo>
                      <a:pt x="823" y="146"/>
                    </a:lnTo>
                    <a:lnTo>
                      <a:pt x="882" y="163"/>
                    </a:lnTo>
                    <a:lnTo>
                      <a:pt x="941" y="177"/>
                    </a:lnTo>
                    <a:lnTo>
                      <a:pt x="998" y="191"/>
                    </a:lnTo>
                    <a:lnTo>
                      <a:pt x="1057" y="206"/>
                    </a:lnTo>
                    <a:lnTo>
                      <a:pt x="1114" y="220"/>
                    </a:lnTo>
                    <a:lnTo>
                      <a:pt x="1130" y="222"/>
                    </a:lnTo>
                    <a:lnTo>
                      <a:pt x="1121" y="255"/>
                    </a:lnTo>
                    <a:lnTo>
                      <a:pt x="1114" y="291"/>
                    </a:lnTo>
                    <a:lnTo>
                      <a:pt x="1107" y="324"/>
                    </a:lnTo>
                    <a:lnTo>
                      <a:pt x="1097" y="357"/>
                    </a:lnTo>
                    <a:lnTo>
                      <a:pt x="1090" y="390"/>
                    </a:lnTo>
                    <a:lnTo>
                      <a:pt x="1083" y="423"/>
                    </a:lnTo>
                    <a:lnTo>
                      <a:pt x="1076" y="456"/>
                    </a:lnTo>
                    <a:lnTo>
                      <a:pt x="1066" y="489"/>
                    </a:lnTo>
                    <a:lnTo>
                      <a:pt x="1059" y="522"/>
                    </a:lnTo>
                    <a:lnTo>
                      <a:pt x="1052" y="555"/>
                    </a:lnTo>
                    <a:lnTo>
                      <a:pt x="1045" y="589"/>
                    </a:lnTo>
                    <a:lnTo>
                      <a:pt x="1036" y="622"/>
                    </a:lnTo>
                    <a:lnTo>
                      <a:pt x="1029" y="655"/>
                    </a:lnTo>
                    <a:lnTo>
                      <a:pt x="1021" y="688"/>
                    </a:lnTo>
                    <a:lnTo>
                      <a:pt x="1014" y="721"/>
                    </a:lnTo>
                    <a:lnTo>
                      <a:pt x="1005" y="754"/>
                    </a:lnTo>
                    <a:lnTo>
                      <a:pt x="1005" y="756"/>
                    </a:lnTo>
                    <a:lnTo>
                      <a:pt x="1003" y="761"/>
                    </a:lnTo>
                    <a:lnTo>
                      <a:pt x="1003" y="775"/>
                    </a:lnTo>
                    <a:lnTo>
                      <a:pt x="1007" y="799"/>
                    </a:lnTo>
                    <a:lnTo>
                      <a:pt x="1007" y="813"/>
                    </a:lnTo>
                    <a:lnTo>
                      <a:pt x="1003" y="820"/>
                    </a:lnTo>
                    <a:lnTo>
                      <a:pt x="1000" y="834"/>
                    </a:lnTo>
                    <a:lnTo>
                      <a:pt x="1003" y="849"/>
                    </a:lnTo>
                    <a:close/>
                    <a:moveTo>
                      <a:pt x="308" y="0"/>
                    </a:moveTo>
                    <a:lnTo>
                      <a:pt x="312" y="2"/>
                    </a:lnTo>
                    <a:lnTo>
                      <a:pt x="310" y="5"/>
                    </a:lnTo>
                    <a:lnTo>
                      <a:pt x="308" y="2"/>
                    </a:lnTo>
                    <a:lnTo>
                      <a:pt x="308" y="0"/>
                    </a:lnTo>
                    <a:close/>
                    <a:moveTo>
                      <a:pt x="329" y="78"/>
                    </a:moveTo>
                    <a:lnTo>
                      <a:pt x="329" y="83"/>
                    </a:lnTo>
                    <a:lnTo>
                      <a:pt x="322" y="85"/>
                    </a:lnTo>
                    <a:lnTo>
                      <a:pt x="319" y="85"/>
                    </a:lnTo>
                    <a:lnTo>
                      <a:pt x="315" y="75"/>
                    </a:lnTo>
                    <a:lnTo>
                      <a:pt x="312" y="75"/>
                    </a:lnTo>
                    <a:lnTo>
                      <a:pt x="310" y="87"/>
                    </a:lnTo>
                    <a:lnTo>
                      <a:pt x="310" y="90"/>
                    </a:lnTo>
                    <a:lnTo>
                      <a:pt x="298" y="80"/>
                    </a:lnTo>
                    <a:lnTo>
                      <a:pt x="298" y="73"/>
                    </a:lnTo>
                    <a:lnTo>
                      <a:pt x="303" y="68"/>
                    </a:lnTo>
                    <a:lnTo>
                      <a:pt x="312" y="66"/>
                    </a:lnTo>
                    <a:lnTo>
                      <a:pt x="315" y="66"/>
                    </a:lnTo>
                    <a:lnTo>
                      <a:pt x="329" y="78"/>
                    </a:lnTo>
                    <a:close/>
                    <a:moveTo>
                      <a:pt x="286" y="104"/>
                    </a:moveTo>
                    <a:lnTo>
                      <a:pt x="289" y="111"/>
                    </a:lnTo>
                    <a:lnTo>
                      <a:pt x="274" y="104"/>
                    </a:lnTo>
                    <a:lnTo>
                      <a:pt x="270" y="97"/>
                    </a:lnTo>
                    <a:lnTo>
                      <a:pt x="270" y="92"/>
                    </a:lnTo>
                    <a:lnTo>
                      <a:pt x="272" y="80"/>
                    </a:lnTo>
                    <a:lnTo>
                      <a:pt x="274" y="75"/>
                    </a:lnTo>
                    <a:lnTo>
                      <a:pt x="279" y="75"/>
                    </a:lnTo>
                    <a:lnTo>
                      <a:pt x="289" y="97"/>
                    </a:lnTo>
                    <a:lnTo>
                      <a:pt x="286" y="104"/>
                    </a:lnTo>
                    <a:close/>
                    <a:moveTo>
                      <a:pt x="310" y="125"/>
                    </a:moveTo>
                    <a:lnTo>
                      <a:pt x="305" y="127"/>
                    </a:lnTo>
                    <a:lnTo>
                      <a:pt x="300" y="123"/>
                    </a:lnTo>
                    <a:lnTo>
                      <a:pt x="296" y="116"/>
                    </a:lnTo>
                    <a:lnTo>
                      <a:pt x="298" y="111"/>
                    </a:lnTo>
                    <a:lnTo>
                      <a:pt x="303" y="101"/>
                    </a:lnTo>
                    <a:lnTo>
                      <a:pt x="308" y="99"/>
                    </a:lnTo>
                    <a:lnTo>
                      <a:pt x="310" y="99"/>
                    </a:lnTo>
                    <a:lnTo>
                      <a:pt x="308" y="111"/>
                    </a:lnTo>
                    <a:lnTo>
                      <a:pt x="310" y="123"/>
                    </a:lnTo>
                    <a:lnTo>
                      <a:pt x="310" y="125"/>
                    </a:lnTo>
                    <a:close/>
                    <a:moveTo>
                      <a:pt x="326" y="191"/>
                    </a:moveTo>
                    <a:lnTo>
                      <a:pt x="324" y="222"/>
                    </a:lnTo>
                    <a:lnTo>
                      <a:pt x="331" y="210"/>
                    </a:lnTo>
                    <a:lnTo>
                      <a:pt x="343" y="236"/>
                    </a:lnTo>
                    <a:lnTo>
                      <a:pt x="341" y="246"/>
                    </a:lnTo>
                    <a:lnTo>
                      <a:pt x="338" y="248"/>
                    </a:lnTo>
                    <a:lnTo>
                      <a:pt x="334" y="248"/>
                    </a:lnTo>
                    <a:lnTo>
                      <a:pt x="331" y="243"/>
                    </a:lnTo>
                    <a:lnTo>
                      <a:pt x="329" y="236"/>
                    </a:lnTo>
                    <a:lnTo>
                      <a:pt x="326" y="232"/>
                    </a:lnTo>
                    <a:lnTo>
                      <a:pt x="317" y="227"/>
                    </a:lnTo>
                    <a:lnTo>
                      <a:pt x="315" y="217"/>
                    </a:lnTo>
                    <a:lnTo>
                      <a:pt x="315" y="213"/>
                    </a:lnTo>
                    <a:lnTo>
                      <a:pt x="319" y="196"/>
                    </a:lnTo>
                    <a:lnTo>
                      <a:pt x="319" y="191"/>
                    </a:lnTo>
                    <a:lnTo>
                      <a:pt x="315" y="189"/>
                    </a:lnTo>
                    <a:lnTo>
                      <a:pt x="310" y="184"/>
                    </a:lnTo>
                    <a:lnTo>
                      <a:pt x="308" y="172"/>
                    </a:lnTo>
                    <a:lnTo>
                      <a:pt x="308" y="168"/>
                    </a:lnTo>
                    <a:lnTo>
                      <a:pt x="312" y="161"/>
                    </a:lnTo>
                    <a:lnTo>
                      <a:pt x="324" y="149"/>
                    </a:lnTo>
                    <a:lnTo>
                      <a:pt x="331" y="144"/>
                    </a:lnTo>
                    <a:lnTo>
                      <a:pt x="336" y="146"/>
                    </a:lnTo>
                    <a:lnTo>
                      <a:pt x="338" y="151"/>
                    </a:lnTo>
                    <a:lnTo>
                      <a:pt x="341" y="161"/>
                    </a:lnTo>
                    <a:lnTo>
                      <a:pt x="338" y="165"/>
                    </a:lnTo>
                    <a:lnTo>
                      <a:pt x="315" y="170"/>
                    </a:lnTo>
                    <a:lnTo>
                      <a:pt x="312" y="172"/>
                    </a:lnTo>
                    <a:lnTo>
                      <a:pt x="322" y="179"/>
                    </a:lnTo>
                    <a:lnTo>
                      <a:pt x="324" y="182"/>
                    </a:lnTo>
                    <a:lnTo>
                      <a:pt x="326" y="191"/>
                    </a:lnTo>
                    <a:close/>
                    <a:moveTo>
                      <a:pt x="300" y="310"/>
                    </a:moveTo>
                    <a:lnTo>
                      <a:pt x="300" y="314"/>
                    </a:lnTo>
                    <a:lnTo>
                      <a:pt x="293" y="307"/>
                    </a:lnTo>
                    <a:lnTo>
                      <a:pt x="291" y="302"/>
                    </a:lnTo>
                    <a:lnTo>
                      <a:pt x="296" y="293"/>
                    </a:lnTo>
                    <a:lnTo>
                      <a:pt x="298" y="286"/>
                    </a:lnTo>
                    <a:lnTo>
                      <a:pt x="300" y="286"/>
                    </a:lnTo>
                    <a:lnTo>
                      <a:pt x="305" y="291"/>
                    </a:lnTo>
                    <a:lnTo>
                      <a:pt x="305" y="291"/>
                    </a:lnTo>
                    <a:lnTo>
                      <a:pt x="300" y="310"/>
                    </a:lnTo>
                    <a:close/>
                    <a:moveTo>
                      <a:pt x="303" y="354"/>
                    </a:moveTo>
                    <a:lnTo>
                      <a:pt x="300" y="359"/>
                    </a:lnTo>
                    <a:lnTo>
                      <a:pt x="296" y="362"/>
                    </a:lnTo>
                    <a:lnTo>
                      <a:pt x="293" y="359"/>
                    </a:lnTo>
                    <a:lnTo>
                      <a:pt x="293" y="354"/>
                    </a:lnTo>
                    <a:lnTo>
                      <a:pt x="293" y="352"/>
                    </a:lnTo>
                    <a:lnTo>
                      <a:pt x="286" y="357"/>
                    </a:lnTo>
                    <a:lnTo>
                      <a:pt x="289" y="345"/>
                    </a:lnTo>
                    <a:lnTo>
                      <a:pt x="296" y="333"/>
                    </a:lnTo>
                    <a:lnTo>
                      <a:pt x="298" y="333"/>
                    </a:lnTo>
                    <a:lnTo>
                      <a:pt x="300" y="343"/>
                    </a:lnTo>
                    <a:lnTo>
                      <a:pt x="303" y="354"/>
                    </a:lnTo>
                    <a:close/>
                    <a:moveTo>
                      <a:pt x="227" y="376"/>
                    </a:moveTo>
                    <a:lnTo>
                      <a:pt x="225" y="378"/>
                    </a:lnTo>
                    <a:lnTo>
                      <a:pt x="225" y="378"/>
                    </a:lnTo>
                    <a:lnTo>
                      <a:pt x="222" y="369"/>
                    </a:lnTo>
                    <a:lnTo>
                      <a:pt x="222" y="362"/>
                    </a:lnTo>
                    <a:lnTo>
                      <a:pt x="227" y="359"/>
                    </a:lnTo>
                    <a:lnTo>
                      <a:pt x="230" y="373"/>
                    </a:lnTo>
                    <a:lnTo>
                      <a:pt x="227" y="376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52" name="Freeform 91">
                <a:extLst>
                  <a:ext uri="{FF2B5EF4-FFF2-40B4-BE49-F238E27FC236}">
                    <a16:creationId xmlns:a16="http://schemas.microsoft.com/office/drawing/2014/main" id="{BEDA4537-7A17-DB2E-92C2-A8DD42DB4A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0" y="-409"/>
                <a:ext cx="900" cy="965"/>
              </a:xfrm>
              <a:custGeom>
                <a:avLst/>
                <a:gdLst>
                  <a:gd name="T0" fmla="*/ 345 w 900"/>
                  <a:gd name="T1" fmla="*/ 2 h 965"/>
                  <a:gd name="T2" fmla="*/ 309 w 900"/>
                  <a:gd name="T3" fmla="*/ 33 h 965"/>
                  <a:gd name="T4" fmla="*/ 302 w 900"/>
                  <a:gd name="T5" fmla="*/ 26 h 965"/>
                  <a:gd name="T6" fmla="*/ 359 w 900"/>
                  <a:gd name="T7" fmla="*/ 111 h 965"/>
                  <a:gd name="T8" fmla="*/ 387 w 900"/>
                  <a:gd name="T9" fmla="*/ 128 h 965"/>
                  <a:gd name="T10" fmla="*/ 439 w 900"/>
                  <a:gd name="T11" fmla="*/ 161 h 965"/>
                  <a:gd name="T12" fmla="*/ 531 w 900"/>
                  <a:gd name="T13" fmla="*/ 180 h 965"/>
                  <a:gd name="T14" fmla="*/ 595 w 900"/>
                  <a:gd name="T15" fmla="*/ 203 h 965"/>
                  <a:gd name="T16" fmla="*/ 697 w 900"/>
                  <a:gd name="T17" fmla="*/ 215 h 965"/>
                  <a:gd name="T18" fmla="*/ 747 w 900"/>
                  <a:gd name="T19" fmla="*/ 258 h 965"/>
                  <a:gd name="T20" fmla="*/ 754 w 900"/>
                  <a:gd name="T21" fmla="*/ 303 h 965"/>
                  <a:gd name="T22" fmla="*/ 754 w 900"/>
                  <a:gd name="T23" fmla="*/ 333 h 965"/>
                  <a:gd name="T24" fmla="*/ 780 w 900"/>
                  <a:gd name="T25" fmla="*/ 336 h 965"/>
                  <a:gd name="T26" fmla="*/ 794 w 900"/>
                  <a:gd name="T27" fmla="*/ 385 h 965"/>
                  <a:gd name="T28" fmla="*/ 761 w 900"/>
                  <a:gd name="T29" fmla="*/ 430 h 965"/>
                  <a:gd name="T30" fmla="*/ 742 w 900"/>
                  <a:gd name="T31" fmla="*/ 504 h 965"/>
                  <a:gd name="T32" fmla="*/ 775 w 900"/>
                  <a:gd name="T33" fmla="*/ 482 h 965"/>
                  <a:gd name="T34" fmla="*/ 806 w 900"/>
                  <a:gd name="T35" fmla="*/ 437 h 965"/>
                  <a:gd name="T36" fmla="*/ 841 w 900"/>
                  <a:gd name="T37" fmla="*/ 452 h 965"/>
                  <a:gd name="T38" fmla="*/ 820 w 900"/>
                  <a:gd name="T39" fmla="*/ 534 h 965"/>
                  <a:gd name="T40" fmla="*/ 806 w 900"/>
                  <a:gd name="T41" fmla="*/ 605 h 965"/>
                  <a:gd name="T42" fmla="*/ 806 w 900"/>
                  <a:gd name="T43" fmla="*/ 671 h 965"/>
                  <a:gd name="T44" fmla="*/ 791 w 900"/>
                  <a:gd name="T45" fmla="*/ 738 h 965"/>
                  <a:gd name="T46" fmla="*/ 787 w 900"/>
                  <a:gd name="T47" fmla="*/ 804 h 965"/>
                  <a:gd name="T48" fmla="*/ 791 w 900"/>
                  <a:gd name="T49" fmla="*/ 830 h 965"/>
                  <a:gd name="T50" fmla="*/ 810 w 900"/>
                  <a:gd name="T51" fmla="*/ 870 h 965"/>
                  <a:gd name="T52" fmla="*/ 791 w 900"/>
                  <a:gd name="T53" fmla="*/ 939 h 965"/>
                  <a:gd name="T54" fmla="*/ 442 w 900"/>
                  <a:gd name="T55" fmla="*/ 962 h 965"/>
                  <a:gd name="T56" fmla="*/ 321 w 900"/>
                  <a:gd name="T57" fmla="*/ 924 h 965"/>
                  <a:gd name="T58" fmla="*/ 286 w 900"/>
                  <a:gd name="T59" fmla="*/ 825 h 965"/>
                  <a:gd name="T60" fmla="*/ 269 w 900"/>
                  <a:gd name="T61" fmla="*/ 776 h 965"/>
                  <a:gd name="T62" fmla="*/ 219 w 900"/>
                  <a:gd name="T63" fmla="*/ 648 h 965"/>
                  <a:gd name="T64" fmla="*/ 120 w 900"/>
                  <a:gd name="T65" fmla="*/ 570 h 965"/>
                  <a:gd name="T66" fmla="*/ 61 w 900"/>
                  <a:gd name="T67" fmla="*/ 539 h 965"/>
                  <a:gd name="T68" fmla="*/ 21 w 900"/>
                  <a:gd name="T69" fmla="*/ 494 h 965"/>
                  <a:gd name="T70" fmla="*/ 21 w 900"/>
                  <a:gd name="T71" fmla="*/ 407 h 965"/>
                  <a:gd name="T72" fmla="*/ 21 w 900"/>
                  <a:gd name="T73" fmla="*/ 340 h 965"/>
                  <a:gd name="T74" fmla="*/ 21 w 900"/>
                  <a:gd name="T75" fmla="*/ 272 h 965"/>
                  <a:gd name="T76" fmla="*/ 85 w 900"/>
                  <a:gd name="T77" fmla="*/ 225 h 965"/>
                  <a:gd name="T78" fmla="*/ 89 w 900"/>
                  <a:gd name="T79" fmla="*/ 99 h 965"/>
                  <a:gd name="T80" fmla="*/ 111 w 900"/>
                  <a:gd name="T81" fmla="*/ 85 h 965"/>
                  <a:gd name="T82" fmla="*/ 215 w 900"/>
                  <a:gd name="T83" fmla="*/ 64 h 965"/>
                  <a:gd name="T84" fmla="*/ 274 w 900"/>
                  <a:gd name="T85" fmla="*/ 31 h 965"/>
                  <a:gd name="T86" fmla="*/ 297 w 900"/>
                  <a:gd name="T87" fmla="*/ 47 h 965"/>
                  <a:gd name="T88" fmla="*/ 276 w 900"/>
                  <a:gd name="T89" fmla="*/ 102 h 965"/>
                  <a:gd name="T90" fmla="*/ 305 w 900"/>
                  <a:gd name="T91" fmla="*/ 85 h 965"/>
                  <a:gd name="T92" fmla="*/ 357 w 900"/>
                  <a:gd name="T93" fmla="*/ 102 h 965"/>
                  <a:gd name="T94" fmla="*/ 326 w 900"/>
                  <a:gd name="T95" fmla="*/ 26 h 965"/>
                  <a:gd name="T96" fmla="*/ 302 w 900"/>
                  <a:gd name="T97" fmla="*/ 69 h 965"/>
                  <a:gd name="T98" fmla="*/ 326 w 900"/>
                  <a:gd name="T99" fmla="*/ 45 h 965"/>
                  <a:gd name="T100" fmla="*/ 309 w 900"/>
                  <a:gd name="T101" fmla="*/ 64 h 965"/>
                  <a:gd name="T102" fmla="*/ 886 w 900"/>
                  <a:gd name="T103" fmla="*/ 307 h 965"/>
                  <a:gd name="T104" fmla="*/ 900 w 900"/>
                  <a:gd name="T105" fmla="*/ 322 h 965"/>
                  <a:gd name="T106" fmla="*/ 877 w 900"/>
                  <a:gd name="T107" fmla="*/ 364 h 965"/>
                  <a:gd name="T108" fmla="*/ 877 w 900"/>
                  <a:gd name="T109" fmla="*/ 378 h 965"/>
                  <a:gd name="T110" fmla="*/ 860 w 900"/>
                  <a:gd name="T111" fmla="*/ 404 h 965"/>
                  <a:gd name="T112" fmla="*/ 843 w 900"/>
                  <a:gd name="T113" fmla="*/ 440 h 965"/>
                  <a:gd name="T114" fmla="*/ 829 w 900"/>
                  <a:gd name="T115" fmla="*/ 414 h 965"/>
                  <a:gd name="T116" fmla="*/ 858 w 900"/>
                  <a:gd name="T117" fmla="*/ 362 h 965"/>
                  <a:gd name="T118" fmla="*/ 884 w 900"/>
                  <a:gd name="T119" fmla="*/ 340 h 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00" h="965">
                    <a:moveTo>
                      <a:pt x="347" y="12"/>
                    </a:moveTo>
                    <a:lnTo>
                      <a:pt x="342" y="14"/>
                    </a:lnTo>
                    <a:lnTo>
                      <a:pt x="342" y="12"/>
                    </a:lnTo>
                    <a:lnTo>
                      <a:pt x="342" y="7"/>
                    </a:lnTo>
                    <a:lnTo>
                      <a:pt x="345" y="2"/>
                    </a:lnTo>
                    <a:lnTo>
                      <a:pt x="347" y="0"/>
                    </a:lnTo>
                    <a:lnTo>
                      <a:pt x="349" y="2"/>
                    </a:lnTo>
                    <a:lnTo>
                      <a:pt x="349" y="7"/>
                    </a:lnTo>
                    <a:lnTo>
                      <a:pt x="347" y="12"/>
                    </a:lnTo>
                    <a:close/>
                    <a:moveTo>
                      <a:pt x="309" y="33"/>
                    </a:moveTo>
                    <a:lnTo>
                      <a:pt x="307" y="35"/>
                    </a:lnTo>
                    <a:lnTo>
                      <a:pt x="300" y="33"/>
                    </a:lnTo>
                    <a:lnTo>
                      <a:pt x="300" y="31"/>
                    </a:lnTo>
                    <a:lnTo>
                      <a:pt x="300" y="26"/>
                    </a:lnTo>
                    <a:lnTo>
                      <a:pt x="302" y="26"/>
                    </a:lnTo>
                    <a:lnTo>
                      <a:pt x="307" y="31"/>
                    </a:lnTo>
                    <a:lnTo>
                      <a:pt x="309" y="33"/>
                    </a:lnTo>
                    <a:close/>
                    <a:moveTo>
                      <a:pt x="357" y="102"/>
                    </a:moveTo>
                    <a:lnTo>
                      <a:pt x="357" y="104"/>
                    </a:lnTo>
                    <a:lnTo>
                      <a:pt x="359" y="111"/>
                    </a:lnTo>
                    <a:lnTo>
                      <a:pt x="366" y="109"/>
                    </a:lnTo>
                    <a:lnTo>
                      <a:pt x="371" y="113"/>
                    </a:lnTo>
                    <a:lnTo>
                      <a:pt x="375" y="116"/>
                    </a:lnTo>
                    <a:lnTo>
                      <a:pt x="383" y="118"/>
                    </a:lnTo>
                    <a:lnTo>
                      <a:pt x="387" y="128"/>
                    </a:lnTo>
                    <a:lnTo>
                      <a:pt x="392" y="135"/>
                    </a:lnTo>
                    <a:lnTo>
                      <a:pt x="397" y="144"/>
                    </a:lnTo>
                    <a:lnTo>
                      <a:pt x="401" y="154"/>
                    </a:lnTo>
                    <a:lnTo>
                      <a:pt x="420" y="156"/>
                    </a:lnTo>
                    <a:lnTo>
                      <a:pt x="439" y="161"/>
                    </a:lnTo>
                    <a:lnTo>
                      <a:pt x="458" y="165"/>
                    </a:lnTo>
                    <a:lnTo>
                      <a:pt x="477" y="168"/>
                    </a:lnTo>
                    <a:lnTo>
                      <a:pt x="496" y="173"/>
                    </a:lnTo>
                    <a:lnTo>
                      <a:pt x="513" y="175"/>
                    </a:lnTo>
                    <a:lnTo>
                      <a:pt x="531" y="180"/>
                    </a:lnTo>
                    <a:lnTo>
                      <a:pt x="550" y="184"/>
                    </a:lnTo>
                    <a:lnTo>
                      <a:pt x="562" y="189"/>
                    </a:lnTo>
                    <a:lnTo>
                      <a:pt x="572" y="194"/>
                    </a:lnTo>
                    <a:lnTo>
                      <a:pt x="583" y="199"/>
                    </a:lnTo>
                    <a:lnTo>
                      <a:pt x="595" y="203"/>
                    </a:lnTo>
                    <a:lnTo>
                      <a:pt x="609" y="203"/>
                    </a:lnTo>
                    <a:lnTo>
                      <a:pt x="626" y="206"/>
                    </a:lnTo>
                    <a:lnTo>
                      <a:pt x="645" y="206"/>
                    </a:lnTo>
                    <a:lnTo>
                      <a:pt x="666" y="208"/>
                    </a:lnTo>
                    <a:lnTo>
                      <a:pt x="697" y="215"/>
                    </a:lnTo>
                    <a:lnTo>
                      <a:pt x="704" y="222"/>
                    </a:lnTo>
                    <a:lnTo>
                      <a:pt x="706" y="229"/>
                    </a:lnTo>
                    <a:lnTo>
                      <a:pt x="704" y="241"/>
                    </a:lnTo>
                    <a:lnTo>
                      <a:pt x="735" y="251"/>
                    </a:lnTo>
                    <a:lnTo>
                      <a:pt x="747" y="258"/>
                    </a:lnTo>
                    <a:lnTo>
                      <a:pt x="751" y="265"/>
                    </a:lnTo>
                    <a:lnTo>
                      <a:pt x="751" y="272"/>
                    </a:lnTo>
                    <a:lnTo>
                      <a:pt x="756" y="284"/>
                    </a:lnTo>
                    <a:lnTo>
                      <a:pt x="754" y="291"/>
                    </a:lnTo>
                    <a:lnTo>
                      <a:pt x="754" y="303"/>
                    </a:lnTo>
                    <a:lnTo>
                      <a:pt x="749" y="317"/>
                    </a:lnTo>
                    <a:lnTo>
                      <a:pt x="749" y="324"/>
                    </a:lnTo>
                    <a:lnTo>
                      <a:pt x="749" y="329"/>
                    </a:lnTo>
                    <a:lnTo>
                      <a:pt x="749" y="333"/>
                    </a:lnTo>
                    <a:lnTo>
                      <a:pt x="754" y="333"/>
                    </a:lnTo>
                    <a:lnTo>
                      <a:pt x="763" y="333"/>
                    </a:lnTo>
                    <a:lnTo>
                      <a:pt x="775" y="329"/>
                    </a:lnTo>
                    <a:lnTo>
                      <a:pt x="780" y="329"/>
                    </a:lnTo>
                    <a:lnTo>
                      <a:pt x="780" y="331"/>
                    </a:lnTo>
                    <a:lnTo>
                      <a:pt x="780" y="336"/>
                    </a:lnTo>
                    <a:lnTo>
                      <a:pt x="773" y="357"/>
                    </a:lnTo>
                    <a:lnTo>
                      <a:pt x="775" y="366"/>
                    </a:lnTo>
                    <a:lnTo>
                      <a:pt x="780" y="374"/>
                    </a:lnTo>
                    <a:lnTo>
                      <a:pt x="787" y="383"/>
                    </a:lnTo>
                    <a:lnTo>
                      <a:pt x="794" y="385"/>
                    </a:lnTo>
                    <a:lnTo>
                      <a:pt x="794" y="390"/>
                    </a:lnTo>
                    <a:lnTo>
                      <a:pt x="791" y="400"/>
                    </a:lnTo>
                    <a:lnTo>
                      <a:pt x="784" y="409"/>
                    </a:lnTo>
                    <a:lnTo>
                      <a:pt x="763" y="423"/>
                    </a:lnTo>
                    <a:lnTo>
                      <a:pt x="761" y="430"/>
                    </a:lnTo>
                    <a:lnTo>
                      <a:pt x="761" y="435"/>
                    </a:lnTo>
                    <a:lnTo>
                      <a:pt x="749" y="461"/>
                    </a:lnTo>
                    <a:lnTo>
                      <a:pt x="742" y="478"/>
                    </a:lnTo>
                    <a:lnTo>
                      <a:pt x="739" y="494"/>
                    </a:lnTo>
                    <a:lnTo>
                      <a:pt x="742" y="504"/>
                    </a:lnTo>
                    <a:lnTo>
                      <a:pt x="749" y="506"/>
                    </a:lnTo>
                    <a:lnTo>
                      <a:pt x="756" y="504"/>
                    </a:lnTo>
                    <a:lnTo>
                      <a:pt x="758" y="496"/>
                    </a:lnTo>
                    <a:lnTo>
                      <a:pt x="765" y="489"/>
                    </a:lnTo>
                    <a:lnTo>
                      <a:pt x="775" y="482"/>
                    </a:lnTo>
                    <a:lnTo>
                      <a:pt x="782" y="473"/>
                    </a:lnTo>
                    <a:lnTo>
                      <a:pt x="789" y="452"/>
                    </a:lnTo>
                    <a:lnTo>
                      <a:pt x="799" y="440"/>
                    </a:lnTo>
                    <a:lnTo>
                      <a:pt x="803" y="437"/>
                    </a:lnTo>
                    <a:lnTo>
                      <a:pt x="806" y="437"/>
                    </a:lnTo>
                    <a:lnTo>
                      <a:pt x="817" y="433"/>
                    </a:lnTo>
                    <a:lnTo>
                      <a:pt x="827" y="433"/>
                    </a:lnTo>
                    <a:lnTo>
                      <a:pt x="832" y="440"/>
                    </a:lnTo>
                    <a:lnTo>
                      <a:pt x="839" y="444"/>
                    </a:lnTo>
                    <a:lnTo>
                      <a:pt x="841" y="452"/>
                    </a:lnTo>
                    <a:lnTo>
                      <a:pt x="839" y="463"/>
                    </a:lnTo>
                    <a:lnTo>
                      <a:pt x="834" y="475"/>
                    </a:lnTo>
                    <a:lnTo>
                      <a:pt x="829" y="489"/>
                    </a:lnTo>
                    <a:lnTo>
                      <a:pt x="822" y="508"/>
                    </a:lnTo>
                    <a:lnTo>
                      <a:pt x="820" y="534"/>
                    </a:lnTo>
                    <a:lnTo>
                      <a:pt x="820" y="556"/>
                    </a:lnTo>
                    <a:lnTo>
                      <a:pt x="825" y="567"/>
                    </a:lnTo>
                    <a:lnTo>
                      <a:pt x="822" y="579"/>
                    </a:lnTo>
                    <a:lnTo>
                      <a:pt x="813" y="591"/>
                    </a:lnTo>
                    <a:lnTo>
                      <a:pt x="806" y="605"/>
                    </a:lnTo>
                    <a:lnTo>
                      <a:pt x="801" y="624"/>
                    </a:lnTo>
                    <a:lnTo>
                      <a:pt x="799" y="638"/>
                    </a:lnTo>
                    <a:lnTo>
                      <a:pt x="799" y="650"/>
                    </a:lnTo>
                    <a:lnTo>
                      <a:pt x="801" y="660"/>
                    </a:lnTo>
                    <a:lnTo>
                      <a:pt x="806" y="671"/>
                    </a:lnTo>
                    <a:lnTo>
                      <a:pt x="806" y="676"/>
                    </a:lnTo>
                    <a:lnTo>
                      <a:pt x="796" y="705"/>
                    </a:lnTo>
                    <a:lnTo>
                      <a:pt x="794" y="716"/>
                    </a:lnTo>
                    <a:lnTo>
                      <a:pt x="794" y="728"/>
                    </a:lnTo>
                    <a:lnTo>
                      <a:pt x="791" y="738"/>
                    </a:lnTo>
                    <a:lnTo>
                      <a:pt x="784" y="759"/>
                    </a:lnTo>
                    <a:lnTo>
                      <a:pt x="784" y="771"/>
                    </a:lnTo>
                    <a:lnTo>
                      <a:pt x="784" y="780"/>
                    </a:lnTo>
                    <a:lnTo>
                      <a:pt x="787" y="797"/>
                    </a:lnTo>
                    <a:lnTo>
                      <a:pt x="787" y="804"/>
                    </a:lnTo>
                    <a:lnTo>
                      <a:pt x="789" y="806"/>
                    </a:lnTo>
                    <a:lnTo>
                      <a:pt x="791" y="811"/>
                    </a:lnTo>
                    <a:lnTo>
                      <a:pt x="791" y="816"/>
                    </a:lnTo>
                    <a:lnTo>
                      <a:pt x="789" y="823"/>
                    </a:lnTo>
                    <a:lnTo>
                      <a:pt x="791" y="830"/>
                    </a:lnTo>
                    <a:lnTo>
                      <a:pt x="796" y="832"/>
                    </a:lnTo>
                    <a:lnTo>
                      <a:pt x="799" y="842"/>
                    </a:lnTo>
                    <a:lnTo>
                      <a:pt x="801" y="854"/>
                    </a:lnTo>
                    <a:lnTo>
                      <a:pt x="806" y="863"/>
                    </a:lnTo>
                    <a:lnTo>
                      <a:pt x="810" y="870"/>
                    </a:lnTo>
                    <a:lnTo>
                      <a:pt x="813" y="882"/>
                    </a:lnTo>
                    <a:lnTo>
                      <a:pt x="810" y="898"/>
                    </a:lnTo>
                    <a:lnTo>
                      <a:pt x="810" y="927"/>
                    </a:lnTo>
                    <a:lnTo>
                      <a:pt x="813" y="936"/>
                    </a:lnTo>
                    <a:lnTo>
                      <a:pt x="791" y="939"/>
                    </a:lnTo>
                    <a:lnTo>
                      <a:pt x="723" y="943"/>
                    </a:lnTo>
                    <a:lnTo>
                      <a:pt x="652" y="948"/>
                    </a:lnTo>
                    <a:lnTo>
                      <a:pt x="583" y="953"/>
                    </a:lnTo>
                    <a:lnTo>
                      <a:pt x="513" y="958"/>
                    </a:lnTo>
                    <a:lnTo>
                      <a:pt x="442" y="962"/>
                    </a:lnTo>
                    <a:lnTo>
                      <a:pt x="371" y="965"/>
                    </a:lnTo>
                    <a:lnTo>
                      <a:pt x="371" y="965"/>
                    </a:lnTo>
                    <a:lnTo>
                      <a:pt x="364" y="946"/>
                    </a:lnTo>
                    <a:lnTo>
                      <a:pt x="347" y="932"/>
                    </a:lnTo>
                    <a:lnTo>
                      <a:pt x="321" y="924"/>
                    </a:lnTo>
                    <a:lnTo>
                      <a:pt x="302" y="913"/>
                    </a:lnTo>
                    <a:lnTo>
                      <a:pt x="295" y="891"/>
                    </a:lnTo>
                    <a:lnTo>
                      <a:pt x="288" y="870"/>
                    </a:lnTo>
                    <a:lnTo>
                      <a:pt x="286" y="846"/>
                    </a:lnTo>
                    <a:lnTo>
                      <a:pt x="286" y="825"/>
                    </a:lnTo>
                    <a:lnTo>
                      <a:pt x="290" y="809"/>
                    </a:lnTo>
                    <a:lnTo>
                      <a:pt x="288" y="797"/>
                    </a:lnTo>
                    <a:lnTo>
                      <a:pt x="278" y="792"/>
                    </a:lnTo>
                    <a:lnTo>
                      <a:pt x="274" y="785"/>
                    </a:lnTo>
                    <a:lnTo>
                      <a:pt x="269" y="776"/>
                    </a:lnTo>
                    <a:lnTo>
                      <a:pt x="267" y="764"/>
                    </a:lnTo>
                    <a:lnTo>
                      <a:pt x="260" y="700"/>
                    </a:lnTo>
                    <a:lnTo>
                      <a:pt x="250" y="671"/>
                    </a:lnTo>
                    <a:lnTo>
                      <a:pt x="241" y="660"/>
                    </a:lnTo>
                    <a:lnTo>
                      <a:pt x="219" y="648"/>
                    </a:lnTo>
                    <a:lnTo>
                      <a:pt x="189" y="634"/>
                    </a:lnTo>
                    <a:lnTo>
                      <a:pt x="170" y="622"/>
                    </a:lnTo>
                    <a:lnTo>
                      <a:pt x="158" y="601"/>
                    </a:lnTo>
                    <a:lnTo>
                      <a:pt x="134" y="579"/>
                    </a:lnTo>
                    <a:lnTo>
                      <a:pt x="120" y="570"/>
                    </a:lnTo>
                    <a:lnTo>
                      <a:pt x="106" y="567"/>
                    </a:lnTo>
                    <a:lnTo>
                      <a:pt x="94" y="560"/>
                    </a:lnTo>
                    <a:lnTo>
                      <a:pt x="87" y="549"/>
                    </a:lnTo>
                    <a:lnTo>
                      <a:pt x="75" y="541"/>
                    </a:lnTo>
                    <a:lnTo>
                      <a:pt x="61" y="539"/>
                    </a:lnTo>
                    <a:lnTo>
                      <a:pt x="44" y="532"/>
                    </a:lnTo>
                    <a:lnTo>
                      <a:pt x="23" y="515"/>
                    </a:lnTo>
                    <a:lnTo>
                      <a:pt x="23" y="513"/>
                    </a:lnTo>
                    <a:lnTo>
                      <a:pt x="18" y="501"/>
                    </a:lnTo>
                    <a:lnTo>
                      <a:pt x="21" y="494"/>
                    </a:lnTo>
                    <a:lnTo>
                      <a:pt x="23" y="470"/>
                    </a:lnTo>
                    <a:lnTo>
                      <a:pt x="23" y="463"/>
                    </a:lnTo>
                    <a:lnTo>
                      <a:pt x="18" y="442"/>
                    </a:lnTo>
                    <a:lnTo>
                      <a:pt x="23" y="433"/>
                    </a:lnTo>
                    <a:lnTo>
                      <a:pt x="21" y="407"/>
                    </a:lnTo>
                    <a:lnTo>
                      <a:pt x="23" y="397"/>
                    </a:lnTo>
                    <a:lnTo>
                      <a:pt x="33" y="376"/>
                    </a:lnTo>
                    <a:lnTo>
                      <a:pt x="33" y="364"/>
                    </a:lnTo>
                    <a:lnTo>
                      <a:pt x="28" y="352"/>
                    </a:lnTo>
                    <a:lnTo>
                      <a:pt x="21" y="340"/>
                    </a:lnTo>
                    <a:lnTo>
                      <a:pt x="0" y="331"/>
                    </a:lnTo>
                    <a:lnTo>
                      <a:pt x="0" y="317"/>
                    </a:lnTo>
                    <a:lnTo>
                      <a:pt x="2" y="307"/>
                    </a:lnTo>
                    <a:lnTo>
                      <a:pt x="14" y="288"/>
                    </a:lnTo>
                    <a:lnTo>
                      <a:pt x="21" y="272"/>
                    </a:lnTo>
                    <a:lnTo>
                      <a:pt x="26" y="262"/>
                    </a:lnTo>
                    <a:lnTo>
                      <a:pt x="66" y="236"/>
                    </a:lnTo>
                    <a:lnTo>
                      <a:pt x="73" y="234"/>
                    </a:lnTo>
                    <a:lnTo>
                      <a:pt x="80" y="227"/>
                    </a:lnTo>
                    <a:lnTo>
                      <a:pt x="85" y="225"/>
                    </a:lnTo>
                    <a:lnTo>
                      <a:pt x="82" y="194"/>
                    </a:lnTo>
                    <a:lnTo>
                      <a:pt x="82" y="163"/>
                    </a:lnTo>
                    <a:lnTo>
                      <a:pt x="80" y="132"/>
                    </a:lnTo>
                    <a:lnTo>
                      <a:pt x="80" y="102"/>
                    </a:lnTo>
                    <a:lnTo>
                      <a:pt x="89" y="99"/>
                    </a:lnTo>
                    <a:lnTo>
                      <a:pt x="94" y="92"/>
                    </a:lnTo>
                    <a:lnTo>
                      <a:pt x="104" y="80"/>
                    </a:lnTo>
                    <a:lnTo>
                      <a:pt x="106" y="80"/>
                    </a:lnTo>
                    <a:lnTo>
                      <a:pt x="106" y="80"/>
                    </a:lnTo>
                    <a:lnTo>
                      <a:pt x="111" y="85"/>
                    </a:lnTo>
                    <a:lnTo>
                      <a:pt x="125" y="92"/>
                    </a:lnTo>
                    <a:lnTo>
                      <a:pt x="134" y="92"/>
                    </a:lnTo>
                    <a:lnTo>
                      <a:pt x="146" y="90"/>
                    </a:lnTo>
                    <a:lnTo>
                      <a:pt x="193" y="73"/>
                    </a:lnTo>
                    <a:lnTo>
                      <a:pt x="215" y="64"/>
                    </a:lnTo>
                    <a:lnTo>
                      <a:pt x="234" y="47"/>
                    </a:lnTo>
                    <a:lnTo>
                      <a:pt x="236" y="47"/>
                    </a:lnTo>
                    <a:lnTo>
                      <a:pt x="245" y="50"/>
                    </a:lnTo>
                    <a:lnTo>
                      <a:pt x="248" y="50"/>
                    </a:lnTo>
                    <a:lnTo>
                      <a:pt x="274" y="31"/>
                    </a:lnTo>
                    <a:lnTo>
                      <a:pt x="281" y="28"/>
                    </a:lnTo>
                    <a:lnTo>
                      <a:pt x="288" y="28"/>
                    </a:lnTo>
                    <a:lnTo>
                      <a:pt x="297" y="35"/>
                    </a:lnTo>
                    <a:lnTo>
                      <a:pt x="300" y="38"/>
                    </a:lnTo>
                    <a:lnTo>
                      <a:pt x="297" y="47"/>
                    </a:lnTo>
                    <a:lnTo>
                      <a:pt x="290" y="59"/>
                    </a:lnTo>
                    <a:lnTo>
                      <a:pt x="286" y="71"/>
                    </a:lnTo>
                    <a:lnTo>
                      <a:pt x="288" y="80"/>
                    </a:lnTo>
                    <a:lnTo>
                      <a:pt x="286" y="87"/>
                    </a:lnTo>
                    <a:lnTo>
                      <a:pt x="276" y="102"/>
                    </a:lnTo>
                    <a:lnTo>
                      <a:pt x="281" y="104"/>
                    </a:lnTo>
                    <a:lnTo>
                      <a:pt x="302" y="95"/>
                    </a:lnTo>
                    <a:lnTo>
                      <a:pt x="305" y="90"/>
                    </a:lnTo>
                    <a:lnTo>
                      <a:pt x="305" y="90"/>
                    </a:lnTo>
                    <a:lnTo>
                      <a:pt x="305" y="85"/>
                    </a:lnTo>
                    <a:lnTo>
                      <a:pt x="307" y="85"/>
                    </a:lnTo>
                    <a:lnTo>
                      <a:pt x="323" y="97"/>
                    </a:lnTo>
                    <a:lnTo>
                      <a:pt x="338" y="102"/>
                    </a:lnTo>
                    <a:lnTo>
                      <a:pt x="347" y="104"/>
                    </a:lnTo>
                    <a:lnTo>
                      <a:pt x="357" y="102"/>
                    </a:lnTo>
                    <a:close/>
                    <a:moveTo>
                      <a:pt x="331" y="35"/>
                    </a:moveTo>
                    <a:lnTo>
                      <a:pt x="326" y="35"/>
                    </a:lnTo>
                    <a:lnTo>
                      <a:pt x="316" y="35"/>
                    </a:lnTo>
                    <a:lnTo>
                      <a:pt x="316" y="31"/>
                    </a:lnTo>
                    <a:lnTo>
                      <a:pt x="326" y="26"/>
                    </a:lnTo>
                    <a:lnTo>
                      <a:pt x="331" y="26"/>
                    </a:lnTo>
                    <a:lnTo>
                      <a:pt x="333" y="26"/>
                    </a:lnTo>
                    <a:lnTo>
                      <a:pt x="331" y="35"/>
                    </a:lnTo>
                    <a:close/>
                    <a:moveTo>
                      <a:pt x="309" y="64"/>
                    </a:moveTo>
                    <a:lnTo>
                      <a:pt x="302" y="69"/>
                    </a:lnTo>
                    <a:lnTo>
                      <a:pt x="297" y="69"/>
                    </a:lnTo>
                    <a:lnTo>
                      <a:pt x="300" y="64"/>
                    </a:lnTo>
                    <a:lnTo>
                      <a:pt x="302" y="59"/>
                    </a:lnTo>
                    <a:lnTo>
                      <a:pt x="321" y="45"/>
                    </a:lnTo>
                    <a:lnTo>
                      <a:pt x="326" y="45"/>
                    </a:lnTo>
                    <a:lnTo>
                      <a:pt x="326" y="47"/>
                    </a:lnTo>
                    <a:lnTo>
                      <a:pt x="316" y="54"/>
                    </a:lnTo>
                    <a:lnTo>
                      <a:pt x="314" y="59"/>
                    </a:lnTo>
                    <a:lnTo>
                      <a:pt x="314" y="61"/>
                    </a:lnTo>
                    <a:lnTo>
                      <a:pt x="309" y="64"/>
                    </a:lnTo>
                    <a:close/>
                    <a:moveTo>
                      <a:pt x="900" y="322"/>
                    </a:moveTo>
                    <a:lnTo>
                      <a:pt x="895" y="324"/>
                    </a:lnTo>
                    <a:lnTo>
                      <a:pt x="886" y="324"/>
                    </a:lnTo>
                    <a:lnTo>
                      <a:pt x="884" y="319"/>
                    </a:lnTo>
                    <a:lnTo>
                      <a:pt x="886" y="307"/>
                    </a:lnTo>
                    <a:lnTo>
                      <a:pt x="888" y="310"/>
                    </a:lnTo>
                    <a:lnTo>
                      <a:pt x="895" y="310"/>
                    </a:lnTo>
                    <a:lnTo>
                      <a:pt x="898" y="310"/>
                    </a:lnTo>
                    <a:lnTo>
                      <a:pt x="900" y="312"/>
                    </a:lnTo>
                    <a:lnTo>
                      <a:pt x="900" y="322"/>
                    </a:lnTo>
                    <a:close/>
                    <a:moveTo>
                      <a:pt x="884" y="348"/>
                    </a:moveTo>
                    <a:lnTo>
                      <a:pt x="881" y="350"/>
                    </a:lnTo>
                    <a:lnTo>
                      <a:pt x="877" y="350"/>
                    </a:lnTo>
                    <a:lnTo>
                      <a:pt x="874" y="352"/>
                    </a:lnTo>
                    <a:lnTo>
                      <a:pt x="877" y="364"/>
                    </a:lnTo>
                    <a:lnTo>
                      <a:pt x="874" y="366"/>
                    </a:lnTo>
                    <a:lnTo>
                      <a:pt x="872" y="366"/>
                    </a:lnTo>
                    <a:lnTo>
                      <a:pt x="872" y="369"/>
                    </a:lnTo>
                    <a:lnTo>
                      <a:pt x="874" y="374"/>
                    </a:lnTo>
                    <a:lnTo>
                      <a:pt x="877" y="378"/>
                    </a:lnTo>
                    <a:lnTo>
                      <a:pt x="874" y="383"/>
                    </a:lnTo>
                    <a:lnTo>
                      <a:pt x="872" y="385"/>
                    </a:lnTo>
                    <a:lnTo>
                      <a:pt x="867" y="385"/>
                    </a:lnTo>
                    <a:lnTo>
                      <a:pt x="865" y="392"/>
                    </a:lnTo>
                    <a:lnTo>
                      <a:pt x="860" y="404"/>
                    </a:lnTo>
                    <a:lnTo>
                      <a:pt x="860" y="411"/>
                    </a:lnTo>
                    <a:lnTo>
                      <a:pt x="860" y="414"/>
                    </a:lnTo>
                    <a:lnTo>
                      <a:pt x="860" y="418"/>
                    </a:lnTo>
                    <a:lnTo>
                      <a:pt x="848" y="437"/>
                    </a:lnTo>
                    <a:lnTo>
                      <a:pt x="843" y="440"/>
                    </a:lnTo>
                    <a:lnTo>
                      <a:pt x="836" y="437"/>
                    </a:lnTo>
                    <a:lnTo>
                      <a:pt x="832" y="433"/>
                    </a:lnTo>
                    <a:lnTo>
                      <a:pt x="829" y="426"/>
                    </a:lnTo>
                    <a:lnTo>
                      <a:pt x="827" y="418"/>
                    </a:lnTo>
                    <a:lnTo>
                      <a:pt x="829" y="414"/>
                    </a:lnTo>
                    <a:lnTo>
                      <a:pt x="839" y="397"/>
                    </a:lnTo>
                    <a:lnTo>
                      <a:pt x="843" y="385"/>
                    </a:lnTo>
                    <a:lnTo>
                      <a:pt x="846" y="374"/>
                    </a:lnTo>
                    <a:lnTo>
                      <a:pt x="851" y="364"/>
                    </a:lnTo>
                    <a:lnTo>
                      <a:pt x="858" y="362"/>
                    </a:lnTo>
                    <a:lnTo>
                      <a:pt x="865" y="352"/>
                    </a:lnTo>
                    <a:lnTo>
                      <a:pt x="867" y="340"/>
                    </a:lnTo>
                    <a:lnTo>
                      <a:pt x="872" y="336"/>
                    </a:lnTo>
                    <a:lnTo>
                      <a:pt x="879" y="336"/>
                    </a:lnTo>
                    <a:lnTo>
                      <a:pt x="884" y="340"/>
                    </a:lnTo>
                    <a:lnTo>
                      <a:pt x="884" y="34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53" name="Freeform 92">
                <a:extLst>
                  <a:ext uri="{FF2B5EF4-FFF2-40B4-BE49-F238E27FC236}">
                    <a16:creationId xmlns:a16="http://schemas.microsoft.com/office/drawing/2014/main" id="{719AAD32-62E8-4BF6-E345-20B2B3799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2" y="764"/>
                <a:ext cx="758" cy="742"/>
              </a:xfrm>
              <a:custGeom>
                <a:avLst/>
                <a:gdLst>
                  <a:gd name="T0" fmla="*/ 472 w 758"/>
                  <a:gd name="T1" fmla="*/ 215 h 742"/>
                  <a:gd name="T2" fmla="*/ 498 w 758"/>
                  <a:gd name="T3" fmla="*/ 248 h 742"/>
                  <a:gd name="T4" fmla="*/ 541 w 758"/>
                  <a:gd name="T5" fmla="*/ 198 h 742"/>
                  <a:gd name="T6" fmla="*/ 576 w 758"/>
                  <a:gd name="T7" fmla="*/ 163 h 742"/>
                  <a:gd name="T8" fmla="*/ 584 w 758"/>
                  <a:gd name="T9" fmla="*/ 163 h 742"/>
                  <a:gd name="T10" fmla="*/ 598 w 758"/>
                  <a:gd name="T11" fmla="*/ 172 h 742"/>
                  <a:gd name="T12" fmla="*/ 626 w 758"/>
                  <a:gd name="T13" fmla="*/ 170 h 742"/>
                  <a:gd name="T14" fmla="*/ 638 w 758"/>
                  <a:gd name="T15" fmla="*/ 149 h 742"/>
                  <a:gd name="T16" fmla="*/ 685 w 758"/>
                  <a:gd name="T17" fmla="*/ 127 h 742"/>
                  <a:gd name="T18" fmla="*/ 721 w 758"/>
                  <a:gd name="T19" fmla="*/ 135 h 742"/>
                  <a:gd name="T20" fmla="*/ 730 w 758"/>
                  <a:gd name="T21" fmla="*/ 146 h 742"/>
                  <a:gd name="T22" fmla="*/ 742 w 758"/>
                  <a:gd name="T23" fmla="*/ 163 h 742"/>
                  <a:gd name="T24" fmla="*/ 751 w 758"/>
                  <a:gd name="T25" fmla="*/ 175 h 742"/>
                  <a:gd name="T26" fmla="*/ 751 w 758"/>
                  <a:gd name="T27" fmla="*/ 213 h 742"/>
                  <a:gd name="T28" fmla="*/ 697 w 758"/>
                  <a:gd name="T29" fmla="*/ 203 h 742"/>
                  <a:gd name="T30" fmla="*/ 654 w 758"/>
                  <a:gd name="T31" fmla="*/ 191 h 742"/>
                  <a:gd name="T32" fmla="*/ 652 w 758"/>
                  <a:gd name="T33" fmla="*/ 246 h 742"/>
                  <a:gd name="T34" fmla="*/ 614 w 758"/>
                  <a:gd name="T35" fmla="*/ 302 h 742"/>
                  <a:gd name="T36" fmla="*/ 595 w 758"/>
                  <a:gd name="T37" fmla="*/ 331 h 742"/>
                  <a:gd name="T38" fmla="*/ 565 w 758"/>
                  <a:gd name="T39" fmla="*/ 352 h 742"/>
                  <a:gd name="T40" fmla="*/ 553 w 758"/>
                  <a:gd name="T41" fmla="*/ 399 h 742"/>
                  <a:gd name="T42" fmla="*/ 524 w 758"/>
                  <a:gd name="T43" fmla="*/ 421 h 742"/>
                  <a:gd name="T44" fmla="*/ 494 w 758"/>
                  <a:gd name="T45" fmla="*/ 404 h 742"/>
                  <a:gd name="T46" fmla="*/ 477 w 758"/>
                  <a:gd name="T47" fmla="*/ 411 h 742"/>
                  <a:gd name="T48" fmla="*/ 463 w 758"/>
                  <a:gd name="T49" fmla="*/ 473 h 742"/>
                  <a:gd name="T50" fmla="*/ 418 w 758"/>
                  <a:gd name="T51" fmla="*/ 574 h 742"/>
                  <a:gd name="T52" fmla="*/ 413 w 758"/>
                  <a:gd name="T53" fmla="*/ 615 h 742"/>
                  <a:gd name="T54" fmla="*/ 409 w 758"/>
                  <a:gd name="T55" fmla="*/ 643 h 742"/>
                  <a:gd name="T56" fmla="*/ 383 w 758"/>
                  <a:gd name="T57" fmla="*/ 657 h 742"/>
                  <a:gd name="T58" fmla="*/ 338 w 758"/>
                  <a:gd name="T59" fmla="*/ 678 h 742"/>
                  <a:gd name="T60" fmla="*/ 321 w 758"/>
                  <a:gd name="T61" fmla="*/ 678 h 742"/>
                  <a:gd name="T62" fmla="*/ 316 w 758"/>
                  <a:gd name="T63" fmla="*/ 702 h 742"/>
                  <a:gd name="T64" fmla="*/ 274 w 758"/>
                  <a:gd name="T65" fmla="*/ 719 h 742"/>
                  <a:gd name="T66" fmla="*/ 234 w 758"/>
                  <a:gd name="T67" fmla="*/ 721 h 742"/>
                  <a:gd name="T68" fmla="*/ 208 w 758"/>
                  <a:gd name="T69" fmla="*/ 742 h 742"/>
                  <a:gd name="T70" fmla="*/ 165 w 758"/>
                  <a:gd name="T71" fmla="*/ 728 h 742"/>
                  <a:gd name="T72" fmla="*/ 144 w 758"/>
                  <a:gd name="T73" fmla="*/ 704 h 742"/>
                  <a:gd name="T74" fmla="*/ 134 w 758"/>
                  <a:gd name="T75" fmla="*/ 683 h 742"/>
                  <a:gd name="T76" fmla="*/ 56 w 758"/>
                  <a:gd name="T77" fmla="*/ 633 h 742"/>
                  <a:gd name="T78" fmla="*/ 35 w 758"/>
                  <a:gd name="T79" fmla="*/ 603 h 742"/>
                  <a:gd name="T80" fmla="*/ 7 w 758"/>
                  <a:gd name="T81" fmla="*/ 565 h 742"/>
                  <a:gd name="T82" fmla="*/ 4 w 758"/>
                  <a:gd name="T83" fmla="*/ 515 h 742"/>
                  <a:gd name="T84" fmla="*/ 38 w 758"/>
                  <a:gd name="T85" fmla="*/ 508 h 742"/>
                  <a:gd name="T86" fmla="*/ 54 w 758"/>
                  <a:gd name="T87" fmla="*/ 470 h 742"/>
                  <a:gd name="T88" fmla="*/ 61 w 758"/>
                  <a:gd name="T89" fmla="*/ 444 h 742"/>
                  <a:gd name="T90" fmla="*/ 73 w 758"/>
                  <a:gd name="T91" fmla="*/ 390 h 742"/>
                  <a:gd name="T92" fmla="*/ 97 w 758"/>
                  <a:gd name="T93" fmla="*/ 388 h 742"/>
                  <a:gd name="T94" fmla="*/ 106 w 758"/>
                  <a:gd name="T95" fmla="*/ 399 h 742"/>
                  <a:gd name="T96" fmla="*/ 118 w 758"/>
                  <a:gd name="T97" fmla="*/ 385 h 742"/>
                  <a:gd name="T98" fmla="*/ 113 w 758"/>
                  <a:gd name="T99" fmla="*/ 366 h 742"/>
                  <a:gd name="T100" fmla="*/ 120 w 758"/>
                  <a:gd name="T101" fmla="*/ 343 h 742"/>
                  <a:gd name="T102" fmla="*/ 137 w 758"/>
                  <a:gd name="T103" fmla="*/ 312 h 742"/>
                  <a:gd name="T104" fmla="*/ 160 w 758"/>
                  <a:gd name="T105" fmla="*/ 283 h 742"/>
                  <a:gd name="T106" fmla="*/ 189 w 758"/>
                  <a:gd name="T107" fmla="*/ 281 h 742"/>
                  <a:gd name="T108" fmla="*/ 241 w 758"/>
                  <a:gd name="T109" fmla="*/ 213 h 742"/>
                  <a:gd name="T110" fmla="*/ 257 w 758"/>
                  <a:gd name="T111" fmla="*/ 99 h 742"/>
                  <a:gd name="T112" fmla="*/ 253 w 758"/>
                  <a:gd name="T113" fmla="*/ 30 h 742"/>
                  <a:gd name="T114" fmla="*/ 264 w 758"/>
                  <a:gd name="T115" fmla="*/ 0 h 742"/>
                  <a:gd name="T116" fmla="*/ 276 w 758"/>
                  <a:gd name="T117" fmla="*/ 71 h 742"/>
                  <a:gd name="T118" fmla="*/ 288 w 758"/>
                  <a:gd name="T119" fmla="*/ 144 h 742"/>
                  <a:gd name="T120" fmla="*/ 316 w 758"/>
                  <a:gd name="T121" fmla="*/ 187 h 742"/>
                  <a:gd name="T122" fmla="*/ 380 w 758"/>
                  <a:gd name="T123" fmla="*/ 177 h 742"/>
                  <a:gd name="T124" fmla="*/ 442 w 758"/>
                  <a:gd name="T125" fmla="*/ 165 h 7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58" h="742">
                    <a:moveTo>
                      <a:pt x="463" y="161"/>
                    </a:moveTo>
                    <a:lnTo>
                      <a:pt x="468" y="187"/>
                    </a:lnTo>
                    <a:lnTo>
                      <a:pt x="472" y="215"/>
                    </a:lnTo>
                    <a:lnTo>
                      <a:pt x="477" y="241"/>
                    </a:lnTo>
                    <a:lnTo>
                      <a:pt x="480" y="267"/>
                    </a:lnTo>
                    <a:lnTo>
                      <a:pt x="498" y="248"/>
                    </a:lnTo>
                    <a:lnTo>
                      <a:pt x="508" y="241"/>
                    </a:lnTo>
                    <a:lnTo>
                      <a:pt x="536" y="201"/>
                    </a:lnTo>
                    <a:lnTo>
                      <a:pt x="541" y="198"/>
                    </a:lnTo>
                    <a:lnTo>
                      <a:pt x="555" y="201"/>
                    </a:lnTo>
                    <a:lnTo>
                      <a:pt x="574" y="172"/>
                    </a:lnTo>
                    <a:lnTo>
                      <a:pt x="576" y="163"/>
                    </a:lnTo>
                    <a:lnTo>
                      <a:pt x="579" y="161"/>
                    </a:lnTo>
                    <a:lnTo>
                      <a:pt x="581" y="161"/>
                    </a:lnTo>
                    <a:lnTo>
                      <a:pt x="584" y="163"/>
                    </a:lnTo>
                    <a:lnTo>
                      <a:pt x="584" y="168"/>
                    </a:lnTo>
                    <a:lnTo>
                      <a:pt x="586" y="170"/>
                    </a:lnTo>
                    <a:lnTo>
                      <a:pt x="598" y="172"/>
                    </a:lnTo>
                    <a:lnTo>
                      <a:pt x="612" y="172"/>
                    </a:lnTo>
                    <a:lnTo>
                      <a:pt x="614" y="172"/>
                    </a:lnTo>
                    <a:lnTo>
                      <a:pt x="626" y="170"/>
                    </a:lnTo>
                    <a:lnTo>
                      <a:pt x="631" y="165"/>
                    </a:lnTo>
                    <a:lnTo>
                      <a:pt x="633" y="156"/>
                    </a:lnTo>
                    <a:lnTo>
                      <a:pt x="638" y="149"/>
                    </a:lnTo>
                    <a:lnTo>
                      <a:pt x="650" y="144"/>
                    </a:lnTo>
                    <a:lnTo>
                      <a:pt x="671" y="130"/>
                    </a:lnTo>
                    <a:lnTo>
                      <a:pt x="685" y="127"/>
                    </a:lnTo>
                    <a:lnTo>
                      <a:pt x="697" y="135"/>
                    </a:lnTo>
                    <a:lnTo>
                      <a:pt x="711" y="137"/>
                    </a:lnTo>
                    <a:lnTo>
                      <a:pt x="721" y="135"/>
                    </a:lnTo>
                    <a:lnTo>
                      <a:pt x="725" y="137"/>
                    </a:lnTo>
                    <a:lnTo>
                      <a:pt x="725" y="142"/>
                    </a:lnTo>
                    <a:lnTo>
                      <a:pt x="730" y="146"/>
                    </a:lnTo>
                    <a:lnTo>
                      <a:pt x="740" y="151"/>
                    </a:lnTo>
                    <a:lnTo>
                      <a:pt x="744" y="158"/>
                    </a:lnTo>
                    <a:lnTo>
                      <a:pt x="742" y="163"/>
                    </a:lnTo>
                    <a:lnTo>
                      <a:pt x="744" y="168"/>
                    </a:lnTo>
                    <a:lnTo>
                      <a:pt x="749" y="168"/>
                    </a:lnTo>
                    <a:lnTo>
                      <a:pt x="751" y="175"/>
                    </a:lnTo>
                    <a:lnTo>
                      <a:pt x="756" y="184"/>
                    </a:lnTo>
                    <a:lnTo>
                      <a:pt x="758" y="184"/>
                    </a:lnTo>
                    <a:lnTo>
                      <a:pt x="751" y="213"/>
                    </a:lnTo>
                    <a:lnTo>
                      <a:pt x="749" y="229"/>
                    </a:lnTo>
                    <a:lnTo>
                      <a:pt x="728" y="220"/>
                    </a:lnTo>
                    <a:lnTo>
                      <a:pt x="697" y="203"/>
                    </a:lnTo>
                    <a:lnTo>
                      <a:pt x="683" y="194"/>
                    </a:lnTo>
                    <a:lnTo>
                      <a:pt x="659" y="182"/>
                    </a:lnTo>
                    <a:lnTo>
                      <a:pt x="654" y="191"/>
                    </a:lnTo>
                    <a:lnTo>
                      <a:pt x="657" y="208"/>
                    </a:lnTo>
                    <a:lnTo>
                      <a:pt x="652" y="224"/>
                    </a:lnTo>
                    <a:lnTo>
                      <a:pt x="652" y="246"/>
                    </a:lnTo>
                    <a:lnTo>
                      <a:pt x="636" y="283"/>
                    </a:lnTo>
                    <a:lnTo>
                      <a:pt x="619" y="302"/>
                    </a:lnTo>
                    <a:lnTo>
                      <a:pt x="614" y="302"/>
                    </a:lnTo>
                    <a:lnTo>
                      <a:pt x="610" y="307"/>
                    </a:lnTo>
                    <a:lnTo>
                      <a:pt x="605" y="319"/>
                    </a:lnTo>
                    <a:lnTo>
                      <a:pt x="595" y="331"/>
                    </a:lnTo>
                    <a:lnTo>
                      <a:pt x="576" y="333"/>
                    </a:lnTo>
                    <a:lnTo>
                      <a:pt x="569" y="340"/>
                    </a:lnTo>
                    <a:lnTo>
                      <a:pt x="565" y="352"/>
                    </a:lnTo>
                    <a:lnTo>
                      <a:pt x="562" y="366"/>
                    </a:lnTo>
                    <a:lnTo>
                      <a:pt x="558" y="380"/>
                    </a:lnTo>
                    <a:lnTo>
                      <a:pt x="553" y="399"/>
                    </a:lnTo>
                    <a:lnTo>
                      <a:pt x="548" y="411"/>
                    </a:lnTo>
                    <a:lnTo>
                      <a:pt x="539" y="418"/>
                    </a:lnTo>
                    <a:lnTo>
                      <a:pt x="524" y="421"/>
                    </a:lnTo>
                    <a:lnTo>
                      <a:pt x="506" y="416"/>
                    </a:lnTo>
                    <a:lnTo>
                      <a:pt x="501" y="409"/>
                    </a:lnTo>
                    <a:lnTo>
                      <a:pt x="494" y="404"/>
                    </a:lnTo>
                    <a:lnTo>
                      <a:pt x="487" y="402"/>
                    </a:lnTo>
                    <a:lnTo>
                      <a:pt x="480" y="404"/>
                    </a:lnTo>
                    <a:lnTo>
                      <a:pt x="477" y="411"/>
                    </a:lnTo>
                    <a:lnTo>
                      <a:pt x="475" y="442"/>
                    </a:lnTo>
                    <a:lnTo>
                      <a:pt x="465" y="456"/>
                    </a:lnTo>
                    <a:lnTo>
                      <a:pt x="463" y="473"/>
                    </a:lnTo>
                    <a:lnTo>
                      <a:pt x="451" y="492"/>
                    </a:lnTo>
                    <a:lnTo>
                      <a:pt x="446" y="522"/>
                    </a:lnTo>
                    <a:lnTo>
                      <a:pt x="418" y="574"/>
                    </a:lnTo>
                    <a:lnTo>
                      <a:pt x="411" y="591"/>
                    </a:lnTo>
                    <a:lnTo>
                      <a:pt x="409" y="607"/>
                    </a:lnTo>
                    <a:lnTo>
                      <a:pt x="413" y="615"/>
                    </a:lnTo>
                    <a:lnTo>
                      <a:pt x="416" y="619"/>
                    </a:lnTo>
                    <a:lnTo>
                      <a:pt x="411" y="631"/>
                    </a:lnTo>
                    <a:lnTo>
                      <a:pt x="409" y="643"/>
                    </a:lnTo>
                    <a:lnTo>
                      <a:pt x="402" y="652"/>
                    </a:lnTo>
                    <a:lnTo>
                      <a:pt x="387" y="664"/>
                    </a:lnTo>
                    <a:lnTo>
                      <a:pt x="383" y="657"/>
                    </a:lnTo>
                    <a:lnTo>
                      <a:pt x="378" y="657"/>
                    </a:lnTo>
                    <a:lnTo>
                      <a:pt x="347" y="678"/>
                    </a:lnTo>
                    <a:lnTo>
                      <a:pt x="338" y="678"/>
                    </a:lnTo>
                    <a:lnTo>
                      <a:pt x="328" y="676"/>
                    </a:lnTo>
                    <a:lnTo>
                      <a:pt x="326" y="676"/>
                    </a:lnTo>
                    <a:lnTo>
                      <a:pt x="321" y="678"/>
                    </a:lnTo>
                    <a:lnTo>
                      <a:pt x="321" y="683"/>
                    </a:lnTo>
                    <a:lnTo>
                      <a:pt x="324" y="695"/>
                    </a:lnTo>
                    <a:lnTo>
                      <a:pt x="316" y="702"/>
                    </a:lnTo>
                    <a:lnTo>
                      <a:pt x="312" y="704"/>
                    </a:lnTo>
                    <a:lnTo>
                      <a:pt x="293" y="709"/>
                    </a:lnTo>
                    <a:lnTo>
                      <a:pt x="274" y="719"/>
                    </a:lnTo>
                    <a:lnTo>
                      <a:pt x="267" y="721"/>
                    </a:lnTo>
                    <a:lnTo>
                      <a:pt x="243" y="709"/>
                    </a:lnTo>
                    <a:lnTo>
                      <a:pt x="234" y="721"/>
                    </a:lnTo>
                    <a:lnTo>
                      <a:pt x="224" y="728"/>
                    </a:lnTo>
                    <a:lnTo>
                      <a:pt x="212" y="740"/>
                    </a:lnTo>
                    <a:lnTo>
                      <a:pt x="208" y="742"/>
                    </a:lnTo>
                    <a:lnTo>
                      <a:pt x="196" y="740"/>
                    </a:lnTo>
                    <a:lnTo>
                      <a:pt x="179" y="733"/>
                    </a:lnTo>
                    <a:lnTo>
                      <a:pt x="165" y="728"/>
                    </a:lnTo>
                    <a:lnTo>
                      <a:pt x="158" y="723"/>
                    </a:lnTo>
                    <a:lnTo>
                      <a:pt x="149" y="716"/>
                    </a:lnTo>
                    <a:lnTo>
                      <a:pt x="144" y="704"/>
                    </a:lnTo>
                    <a:lnTo>
                      <a:pt x="137" y="697"/>
                    </a:lnTo>
                    <a:lnTo>
                      <a:pt x="137" y="688"/>
                    </a:lnTo>
                    <a:lnTo>
                      <a:pt x="134" y="683"/>
                    </a:lnTo>
                    <a:lnTo>
                      <a:pt x="111" y="678"/>
                    </a:lnTo>
                    <a:lnTo>
                      <a:pt x="78" y="659"/>
                    </a:lnTo>
                    <a:lnTo>
                      <a:pt x="56" y="633"/>
                    </a:lnTo>
                    <a:lnTo>
                      <a:pt x="47" y="619"/>
                    </a:lnTo>
                    <a:lnTo>
                      <a:pt x="40" y="612"/>
                    </a:lnTo>
                    <a:lnTo>
                      <a:pt x="35" y="603"/>
                    </a:lnTo>
                    <a:lnTo>
                      <a:pt x="14" y="581"/>
                    </a:lnTo>
                    <a:lnTo>
                      <a:pt x="9" y="572"/>
                    </a:lnTo>
                    <a:lnTo>
                      <a:pt x="7" y="565"/>
                    </a:lnTo>
                    <a:lnTo>
                      <a:pt x="12" y="551"/>
                    </a:lnTo>
                    <a:lnTo>
                      <a:pt x="12" y="546"/>
                    </a:lnTo>
                    <a:lnTo>
                      <a:pt x="4" y="515"/>
                    </a:lnTo>
                    <a:lnTo>
                      <a:pt x="0" y="510"/>
                    </a:lnTo>
                    <a:lnTo>
                      <a:pt x="21" y="513"/>
                    </a:lnTo>
                    <a:lnTo>
                      <a:pt x="38" y="508"/>
                    </a:lnTo>
                    <a:lnTo>
                      <a:pt x="47" y="496"/>
                    </a:lnTo>
                    <a:lnTo>
                      <a:pt x="49" y="480"/>
                    </a:lnTo>
                    <a:lnTo>
                      <a:pt x="54" y="470"/>
                    </a:lnTo>
                    <a:lnTo>
                      <a:pt x="61" y="466"/>
                    </a:lnTo>
                    <a:lnTo>
                      <a:pt x="66" y="458"/>
                    </a:lnTo>
                    <a:lnTo>
                      <a:pt x="61" y="444"/>
                    </a:lnTo>
                    <a:lnTo>
                      <a:pt x="56" y="432"/>
                    </a:lnTo>
                    <a:lnTo>
                      <a:pt x="61" y="416"/>
                    </a:lnTo>
                    <a:lnTo>
                      <a:pt x="73" y="390"/>
                    </a:lnTo>
                    <a:lnTo>
                      <a:pt x="82" y="378"/>
                    </a:lnTo>
                    <a:lnTo>
                      <a:pt x="92" y="380"/>
                    </a:lnTo>
                    <a:lnTo>
                      <a:pt x="97" y="388"/>
                    </a:lnTo>
                    <a:lnTo>
                      <a:pt x="101" y="397"/>
                    </a:lnTo>
                    <a:lnTo>
                      <a:pt x="104" y="399"/>
                    </a:lnTo>
                    <a:lnTo>
                      <a:pt x="106" y="399"/>
                    </a:lnTo>
                    <a:lnTo>
                      <a:pt x="111" y="390"/>
                    </a:lnTo>
                    <a:lnTo>
                      <a:pt x="116" y="385"/>
                    </a:lnTo>
                    <a:lnTo>
                      <a:pt x="118" y="385"/>
                    </a:lnTo>
                    <a:lnTo>
                      <a:pt x="120" y="385"/>
                    </a:lnTo>
                    <a:lnTo>
                      <a:pt x="120" y="380"/>
                    </a:lnTo>
                    <a:lnTo>
                      <a:pt x="113" y="366"/>
                    </a:lnTo>
                    <a:lnTo>
                      <a:pt x="111" y="357"/>
                    </a:lnTo>
                    <a:lnTo>
                      <a:pt x="116" y="354"/>
                    </a:lnTo>
                    <a:lnTo>
                      <a:pt x="120" y="343"/>
                    </a:lnTo>
                    <a:lnTo>
                      <a:pt x="123" y="324"/>
                    </a:lnTo>
                    <a:lnTo>
                      <a:pt x="130" y="314"/>
                    </a:lnTo>
                    <a:lnTo>
                      <a:pt x="137" y="312"/>
                    </a:lnTo>
                    <a:lnTo>
                      <a:pt x="144" y="305"/>
                    </a:lnTo>
                    <a:lnTo>
                      <a:pt x="153" y="288"/>
                    </a:lnTo>
                    <a:lnTo>
                      <a:pt x="160" y="283"/>
                    </a:lnTo>
                    <a:lnTo>
                      <a:pt x="168" y="288"/>
                    </a:lnTo>
                    <a:lnTo>
                      <a:pt x="179" y="288"/>
                    </a:lnTo>
                    <a:lnTo>
                      <a:pt x="189" y="281"/>
                    </a:lnTo>
                    <a:lnTo>
                      <a:pt x="205" y="262"/>
                    </a:lnTo>
                    <a:lnTo>
                      <a:pt x="231" y="234"/>
                    </a:lnTo>
                    <a:lnTo>
                      <a:pt x="241" y="213"/>
                    </a:lnTo>
                    <a:lnTo>
                      <a:pt x="238" y="198"/>
                    </a:lnTo>
                    <a:lnTo>
                      <a:pt x="246" y="161"/>
                    </a:lnTo>
                    <a:lnTo>
                      <a:pt x="257" y="99"/>
                    </a:lnTo>
                    <a:lnTo>
                      <a:pt x="260" y="61"/>
                    </a:lnTo>
                    <a:lnTo>
                      <a:pt x="257" y="42"/>
                    </a:lnTo>
                    <a:lnTo>
                      <a:pt x="253" y="30"/>
                    </a:lnTo>
                    <a:lnTo>
                      <a:pt x="246" y="21"/>
                    </a:lnTo>
                    <a:lnTo>
                      <a:pt x="246" y="12"/>
                    </a:lnTo>
                    <a:lnTo>
                      <a:pt x="264" y="0"/>
                    </a:lnTo>
                    <a:lnTo>
                      <a:pt x="267" y="23"/>
                    </a:lnTo>
                    <a:lnTo>
                      <a:pt x="272" y="47"/>
                    </a:lnTo>
                    <a:lnTo>
                      <a:pt x="276" y="71"/>
                    </a:lnTo>
                    <a:lnTo>
                      <a:pt x="281" y="94"/>
                    </a:lnTo>
                    <a:lnTo>
                      <a:pt x="283" y="118"/>
                    </a:lnTo>
                    <a:lnTo>
                      <a:pt x="288" y="144"/>
                    </a:lnTo>
                    <a:lnTo>
                      <a:pt x="293" y="168"/>
                    </a:lnTo>
                    <a:lnTo>
                      <a:pt x="298" y="191"/>
                    </a:lnTo>
                    <a:lnTo>
                      <a:pt x="316" y="187"/>
                    </a:lnTo>
                    <a:lnTo>
                      <a:pt x="338" y="184"/>
                    </a:lnTo>
                    <a:lnTo>
                      <a:pt x="359" y="179"/>
                    </a:lnTo>
                    <a:lnTo>
                      <a:pt x="380" y="177"/>
                    </a:lnTo>
                    <a:lnTo>
                      <a:pt x="402" y="172"/>
                    </a:lnTo>
                    <a:lnTo>
                      <a:pt x="420" y="168"/>
                    </a:lnTo>
                    <a:lnTo>
                      <a:pt x="442" y="165"/>
                    </a:lnTo>
                    <a:lnTo>
                      <a:pt x="463" y="16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54" name="Freeform 93">
                <a:extLst>
                  <a:ext uri="{FF2B5EF4-FFF2-40B4-BE49-F238E27FC236}">
                    <a16:creationId xmlns:a16="http://schemas.microsoft.com/office/drawing/2014/main" id="{044F5479-D734-7A59-8F9A-130CC6DF8A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1" y="-130"/>
                <a:ext cx="1182" cy="974"/>
              </a:xfrm>
              <a:custGeom>
                <a:avLst/>
                <a:gdLst>
                  <a:gd name="T0" fmla="*/ 1142 w 1182"/>
                  <a:gd name="T1" fmla="*/ 605 h 974"/>
                  <a:gd name="T2" fmla="*/ 1132 w 1182"/>
                  <a:gd name="T3" fmla="*/ 712 h 974"/>
                  <a:gd name="T4" fmla="*/ 1125 w 1182"/>
                  <a:gd name="T5" fmla="*/ 816 h 974"/>
                  <a:gd name="T6" fmla="*/ 1116 w 1182"/>
                  <a:gd name="T7" fmla="*/ 920 h 974"/>
                  <a:gd name="T8" fmla="*/ 1062 w 1182"/>
                  <a:gd name="T9" fmla="*/ 969 h 974"/>
                  <a:gd name="T10" fmla="*/ 962 w 1182"/>
                  <a:gd name="T11" fmla="*/ 960 h 974"/>
                  <a:gd name="T12" fmla="*/ 861 w 1182"/>
                  <a:gd name="T13" fmla="*/ 948 h 974"/>
                  <a:gd name="T14" fmla="*/ 761 w 1182"/>
                  <a:gd name="T15" fmla="*/ 939 h 974"/>
                  <a:gd name="T16" fmla="*/ 662 w 1182"/>
                  <a:gd name="T17" fmla="*/ 927 h 974"/>
                  <a:gd name="T18" fmla="*/ 563 w 1182"/>
                  <a:gd name="T19" fmla="*/ 915 h 974"/>
                  <a:gd name="T20" fmla="*/ 464 w 1182"/>
                  <a:gd name="T21" fmla="*/ 901 h 974"/>
                  <a:gd name="T22" fmla="*/ 364 w 1182"/>
                  <a:gd name="T23" fmla="*/ 887 h 974"/>
                  <a:gd name="T24" fmla="*/ 277 w 1182"/>
                  <a:gd name="T25" fmla="*/ 875 h 974"/>
                  <a:gd name="T26" fmla="*/ 196 w 1182"/>
                  <a:gd name="T27" fmla="*/ 863 h 974"/>
                  <a:gd name="T28" fmla="*/ 118 w 1182"/>
                  <a:gd name="T29" fmla="*/ 851 h 974"/>
                  <a:gd name="T30" fmla="*/ 40 w 1182"/>
                  <a:gd name="T31" fmla="*/ 837 h 974"/>
                  <a:gd name="T32" fmla="*/ 5 w 1182"/>
                  <a:gd name="T33" fmla="*/ 806 h 974"/>
                  <a:gd name="T34" fmla="*/ 14 w 1182"/>
                  <a:gd name="T35" fmla="*/ 754 h 974"/>
                  <a:gd name="T36" fmla="*/ 21 w 1182"/>
                  <a:gd name="T37" fmla="*/ 702 h 974"/>
                  <a:gd name="T38" fmla="*/ 31 w 1182"/>
                  <a:gd name="T39" fmla="*/ 650 h 974"/>
                  <a:gd name="T40" fmla="*/ 40 w 1182"/>
                  <a:gd name="T41" fmla="*/ 591 h 974"/>
                  <a:gd name="T42" fmla="*/ 52 w 1182"/>
                  <a:gd name="T43" fmla="*/ 527 h 974"/>
                  <a:gd name="T44" fmla="*/ 62 w 1182"/>
                  <a:gd name="T45" fmla="*/ 461 h 974"/>
                  <a:gd name="T46" fmla="*/ 73 w 1182"/>
                  <a:gd name="T47" fmla="*/ 397 h 974"/>
                  <a:gd name="T48" fmla="*/ 83 w 1182"/>
                  <a:gd name="T49" fmla="*/ 331 h 974"/>
                  <a:gd name="T50" fmla="*/ 95 w 1182"/>
                  <a:gd name="T51" fmla="*/ 267 h 974"/>
                  <a:gd name="T52" fmla="*/ 104 w 1182"/>
                  <a:gd name="T53" fmla="*/ 201 h 974"/>
                  <a:gd name="T54" fmla="*/ 116 w 1182"/>
                  <a:gd name="T55" fmla="*/ 137 h 974"/>
                  <a:gd name="T56" fmla="*/ 125 w 1182"/>
                  <a:gd name="T57" fmla="*/ 78 h 974"/>
                  <a:gd name="T58" fmla="*/ 135 w 1182"/>
                  <a:gd name="T59" fmla="*/ 26 h 974"/>
                  <a:gd name="T60" fmla="*/ 170 w 1182"/>
                  <a:gd name="T61" fmla="*/ 5 h 974"/>
                  <a:gd name="T62" fmla="*/ 237 w 1182"/>
                  <a:gd name="T63" fmla="*/ 14 h 974"/>
                  <a:gd name="T64" fmla="*/ 300 w 1182"/>
                  <a:gd name="T65" fmla="*/ 26 h 974"/>
                  <a:gd name="T66" fmla="*/ 367 w 1182"/>
                  <a:gd name="T67" fmla="*/ 35 h 974"/>
                  <a:gd name="T68" fmla="*/ 430 w 1182"/>
                  <a:gd name="T69" fmla="*/ 45 h 974"/>
                  <a:gd name="T70" fmla="*/ 497 w 1182"/>
                  <a:gd name="T71" fmla="*/ 54 h 974"/>
                  <a:gd name="T72" fmla="*/ 563 w 1182"/>
                  <a:gd name="T73" fmla="*/ 64 h 974"/>
                  <a:gd name="T74" fmla="*/ 627 w 1182"/>
                  <a:gd name="T75" fmla="*/ 71 h 974"/>
                  <a:gd name="T76" fmla="*/ 693 w 1182"/>
                  <a:gd name="T77" fmla="*/ 80 h 974"/>
                  <a:gd name="T78" fmla="*/ 757 w 1182"/>
                  <a:gd name="T79" fmla="*/ 87 h 974"/>
                  <a:gd name="T80" fmla="*/ 823 w 1182"/>
                  <a:gd name="T81" fmla="*/ 97 h 974"/>
                  <a:gd name="T82" fmla="*/ 889 w 1182"/>
                  <a:gd name="T83" fmla="*/ 104 h 974"/>
                  <a:gd name="T84" fmla="*/ 953 w 1182"/>
                  <a:gd name="T85" fmla="*/ 111 h 974"/>
                  <a:gd name="T86" fmla="*/ 1019 w 1182"/>
                  <a:gd name="T87" fmla="*/ 118 h 974"/>
                  <a:gd name="T88" fmla="*/ 1085 w 1182"/>
                  <a:gd name="T89" fmla="*/ 123 h 974"/>
                  <a:gd name="T90" fmla="*/ 1149 w 1182"/>
                  <a:gd name="T91" fmla="*/ 130 h 974"/>
                  <a:gd name="T92" fmla="*/ 1177 w 1182"/>
                  <a:gd name="T93" fmla="*/ 184 h 974"/>
                  <a:gd name="T94" fmla="*/ 1170 w 1182"/>
                  <a:gd name="T95" fmla="*/ 291 h 974"/>
                  <a:gd name="T96" fmla="*/ 1161 w 1182"/>
                  <a:gd name="T97" fmla="*/ 395 h 974"/>
                  <a:gd name="T98" fmla="*/ 1151 w 1182"/>
                  <a:gd name="T99" fmla="*/ 501 h 9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82" h="974">
                    <a:moveTo>
                      <a:pt x="1147" y="553"/>
                    </a:moveTo>
                    <a:lnTo>
                      <a:pt x="1142" y="605"/>
                    </a:lnTo>
                    <a:lnTo>
                      <a:pt x="1137" y="657"/>
                    </a:lnTo>
                    <a:lnTo>
                      <a:pt x="1132" y="712"/>
                    </a:lnTo>
                    <a:lnTo>
                      <a:pt x="1128" y="764"/>
                    </a:lnTo>
                    <a:lnTo>
                      <a:pt x="1125" y="816"/>
                    </a:lnTo>
                    <a:lnTo>
                      <a:pt x="1121" y="868"/>
                    </a:lnTo>
                    <a:lnTo>
                      <a:pt x="1116" y="920"/>
                    </a:lnTo>
                    <a:lnTo>
                      <a:pt x="1111" y="974"/>
                    </a:lnTo>
                    <a:lnTo>
                      <a:pt x="1062" y="969"/>
                    </a:lnTo>
                    <a:lnTo>
                      <a:pt x="1012" y="965"/>
                    </a:lnTo>
                    <a:lnTo>
                      <a:pt x="962" y="960"/>
                    </a:lnTo>
                    <a:lnTo>
                      <a:pt x="913" y="955"/>
                    </a:lnTo>
                    <a:lnTo>
                      <a:pt x="861" y="948"/>
                    </a:lnTo>
                    <a:lnTo>
                      <a:pt x="811" y="943"/>
                    </a:lnTo>
                    <a:lnTo>
                      <a:pt x="761" y="939"/>
                    </a:lnTo>
                    <a:lnTo>
                      <a:pt x="712" y="932"/>
                    </a:lnTo>
                    <a:lnTo>
                      <a:pt x="662" y="927"/>
                    </a:lnTo>
                    <a:lnTo>
                      <a:pt x="612" y="920"/>
                    </a:lnTo>
                    <a:lnTo>
                      <a:pt x="563" y="915"/>
                    </a:lnTo>
                    <a:lnTo>
                      <a:pt x="513" y="908"/>
                    </a:lnTo>
                    <a:lnTo>
                      <a:pt x="464" y="901"/>
                    </a:lnTo>
                    <a:lnTo>
                      <a:pt x="414" y="894"/>
                    </a:lnTo>
                    <a:lnTo>
                      <a:pt x="364" y="887"/>
                    </a:lnTo>
                    <a:lnTo>
                      <a:pt x="315" y="880"/>
                    </a:lnTo>
                    <a:lnTo>
                      <a:pt x="277" y="875"/>
                    </a:lnTo>
                    <a:lnTo>
                      <a:pt x="237" y="868"/>
                    </a:lnTo>
                    <a:lnTo>
                      <a:pt x="196" y="863"/>
                    </a:lnTo>
                    <a:lnTo>
                      <a:pt x="159" y="856"/>
                    </a:lnTo>
                    <a:lnTo>
                      <a:pt x="118" y="851"/>
                    </a:lnTo>
                    <a:lnTo>
                      <a:pt x="78" y="844"/>
                    </a:lnTo>
                    <a:lnTo>
                      <a:pt x="40" y="837"/>
                    </a:lnTo>
                    <a:lnTo>
                      <a:pt x="0" y="832"/>
                    </a:lnTo>
                    <a:lnTo>
                      <a:pt x="5" y="806"/>
                    </a:lnTo>
                    <a:lnTo>
                      <a:pt x="10" y="780"/>
                    </a:lnTo>
                    <a:lnTo>
                      <a:pt x="14" y="754"/>
                    </a:lnTo>
                    <a:lnTo>
                      <a:pt x="17" y="728"/>
                    </a:lnTo>
                    <a:lnTo>
                      <a:pt x="21" y="702"/>
                    </a:lnTo>
                    <a:lnTo>
                      <a:pt x="26" y="676"/>
                    </a:lnTo>
                    <a:lnTo>
                      <a:pt x="31" y="650"/>
                    </a:lnTo>
                    <a:lnTo>
                      <a:pt x="36" y="624"/>
                    </a:lnTo>
                    <a:lnTo>
                      <a:pt x="40" y="591"/>
                    </a:lnTo>
                    <a:lnTo>
                      <a:pt x="45" y="558"/>
                    </a:lnTo>
                    <a:lnTo>
                      <a:pt x="52" y="527"/>
                    </a:lnTo>
                    <a:lnTo>
                      <a:pt x="57" y="494"/>
                    </a:lnTo>
                    <a:lnTo>
                      <a:pt x="62" y="461"/>
                    </a:lnTo>
                    <a:lnTo>
                      <a:pt x="66" y="428"/>
                    </a:lnTo>
                    <a:lnTo>
                      <a:pt x="73" y="397"/>
                    </a:lnTo>
                    <a:lnTo>
                      <a:pt x="78" y="364"/>
                    </a:lnTo>
                    <a:lnTo>
                      <a:pt x="83" y="331"/>
                    </a:lnTo>
                    <a:lnTo>
                      <a:pt x="90" y="300"/>
                    </a:lnTo>
                    <a:lnTo>
                      <a:pt x="95" y="267"/>
                    </a:lnTo>
                    <a:lnTo>
                      <a:pt x="99" y="234"/>
                    </a:lnTo>
                    <a:lnTo>
                      <a:pt x="104" y="201"/>
                    </a:lnTo>
                    <a:lnTo>
                      <a:pt x="111" y="170"/>
                    </a:lnTo>
                    <a:lnTo>
                      <a:pt x="116" y="137"/>
                    </a:lnTo>
                    <a:lnTo>
                      <a:pt x="121" y="104"/>
                    </a:lnTo>
                    <a:lnTo>
                      <a:pt x="125" y="78"/>
                    </a:lnTo>
                    <a:lnTo>
                      <a:pt x="130" y="52"/>
                    </a:lnTo>
                    <a:lnTo>
                      <a:pt x="135" y="26"/>
                    </a:lnTo>
                    <a:lnTo>
                      <a:pt x="140" y="0"/>
                    </a:lnTo>
                    <a:lnTo>
                      <a:pt x="170" y="5"/>
                    </a:lnTo>
                    <a:lnTo>
                      <a:pt x="203" y="9"/>
                    </a:lnTo>
                    <a:lnTo>
                      <a:pt x="237" y="14"/>
                    </a:lnTo>
                    <a:lnTo>
                      <a:pt x="270" y="21"/>
                    </a:lnTo>
                    <a:lnTo>
                      <a:pt x="300" y="26"/>
                    </a:lnTo>
                    <a:lnTo>
                      <a:pt x="333" y="31"/>
                    </a:lnTo>
                    <a:lnTo>
                      <a:pt x="367" y="35"/>
                    </a:lnTo>
                    <a:lnTo>
                      <a:pt x="400" y="40"/>
                    </a:lnTo>
                    <a:lnTo>
                      <a:pt x="430" y="45"/>
                    </a:lnTo>
                    <a:lnTo>
                      <a:pt x="464" y="50"/>
                    </a:lnTo>
                    <a:lnTo>
                      <a:pt x="497" y="54"/>
                    </a:lnTo>
                    <a:lnTo>
                      <a:pt x="530" y="59"/>
                    </a:lnTo>
                    <a:lnTo>
                      <a:pt x="563" y="64"/>
                    </a:lnTo>
                    <a:lnTo>
                      <a:pt x="594" y="69"/>
                    </a:lnTo>
                    <a:lnTo>
                      <a:pt x="627" y="71"/>
                    </a:lnTo>
                    <a:lnTo>
                      <a:pt x="660" y="76"/>
                    </a:lnTo>
                    <a:lnTo>
                      <a:pt x="693" y="80"/>
                    </a:lnTo>
                    <a:lnTo>
                      <a:pt x="726" y="85"/>
                    </a:lnTo>
                    <a:lnTo>
                      <a:pt x="757" y="87"/>
                    </a:lnTo>
                    <a:lnTo>
                      <a:pt x="790" y="92"/>
                    </a:lnTo>
                    <a:lnTo>
                      <a:pt x="823" y="97"/>
                    </a:lnTo>
                    <a:lnTo>
                      <a:pt x="856" y="99"/>
                    </a:lnTo>
                    <a:lnTo>
                      <a:pt x="889" y="104"/>
                    </a:lnTo>
                    <a:lnTo>
                      <a:pt x="922" y="106"/>
                    </a:lnTo>
                    <a:lnTo>
                      <a:pt x="953" y="111"/>
                    </a:lnTo>
                    <a:lnTo>
                      <a:pt x="986" y="113"/>
                    </a:lnTo>
                    <a:lnTo>
                      <a:pt x="1019" y="118"/>
                    </a:lnTo>
                    <a:lnTo>
                      <a:pt x="1052" y="121"/>
                    </a:lnTo>
                    <a:lnTo>
                      <a:pt x="1085" y="123"/>
                    </a:lnTo>
                    <a:lnTo>
                      <a:pt x="1118" y="128"/>
                    </a:lnTo>
                    <a:lnTo>
                      <a:pt x="1149" y="130"/>
                    </a:lnTo>
                    <a:lnTo>
                      <a:pt x="1182" y="132"/>
                    </a:lnTo>
                    <a:lnTo>
                      <a:pt x="1177" y="184"/>
                    </a:lnTo>
                    <a:lnTo>
                      <a:pt x="1173" y="239"/>
                    </a:lnTo>
                    <a:lnTo>
                      <a:pt x="1170" y="291"/>
                    </a:lnTo>
                    <a:lnTo>
                      <a:pt x="1166" y="343"/>
                    </a:lnTo>
                    <a:lnTo>
                      <a:pt x="1161" y="395"/>
                    </a:lnTo>
                    <a:lnTo>
                      <a:pt x="1156" y="449"/>
                    </a:lnTo>
                    <a:lnTo>
                      <a:pt x="1151" y="501"/>
                    </a:lnTo>
                    <a:lnTo>
                      <a:pt x="1147" y="5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</p:grpSp>
        <p:grpSp>
          <p:nvGrpSpPr>
            <p:cNvPr id="581" name="Group 580">
              <a:extLst>
                <a:ext uri="{FF2B5EF4-FFF2-40B4-BE49-F238E27FC236}">
                  <a16:creationId xmlns:a16="http://schemas.microsoft.com/office/drawing/2014/main" id="{2DCBC466-7C8A-DA5E-6AF2-728FCD226DD7}"/>
                </a:ext>
              </a:extLst>
            </p:cNvPr>
            <p:cNvGrpSpPr/>
            <p:nvPr/>
          </p:nvGrpSpPr>
          <p:grpSpPr>
            <a:xfrm>
              <a:off x="1143000" y="2019300"/>
              <a:ext cx="1151176" cy="405809"/>
              <a:chOff x="960971" y="2191080"/>
              <a:chExt cx="1282438" cy="452081"/>
            </a:xfrm>
          </p:grpSpPr>
          <p:sp>
            <p:nvSpPr>
              <p:cNvPr id="56" name="Rectangular Callout 100">
                <a:extLst>
                  <a:ext uri="{FF2B5EF4-FFF2-40B4-BE49-F238E27FC236}">
                    <a16:creationId xmlns:a16="http://schemas.microsoft.com/office/drawing/2014/main" id="{6AB3463F-4F8F-0280-2198-D144F614C601}"/>
                  </a:ext>
                </a:extLst>
              </p:cNvPr>
              <p:cNvSpPr/>
              <p:nvPr/>
            </p:nvSpPr>
            <p:spPr bwMode="auto">
              <a:xfrm>
                <a:off x="960971" y="2191080"/>
                <a:ext cx="1282438" cy="452081"/>
              </a:xfrm>
              <a:prstGeom prst="wedgeRectCallout">
                <a:avLst>
                  <a:gd name="adj1" fmla="val 70580"/>
                  <a:gd name="adj2" fmla="val 90886"/>
                </a:avLst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358E3ECB-C261-2B03-93C3-8C39C8039CE3}"/>
                  </a:ext>
                </a:extLst>
              </p:cNvPr>
              <p:cNvSpPr/>
              <p:nvPr/>
            </p:nvSpPr>
            <p:spPr>
              <a:xfrm>
                <a:off x="1193247" y="2331404"/>
                <a:ext cx="817889" cy="171435"/>
              </a:xfrm>
              <a:prstGeom prst="rect">
                <a:avLst/>
              </a:prstGeom>
              <a:noFill/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1714414"/>
                <a:r>
                  <a:rPr lang="en-US" sz="1000" b="1" dirty="0">
                    <a:solidFill>
                      <a:schemeClr val="bg1"/>
                    </a:solidFill>
                  </a:rPr>
                  <a:t>Washington</a:t>
                </a:r>
              </a:p>
            </p:txBody>
          </p:sp>
        </p:grpSp>
        <p:grpSp>
          <p:nvGrpSpPr>
            <p:cNvPr id="580" name="Group 579">
              <a:extLst>
                <a:ext uri="{FF2B5EF4-FFF2-40B4-BE49-F238E27FC236}">
                  <a16:creationId xmlns:a16="http://schemas.microsoft.com/office/drawing/2014/main" id="{96DDC7C4-752E-449B-7E6B-B464ECBC26A7}"/>
                </a:ext>
              </a:extLst>
            </p:cNvPr>
            <p:cNvGrpSpPr/>
            <p:nvPr/>
          </p:nvGrpSpPr>
          <p:grpSpPr>
            <a:xfrm>
              <a:off x="2850316" y="2260757"/>
              <a:ext cx="1151176" cy="405809"/>
              <a:chOff x="2862963" y="2214542"/>
              <a:chExt cx="1282438" cy="452081"/>
            </a:xfrm>
          </p:grpSpPr>
          <p:sp>
            <p:nvSpPr>
              <p:cNvPr id="59" name="Rectangular Callout 103">
                <a:extLst>
                  <a:ext uri="{FF2B5EF4-FFF2-40B4-BE49-F238E27FC236}">
                    <a16:creationId xmlns:a16="http://schemas.microsoft.com/office/drawing/2014/main" id="{5BBD8EA0-E984-984C-336A-0C38FDCAFFB1}"/>
                  </a:ext>
                </a:extLst>
              </p:cNvPr>
              <p:cNvSpPr/>
              <p:nvPr/>
            </p:nvSpPr>
            <p:spPr bwMode="auto">
              <a:xfrm>
                <a:off x="2862963" y="2214542"/>
                <a:ext cx="1282438" cy="452081"/>
              </a:xfrm>
              <a:prstGeom prst="wedgeRectCallout">
                <a:avLst>
                  <a:gd name="adj1" fmla="val 9280"/>
                  <a:gd name="adj2" fmla="val 104687"/>
                </a:avLst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F551E9B9-44BD-2830-3B0A-B7C7659658C6}"/>
                  </a:ext>
                </a:extLst>
              </p:cNvPr>
              <p:cNvSpPr/>
              <p:nvPr/>
            </p:nvSpPr>
            <p:spPr>
              <a:xfrm>
                <a:off x="3210419" y="2354866"/>
                <a:ext cx="587522" cy="171435"/>
              </a:xfrm>
              <a:prstGeom prst="rect">
                <a:avLst/>
              </a:prstGeom>
              <a:noFill/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1714414"/>
                <a:r>
                  <a:rPr lang="en-US" sz="1000" b="1" dirty="0">
                    <a:solidFill>
                      <a:schemeClr val="bg1"/>
                    </a:solidFill>
                  </a:rPr>
                  <a:t>Montana</a:t>
                </a:r>
              </a:p>
            </p:txBody>
          </p:sp>
        </p:grpSp>
        <p:grpSp>
          <p:nvGrpSpPr>
            <p:cNvPr id="579" name="Group 578">
              <a:extLst>
                <a:ext uri="{FF2B5EF4-FFF2-40B4-BE49-F238E27FC236}">
                  <a16:creationId xmlns:a16="http://schemas.microsoft.com/office/drawing/2014/main" id="{347DAC50-AA01-FC33-0989-C5F1823A3ABF}"/>
                </a:ext>
              </a:extLst>
            </p:cNvPr>
            <p:cNvGrpSpPr/>
            <p:nvPr/>
          </p:nvGrpSpPr>
          <p:grpSpPr>
            <a:xfrm>
              <a:off x="4270999" y="2074696"/>
              <a:ext cx="1151176" cy="405809"/>
              <a:chOff x="4445634" y="2214546"/>
              <a:chExt cx="1282438" cy="452081"/>
            </a:xfrm>
          </p:grpSpPr>
          <p:sp>
            <p:nvSpPr>
              <p:cNvPr id="62" name="Rectangular Callout 106">
                <a:extLst>
                  <a:ext uri="{FF2B5EF4-FFF2-40B4-BE49-F238E27FC236}">
                    <a16:creationId xmlns:a16="http://schemas.microsoft.com/office/drawing/2014/main" id="{38A4219A-786F-2AA5-B287-C01A50C54FBB}"/>
                  </a:ext>
                </a:extLst>
              </p:cNvPr>
              <p:cNvSpPr/>
              <p:nvPr/>
            </p:nvSpPr>
            <p:spPr bwMode="auto">
              <a:xfrm>
                <a:off x="4445634" y="2214546"/>
                <a:ext cx="1282438" cy="452081"/>
              </a:xfrm>
              <a:prstGeom prst="wedgeRectCallout">
                <a:avLst>
                  <a:gd name="adj1" fmla="val -51242"/>
                  <a:gd name="adj2" fmla="val 175441"/>
                </a:avLst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FE39CC4C-1E49-E811-AF1C-277146F1825D}"/>
                  </a:ext>
                </a:extLst>
              </p:cNvPr>
              <p:cNvSpPr/>
              <p:nvPr/>
            </p:nvSpPr>
            <p:spPr>
              <a:xfrm>
                <a:off x="4849344" y="2269153"/>
                <a:ext cx="475019" cy="342871"/>
              </a:xfrm>
              <a:prstGeom prst="rect">
                <a:avLst/>
              </a:prstGeom>
              <a:noFill/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1714414"/>
                <a:r>
                  <a:rPr lang="en-US" sz="1000" b="1" dirty="0">
                    <a:solidFill>
                      <a:schemeClr val="bg1"/>
                    </a:solidFill>
                  </a:rPr>
                  <a:t>North</a:t>
                </a:r>
              </a:p>
              <a:p>
                <a:pPr algn="ctr" defTabSz="1714414"/>
                <a:r>
                  <a:rPr lang="en-US" sz="1000" b="1" dirty="0">
                    <a:solidFill>
                      <a:schemeClr val="bg1"/>
                    </a:solidFill>
                  </a:rPr>
                  <a:t>Dakota</a:t>
                </a:r>
              </a:p>
            </p:txBody>
          </p:sp>
        </p:grpSp>
        <p:grpSp>
          <p:nvGrpSpPr>
            <p:cNvPr id="578" name="Group 577">
              <a:extLst>
                <a:ext uri="{FF2B5EF4-FFF2-40B4-BE49-F238E27FC236}">
                  <a16:creationId xmlns:a16="http://schemas.microsoft.com/office/drawing/2014/main" id="{B0740A05-F4FE-AB5F-E449-657E8DB295F5}"/>
                </a:ext>
              </a:extLst>
            </p:cNvPr>
            <p:cNvGrpSpPr/>
            <p:nvPr/>
          </p:nvGrpSpPr>
          <p:grpSpPr>
            <a:xfrm>
              <a:off x="5591897" y="2440020"/>
              <a:ext cx="1151176" cy="405809"/>
              <a:chOff x="5891170" y="2645867"/>
              <a:chExt cx="1282438" cy="452081"/>
            </a:xfrm>
          </p:grpSpPr>
          <p:sp>
            <p:nvSpPr>
              <p:cNvPr id="940" name="Rectangular Callout 112">
                <a:extLst>
                  <a:ext uri="{FF2B5EF4-FFF2-40B4-BE49-F238E27FC236}">
                    <a16:creationId xmlns:a16="http://schemas.microsoft.com/office/drawing/2014/main" id="{3801DDCD-E8DD-8DA0-76A2-B6A81EF6B360}"/>
                  </a:ext>
                </a:extLst>
              </p:cNvPr>
              <p:cNvSpPr/>
              <p:nvPr/>
            </p:nvSpPr>
            <p:spPr bwMode="auto">
              <a:xfrm>
                <a:off x="5891170" y="2645867"/>
                <a:ext cx="1282438" cy="452081"/>
              </a:xfrm>
              <a:prstGeom prst="wedgeRectCallout">
                <a:avLst>
                  <a:gd name="adj1" fmla="val -45209"/>
                  <a:gd name="adj2" fmla="val 121248"/>
                </a:avLst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1" name="Rectangle 940">
                <a:extLst>
                  <a:ext uri="{FF2B5EF4-FFF2-40B4-BE49-F238E27FC236}">
                    <a16:creationId xmlns:a16="http://schemas.microsoft.com/office/drawing/2014/main" id="{CC586AC0-329B-9530-6072-BEE30C573566}"/>
                  </a:ext>
                </a:extLst>
              </p:cNvPr>
              <p:cNvSpPr/>
              <p:nvPr/>
            </p:nvSpPr>
            <p:spPr>
              <a:xfrm>
                <a:off x="6223449" y="2786207"/>
                <a:ext cx="617881" cy="171435"/>
              </a:xfrm>
              <a:prstGeom prst="rect">
                <a:avLst/>
              </a:prstGeom>
              <a:noFill/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1714414"/>
                <a:r>
                  <a:rPr lang="en-US" sz="1000" b="1" dirty="0">
                    <a:solidFill>
                      <a:schemeClr val="bg1"/>
                    </a:solidFill>
                  </a:rPr>
                  <a:t>Michigan</a:t>
                </a:r>
              </a:p>
            </p:txBody>
          </p:sp>
        </p:grpSp>
      </p:grp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5E6CBC14-24A9-EAE7-E4CB-F3F9130446D3}"/>
              </a:ext>
            </a:extLst>
          </p:cNvPr>
          <p:cNvGrpSpPr/>
          <p:nvPr/>
        </p:nvGrpSpPr>
        <p:grpSpPr>
          <a:xfrm>
            <a:off x="9471686" y="2352198"/>
            <a:ext cx="7911412" cy="4620102"/>
            <a:chOff x="10803484" y="2579274"/>
            <a:chExt cx="6739658" cy="3935818"/>
          </a:xfrm>
        </p:grpSpPr>
        <p:grpSp>
          <p:nvGrpSpPr>
            <p:cNvPr id="984" name="Group 4">
              <a:extLst>
                <a:ext uri="{FF2B5EF4-FFF2-40B4-BE49-F238E27FC236}">
                  <a16:creationId xmlns:a16="http://schemas.microsoft.com/office/drawing/2014/main" id="{3202641F-2A36-9F38-07AE-298952624EB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803484" y="2579274"/>
              <a:ext cx="5773362" cy="3935818"/>
              <a:chOff x="-1319" y="-1357"/>
              <a:chExt cx="10318" cy="7034"/>
            </a:xfrm>
            <a:solidFill>
              <a:schemeClr val="accent3"/>
            </a:solidFill>
          </p:grpSpPr>
          <p:sp>
            <p:nvSpPr>
              <p:cNvPr id="985" name="Freeform 39">
                <a:extLst>
                  <a:ext uri="{FF2B5EF4-FFF2-40B4-BE49-F238E27FC236}">
                    <a16:creationId xmlns:a16="http://schemas.microsoft.com/office/drawing/2014/main" id="{2EF7D111-2114-49EF-2523-AC2C2E062D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319" y="3109"/>
                <a:ext cx="3929" cy="2568"/>
              </a:xfrm>
              <a:custGeom>
                <a:avLst/>
                <a:gdLst>
                  <a:gd name="T0" fmla="*/ 3212 w 3929"/>
                  <a:gd name="T1" fmla="*/ 1838 h 2568"/>
                  <a:gd name="T2" fmla="*/ 3581 w 3929"/>
                  <a:gd name="T3" fmla="*/ 1998 h 2568"/>
                  <a:gd name="T4" fmla="*/ 3914 w 3929"/>
                  <a:gd name="T5" fmla="*/ 2417 h 2568"/>
                  <a:gd name="T6" fmla="*/ 3761 w 3929"/>
                  <a:gd name="T7" fmla="*/ 2403 h 2568"/>
                  <a:gd name="T8" fmla="*/ 3619 w 3929"/>
                  <a:gd name="T9" fmla="*/ 2131 h 2568"/>
                  <a:gd name="T10" fmla="*/ 3508 w 3929"/>
                  <a:gd name="T11" fmla="*/ 2079 h 2568"/>
                  <a:gd name="T12" fmla="*/ 3409 w 3929"/>
                  <a:gd name="T13" fmla="*/ 2017 h 2568"/>
                  <a:gd name="T14" fmla="*/ 3175 w 3929"/>
                  <a:gd name="T15" fmla="*/ 1847 h 2568"/>
                  <a:gd name="T16" fmla="*/ 2844 w 3929"/>
                  <a:gd name="T17" fmla="*/ 1819 h 2568"/>
                  <a:gd name="T18" fmla="*/ 2683 w 3929"/>
                  <a:gd name="T19" fmla="*/ 1651 h 2568"/>
                  <a:gd name="T20" fmla="*/ 2558 w 3929"/>
                  <a:gd name="T21" fmla="*/ 1715 h 2568"/>
                  <a:gd name="T22" fmla="*/ 2446 w 3929"/>
                  <a:gd name="T23" fmla="*/ 1821 h 2568"/>
                  <a:gd name="T24" fmla="*/ 2333 w 3929"/>
                  <a:gd name="T25" fmla="*/ 1828 h 2568"/>
                  <a:gd name="T26" fmla="*/ 2470 w 3929"/>
                  <a:gd name="T27" fmla="*/ 1577 h 2568"/>
                  <a:gd name="T28" fmla="*/ 2205 w 3929"/>
                  <a:gd name="T29" fmla="*/ 1788 h 2568"/>
                  <a:gd name="T30" fmla="*/ 2049 w 3929"/>
                  <a:gd name="T31" fmla="*/ 2015 h 2568"/>
                  <a:gd name="T32" fmla="*/ 1768 w 3929"/>
                  <a:gd name="T33" fmla="*/ 2164 h 2568"/>
                  <a:gd name="T34" fmla="*/ 1546 w 3929"/>
                  <a:gd name="T35" fmla="*/ 2258 h 2568"/>
                  <a:gd name="T36" fmla="*/ 1357 w 3929"/>
                  <a:gd name="T37" fmla="*/ 2273 h 2568"/>
                  <a:gd name="T38" fmla="*/ 1520 w 3929"/>
                  <a:gd name="T39" fmla="*/ 2235 h 2568"/>
                  <a:gd name="T40" fmla="*/ 1822 w 3929"/>
                  <a:gd name="T41" fmla="*/ 2050 h 2568"/>
                  <a:gd name="T42" fmla="*/ 1754 w 3929"/>
                  <a:gd name="T43" fmla="*/ 1861 h 2568"/>
                  <a:gd name="T44" fmla="*/ 1596 w 3929"/>
                  <a:gd name="T45" fmla="*/ 1533 h 2568"/>
                  <a:gd name="T46" fmla="*/ 1503 w 3929"/>
                  <a:gd name="T47" fmla="*/ 1497 h 2568"/>
                  <a:gd name="T48" fmla="*/ 1378 w 3929"/>
                  <a:gd name="T49" fmla="*/ 1322 h 2568"/>
                  <a:gd name="T50" fmla="*/ 1596 w 3929"/>
                  <a:gd name="T51" fmla="*/ 1175 h 2568"/>
                  <a:gd name="T52" fmla="*/ 1662 w 3929"/>
                  <a:gd name="T53" fmla="*/ 958 h 2568"/>
                  <a:gd name="T54" fmla="*/ 1484 w 3929"/>
                  <a:gd name="T55" fmla="*/ 698 h 2568"/>
                  <a:gd name="T56" fmla="*/ 1860 w 3929"/>
                  <a:gd name="T57" fmla="*/ 731 h 2568"/>
                  <a:gd name="T58" fmla="*/ 1740 w 3929"/>
                  <a:gd name="T59" fmla="*/ 516 h 2568"/>
                  <a:gd name="T60" fmla="*/ 2075 w 3929"/>
                  <a:gd name="T61" fmla="*/ 90 h 2568"/>
                  <a:gd name="T62" fmla="*/ 2295 w 3929"/>
                  <a:gd name="T63" fmla="*/ 81 h 2568"/>
                  <a:gd name="T64" fmla="*/ 2676 w 3929"/>
                  <a:gd name="T65" fmla="*/ 220 h 2568"/>
                  <a:gd name="T66" fmla="*/ 1132 w 3929"/>
                  <a:gd name="T67" fmla="*/ 944 h 2568"/>
                  <a:gd name="T68" fmla="*/ 1083 w 3929"/>
                  <a:gd name="T69" fmla="*/ 963 h 2568"/>
                  <a:gd name="T70" fmla="*/ 2584 w 3929"/>
                  <a:gd name="T71" fmla="*/ 1778 h 2568"/>
                  <a:gd name="T72" fmla="*/ 1326 w 3929"/>
                  <a:gd name="T73" fmla="*/ 1528 h 2568"/>
                  <a:gd name="T74" fmla="*/ 2617 w 3929"/>
                  <a:gd name="T75" fmla="*/ 1797 h 2568"/>
                  <a:gd name="T76" fmla="*/ 2215 w 3929"/>
                  <a:gd name="T77" fmla="*/ 1979 h 2568"/>
                  <a:gd name="T78" fmla="*/ 2210 w 3929"/>
                  <a:gd name="T79" fmla="*/ 1986 h 2568"/>
                  <a:gd name="T80" fmla="*/ 3534 w 3929"/>
                  <a:gd name="T81" fmla="*/ 2102 h 2568"/>
                  <a:gd name="T82" fmla="*/ 3472 w 3929"/>
                  <a:gd name="T83" fmla="*/ 2173 h 2568"/>
                  <a:gd name="T84" fmla="*/ 2175 w 3929"/>
                  <a:gd name="T85" fmla="*/ 2128 h 2568"/>
                  <a:gd name="T86" fmla="*/ 2030 w 3929"/>
                  <a:gd name="T87" fmla="*/ 2133 h 2568"/>
                  <a:gd name="T88" fmla="*/ 2153 w 3929"/>
                  <a:gd name="T89" fmla="*/ 2046 h 2568"/>
                  <a:gd name="T90" fmla="*/ 3498 w 3929"/>
                  <a:gd name="T91" fmla="*/ 2277 h 2568"/>
                  <a:gd name="T92" fmla="*/ 3650 w 3929"/>
                  <a:gd name="T93" fmla="*/ 2247 h 2568"/>
                  <a:gd name="T94" fmla="*/ 3624 w 3929"/>
                  <a:gd name="T95" fmla="*/ 2299 h 2568"/>
                  <a:gd name="T96" fmla="*/ 901 w 3929"/>
                  <a:gd name="T97" fmla="*/ 1932 h 2568"/>
                  <a:gd name="T98" fmla="*/ 3744 w 3929"/>
                  <a:gd name="T99" fmla="*/ 2327 h 2568"/>
                  <a:gd name="T100" fmla="*/ 3754 w 3929"/>
                  <a:gd name="T101" fmla="*/ 2469 h 2568"/>
                  <a:gd name="T102" fmla="*/ 3664 w 3929"/>
                  <a:gd name="T103" fmla="*/ 2436 h 2568"/>
                  <a:gd name="T104" fmla="*/ 3796 w 3929"/>
                  <a:gd name="T105" fmla="*/ 2403 h 2568"/>
                  <a:gd name="T106" fmla="*/ 1496 w 3929"/>
                  <a:gd name="T107" fmla="*/ 2313 h 2568"/>
                  <a:gd name="T108" fmla="*/ 1560 w 3929"/>
                  <a:gd name="T109" fmla="*/ 2344 h 2568"/>
                  <a:gd name="T110" fmla="*/ 1591 w 3929"/>
                  <a:gd name="T111" fmla="*/ 2336 h 2568"/>
                  <a:gd name="T112" fmla="*/ 1281 w 3929"/>
                  <a:gd name="T113" fmla="*/ 2282 h 2568"/>
                  <a:gd name="T114" fmla="*/ 1078 w 3929"/>
                  <a:gd name="T115" fmla="*/ 2355 h 2568"/>
                  <a:gd name="T116" fmla="*/ 971 w 3929"/>
                  <a:gd name="T117" fmla="*/ 2386 h 2568"/>
                  <a:gd name="T118" fmla="*/ 792 w 3929"/>
                  <a:gd name="T119" fmla="*/ 2417 h 2568"/>
                  <a:gd name="T120" fmla="*/ 239 w 3929"/>
                  <a:gd name="T121" fmla="*/ 2360 h 2568"/>
                  <a:gd name="T122" fmla="*/ 355 w 3929"/>
                  <a:gd name="T123" fmla="*/ 2393 h 2568"/>
                  <a:gd name="T124" fmla="*/ 83 w 3929"/>
                  <a:gd name="T125" fmla="*/ 2306 h 2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29" h="2568">
                    <a:moveTo>
                      <a:pt x="3101" y="372"/>
                    </a:moveTo>
                    <a:lnTo>
                      <a:pt x="3099" y="419"/>
                    </a:lnTo>
                    <a:lnTo>
                      <a:pt x="3099" y="466"/>
                    </a:lnTo>
                    <a:lnTo>
                      <a:pt x="3099" y="513"/>
                    </a:lnTo>
                    <a:lnTo>
                      <a:pt x="3097" y="558"/>
                    </a:lnTo>
                    <a:lnTo>
                      <a:pt x="3097" y="606"/>
                    </a:lnTo>
                    <a:lnTo>
                      <a:pt x="3094" y="651"/>
                    </a:lnTo>
                    <a:lnTo>
                      <a:pt x="3094" y="695"/>
                    </a:lnTo>
                    <a:lnTo>
                      <a:pt x="3094" y="743"/>
                    </a:lnTo>
                    <a:lnTo>
                      <a:pt x="3092" y="788"/>
                    </a:lnTo>
                    <a:lnTo>
                      <a:pt x="3092" y="833"/>
                    </a:lnTo>
                    <a:lnTo>
                      <a:pt x="3089" y="878"/>
                    </a:lnTo>
                    <a:lnTo>
                      <a:pt x="3089" y="922"/>
                    </a:lnTo>
                    <a:lnTo>
                      <a:pt x="3089" y="967"/>
                    </a:lnTo>
                    <a:lnTo>
                      <a:pt x="3087" y="1012"/>
                    </a:lnTo>
                    <a:lnTo>
                      <a:pt x="3087" y="1057"/>
                    </a:lnTo>
                    <a:lnTo>
                      <a:pt x="3085" y="1100"/>
                    </a:lnTo>
                    <a:lnTo>
                      <a:pt x="3085" y="1145"/>
                    </a:lnTo>
                    <a:lnTo>
                      <a:pt x="3085" y="1190"/>
                    </a:lnTo>
                    <a:lnTo>
                      <a:pt x="3082" y="1232"/>
                    </a:lnTo>
                    <a:lnTo>
                      <a:pt x="3082" y="1277"/>
                    </a:lnTo>
                    <a:lnTo>
                      <a:pt x="3082" y="1320"/>
                    </a:lnTo>
                    <a:lnTo>
                      <a:pt x="3080" y="1365"/>
                    </a:lnTo>
                    <a:lnTo>
                      <a:pt x="3080" y="1407"/>
                    </a:lnTo>
                    <a:lnTo>
                      <a:pt x="3080" y="1450"/>
                    </a:lnTo>
                    <a:lnTo>
                      <a:pt x="3078" y="1492"/>
                    </a:lnTo>
                    <a:lnTo>
                      <a:pt x="3078" y="1535"/>
                    </a:lnTo>
                    <a:lnTo>
                      <a:pt x="3078" y="1580"/>
                    </a:lnTo>
                    <a:lnTo>
                      <a:pt x="3075" y="1622"/>
                    </a:lnTo>
                    <a:lnTo>
                      <a:pt x="3075" y="1665"/>
                    </a:lnTo>
                    <a:lnTo>
                      <a:pt x="3073" y="1707"/>
                    </a:lnTo>
                    <a:lnTo>
                      <a:pt x="3073" y="1748"/>
                    </a:lnTo>
                    <a:lnTo>
                      <a:pt x="3073" y="1790"/>
                    </a:lnTo>
                    <a:lnTo>
                      <a:pt x="3089" y="1797"/>
                    </a:lnTo>
                    <a:lnTo>
                      <a:pt x="3106" y="1804"/>
                    </a:lnTo>
                    <a:lnTo>
                      <a:pt x="3111" y="1793"/>
                    </a:lnTo>
                    <a:lnTo>
                      <a:pt x="3130" y="1802"/>
                    </a:lnTo>
                    <a:lnTo>
                      <a:pt x="3146" y="1809"/>
                    </a:lnTo>
                    <a:lnTo>
                      <a:pt x="3156" y="1800"/>
                    </a:lnTo>
                    <a:lnTo>
                      <a:pt x="3167" y="1788"/>
                    </a:lnTo>
                    <a:lnTo>
                      <a:pt x="3182" y="1788"/>
                    </a:lnTo>
                    <a:lnTo>
                      <a:pt x="3198" y="1788"/>
                    </a:lnTo>
                    <a:lnTo>
                      <a:pt x="3210" y="1786"/>
                    </a:lnTo>
                    <a:lnTo>
                      <a:pt x="3210" y="1795"/>
                    </a:lnTo>
                    <a:lnTo>
                      <a:pt x="3205" y="1812"/>
                    </a:lnTo>
                    <a:lnTo>
                      <a:pt x="3203" y="1823"/>
                    </a:lnTo>
                    <a:lnTo>
                      <a:pt x="3212" y="1835"/>
                    </a:lnTo>
                    <a:lnTo>
                      <a:pt x="3212" y="1838"/>
                    </a:lnTo>
                    <a:lnTo>
                      <a:pt x="3224" y="1845"/>
                    </a:lnTo>
                    <a:lnTo>
                      <a:pt x="3236" y="1849"/>
                    </a:lnTo>
                    <a:lnTo>
                      <a:pt x="3243" y="1868"/>
                    </a:lnTo>
                    <a:lnTo>
                      <a:pt x="3255" y="1880"/>
                    </a:lnTo>
                    <a:lnTo>
                      <a:pt x="3264" y="1892"/>
                    </a:lnTo>
                    <a:lnTo>
                      <a:pt x="3276" y="1901"/>
                    </a:lnTo>
                    <a:lnTo>
                      <a:pt x="3288" y="1916"/>
                    </a:lnTo>
                    <a:lnTo>
                      <a:pt x="3297" y="1925"/>
                    </a:lnTo>
                    <a:lnTo>
                      <a:pt x="3312" y="1939"/>
                    </a:lnTo>
                    <a:lnTo>
                      <a:pt x="3319" y="1946"/>
                    </a:lnTo>
                    <a:lnTo>
                      <a:pt x="3323" y="1960"/>
                    </a:lnTo>
                    <a:lnTo>
                      <a:pt x="3328" y="1979"/>
                    </a:lnTo>
                    <a:lnTo>
                      <a:pt x="3326" y="1991"/>
                    </a:lnTo>
                    <a:lnTo>
                      <a:pt x="3331" y="1991"/>
                    </a:lnTo>
                    <a:lnTo>
                      <a:pt x="3342" y="1979"/>
                    </a:lnTo>
                    <a:lnTo>
                      <a:pt x="3354" y="1972"/>
                    </a:lnTo>
                    <a:lnTo>
                      <a:pt x="3368" y="1963"/>
                    </a:lnTo>
                    <a:lnTo>
                      <a:pt x="3375" y="1956"/>
                    </a:lnTo>
                    <a:lnTo>
                      <a:pt x="3394" y="1956"/>
                    </a:lnTo>
                    <a:lnTo>
                      <a:pt x="3401" y="1937"/>
                    </a:lnTo>
                    <a:lnTo>
                      <a:pt x="3401" y="1911"/>
                    </a:lnTo>
                    <a:lnTo>
                      <a:pt x="3409" y="1911"/>
                    </a:lnTo>
                    <a:lnTo>
                      <a:pt x="3413" y="1906"/>
                    </a:lnTo>
                    <a:lnTo>
                      <a:pt x="3416" y="1899"/>
                    </a:lnTo>
                    <a:lnTo>
                      <a:pt x="3411" y="1890"/>
                    </a:lnTo>
                    <a:lnTo>
                      <a:pt x="3427" y="1885"/>
                    </a:lnTo>
                    <a:lnTo>
                      <a:pt x="3439" y="1880"/>
                    </a:lnTo>
                    <a:lnTo>
                      <a:pt x="3456" y="1871"/>
                    </a:lnTo>
                    <a:lnTo>
                      <a:pt x="3470" y="1861"/>
                    </a:lnTo>
                    <a:lnTo>
                      <a:pt x="3479" y="1868"/>
                    </a:lnTo>
                    <a:lnTo>
                      <a:pt x="3487" y="1873"/>
                    </a:lnTo>
                    <a:lnTo>
                      <a:pt x="3503" y="1890"/>
                    </a:lnTo>
                    <a:lnTo>
                      <a:pt x="3505" y="1894"/>
                    </a:lnTo>
                    <a:lnTo>
                      <a:pt x="3503" y="1901"/>
                    </a:lnTo>
                    <a:lnTo>
                      <a:pt x="3503" y="1908"/>
                    </a:lnTo>
                    <a:lnTo>
                      <a:pt x="3513" y="1930"/>
                    </a:lnTo>
                    <a:lnTo>
                      <a:pt x="3515" y="1932"/>
                    </a:lnTo>
                    <a:lnTo>
                      <a:pt x="3524" y="1937"/>
                    </a:lnTo>
                    <a:lnTo>
                      <a:pt x="3534" y="1942"/>
                    </a:lnTo>
                    <a:lnTo>
                      <a:pt x="3539" y="1949"/>
                    </a:lnTo>
                    <a:lnTo>
                      <a:pt x="3550" y="1958"/>
                    </a:lnTo>
                    <a:lnTo>
                      <a:pt x="3553" y="1963"/>
                    </a:lnTo>
                    <a:lnTo>
                      <a:pt x="3555" y="1970"/>
                    </a:lnTo>
                    <a:lnTo>
                      <a:pt x="3557" y="1975"/>
                    </a:lnTo>
                    <a:lnTo>
                      <a:pt x="3560" y="1979"/>
                    </a:lnTo>
                    <a:lnTo>
                      <a:pt x="3562" y="1984"/>
                    </a:lnTo>
                    <a:lnTo>
                      <a:pt x="3569" y="1991"/>
                    </a:lnTo>
                    <a:lnTo>
                      <a:pt x="3581" y="1998"/>
                    </a:lnTo>
                    <a:lnTo>
                      <a:pt x="3588" y="2003"/>
                    </a:lnTo>
                    <a:lnTo>
                      <a:pt x="3600" y="2010"/>
                    </a:lnTo>
                    <a:lnTo>
                      <a:pt x="3612" y="2024"/>
                    </a:lnTo>
                    <a:lnTo>
                      <a:pt x="3621" y="2036"/>
                    </a:lnTo>
                    <a:lnTo>
                      <a:pt x="3633" y="2050"/>
                    </a:lnTo>
                    <a:lnTo>
                      <a:pt x="3633" y="2060"/>
                    </a:lnTo>
                    <a:lnTo>
                      <a:pt x="3645" y="2076"/>
                    </a:lnTo>
                    <a:lnTo>
                      <a:pt x="3657" y="2095"/>
                    </a:lnTo>
                    <a:lnTo>
                      <a:pt x="3669" y="2114"/>
                    </a:lnTo>
                    <a:lnTo>
                      <a:pt x="3676" y="2124"/>
                    </a:lnTo>
                    <a:lnTo>
                      <a:pt x="3683" y="2138"/>
                    </a:lnTo>
                    <a:lnTo>
                      <a:pt x="3695" y="2154"/>
                    </a:lnTo>
                    <a:lnTo>
                      <a:pt x="3706" y="2173"/>
                    </a:lnTo>
                    <a:lnTo>
                      <a:pt x="3716" y="2187"/>
                    </a:lnTo>
                    <a:lnTo>
                      <a:pt x="3728" y="2204"/>
                    </a:lnTo>
                    <a:lnTo>
                      <a:pt x="3735" y="2213"/>
                    </a:lnTo>
                    <a:lnTo>
                      <a:pt x="3730" y="2223"/>
                    </a:lnTo>
                    <a:lnTo>
                      <a:pt x="3728" y="2232"/>
                    </a:lnTo>
                    <a:lnTo>
                      <a:pt x="3742" y="2235"/>
                    </a:lnTo>
                    <a:lnTo>
                      <a:pt x="3751" y="2237"/>
                    </a:lnTo>
                    <a:lnTo>
                      <a:pt x="3749" y="2249"/>
                    </a:lnTo>
                    <a:lnTo>
                      <a:pt x="3747" y="2261"/>
                    </a:lnTo>
                    <a:lnTo>
                      <a:pt x="3758" y="2266"/>
                    </a:lnTo>
                    <a:lnTo>
                      <a:pt x="3765" y="2270"/>
                    </a:lnTo>
                    <a:lnTo>
                      <a:pt x="3765" y="2277"/>
                    </a:lnTo>
                    <a:lnTo>
                      <a:pt x="3770" y="2284"/>
                    </a:lnTo>
                    <a:lnTo>
                      <a:pt x="3773" y="2299"/>
                    </a:lnTo>
                    <a:lnTo>
                      <a:pt x="3784" y="2296"/>
                    </a:lnTo>
                    <a:lnTo>
                      <a:pt x="3791" y="2294"/>
                    </a:lnTo>
                    <a:lnTo>
                      <a:pt x="3799" y="2301"/>
                    </a:lnTo>
                    <a:lnTo>
                      <a:pt x="3810" y="2306"/>
                    </a:lnTo>
                    <a:lnTo>
                      <a:pt x="3822" y="2313"/>
                    </a:lnTo>
                    <a:lnTo>
                      <a:pt x="3832" y="2318"/>
                    </a:lnTo>
                    <a:lnTo>
                      <a:pt x="3843" y="2320"/>
                    </a:lnTo>
                    <a:lnTo>
                      <a:pt x="3858" y="2325"/>
                    </a:lnTo>
                    <a:lnTo>
                      <a:pt x="3867" y="2334"/>
                    </a:lnTo>
                    <a:lnTo>
                      <a:pt x="3881" y="2339"/>
                    </a:lnTo>
                    <a:lnTo>
                      <a:pt x="3888" y="2353"/>
                    </a:lnTo>
                    <a:lnTo>
                      <a:pt x="3903" y="2358"/>
                    </a:lnTo>
                    <a:lnTo>
                      <a:pt x="3912" y="2353"/>
                    </a:lnTo>
                    <a:lnTo>
                      <a:pt x="3917" y="2358"/>
                    </a:lnTo>
                    <a:lnTo>
                      <a:pt x="3919" y="2365"/>
                    </a:lnTo>
                    <a:lnTo>
                      <a:pt x="3921" y="2374"/>
                    </a:lnTo>
                    <a:lnTo>
                      <a:pt x="3921" y="2381"/>
                    </a:lnTo>
                    <a:lnTo>
                      <a:pt x="3917" y="2391"/>
                    </a:lnTo>
                    <a:lnTo>
                      <a:pt x="3914" y="2398"/>
                    </a:lnTo>
                    <a:lnTo>
                      <a:pt x="3914" y="2407"/>
                    </a:lnTo>
                    <a:lnTo>
                      <a:pt x="3914" y="2417"/>
                    </a:lnTo>
                    <a:lnTo>
                      <a:pt x="3917" y="2426"/>
                    </a:lnTo>
                    <a:lnTo>
                      <a:pt x="3919" y="2433"/>
                    </a:lnTo>
                    <a:lnTo>
                      <a:pt x="3924" y="2448"/>
                    </a:lnTo>
                    <a:lnTo>
                      <a:pt x="3926" y="2457"/>
                    </a:lnTo>
                    <a:lnTo>
                      <a:pt x="3929" y="2464"/>
                    </a:lnTo>
                    <a:lnTo>
                      <a:pt x="3919" y="2488"/>
                    </a:lnTo>
                    <a:lnTo>
                      <a:pt x="3917" y="2500"/>
                    </a:lnTo>
                    <a:lnTo>
                      <a:pt x="3917" y="2504"/>
                    </a:lnTo>
                    <a:lnTo>
                      <a:pt x="3912" y="2516"/>
                    </a:lnTo>
                    <a:lnTo>
                      <a:pt x="3898" y="2533"/>
                    </a:lnTo>
                    <a:lnTo>
                      <a:pt x="3893" y="2542"/>
                    </a:lnTo>
                    <a:lnTo>
                      <a:pt x="3888" y="2540"/>
                    </a:lnTo>
                    <a:lnTo>
                      <a:pt x="3869" y="2537"/>
                    </a:lnTo>
                    <a:lnTo>
                      <a:pt x="3862" y="2519"/>
                    </a:lnTo>
                    <a:lnTo>
                      <a:pt x="3855" y="2504"/>
                    </a:lnTo>
                    <a:lnTo>
                      <a:pt x="3851" y="2493"/>
                    </a:lnTo>
                    <a:lnTo>
                      <a:pt x="3851" y="2488"/>
                    </a:lnTo>
                    <a:lnTo>
                      <a:pt x="3853" y="2478"/>
                    </a:lnTo>
                    <a:lnTo>
                      <a:pt x="3872" y="2469"/>
                    </a:lnTo>
                    <a:lnTo>
                      <a:pt x="3872" y="2466"/>
                    </a:lnTo>
                    <a:lnTo>
                      <a:pt x="3865" y="2466"/>
                    </a:lnTo>
                    <a:lnTo>
                      <a:pt x="3862" y="2462"/>
                    </a:lnTo>
                    <a:lnTo>
                      <a:pt x="3860" y="2448"/>
                    </a:lnTo>
                    <a:lnTo>
                      <a:pt x="3858" y="2436"/>
                    </a:lnTo>
                    <a:lnTo>
                      <a:pt x="3858" y="2426"/>
                    </a:lnTo>
                    <a:lnTo>
                      <a:pt x="3853" y="2410"/>
                    </a:lnTo>
                    <a:lnTo>
                      <a:pt x="3846" y="2400"/>
                    </a:lnTo>
                    <a:lnTo>
                      <a:pt x="3834" y="2381"/>
                    </a:lnTo>
                    <a:lnTo>
                      <a:pt x="3832" y="2377"/>
                    </a:lnTo>
                    <a:lnTo>
                      <a:pt x="3836" y="2370"/>
                    </a:lnTo>
                    <a:lnTo>
                      <a:pt x="3839" y="2362"/>
                    </a:lnTo>
                    <a:lnTo>
                      <a:pt x="3820" y="2374"/>
                    </a:lnTo>
                    <a:lnTo>
                      <a:pt x="3794" y="2388"/>
                    </a:lnTo>
                    <a:lnTo>
                      <a:pt x="3782" y="2396"/>
                    </a:lnTo>
                    <a:lnTo>
                      <a:pt x="3782" y="2400"/>
                    </a:lnTo>
                    <a:lnTo>
                      <a:pt x="3780" y="2403"/>
                    </a:lnTo>
                    <a:lnTo>
                      <a:pt x="3782" y="2410"/>
                    </a:lnTo>
                    <a:lnTo>
                      <a:pt x="3782" y="2412"/>
                    </a:lnTo>
                    <a:lnTo>
                      <a:pt x="3782" y="2417"/>
                    </a:lnTo>
                    <a:lnTo>
                      <a:pt x="3780" y="2429"/>
                    </a:lnTo>
                    <a:lnTo>
                      <a:pt x="3775" y="2443"/>
                    </a:lnTo>
                    <a:lnTo>
                      <a:pt x="3770" y="2445"/>
                    </a:lnTo>
                    <a:lnTo>
                      <a:pt x="3761" y="2440"/>
                    </a:lnTo>
                    <a:lnTo>
                      <a:pt x="3756" y="2438"/>
                    </a:lnTo>
                    <a:lnTo>
                      <a:pt x="3751" y="2422"/>
                    </a:lnTo>
                    <a:lnTo>
                      <a:pt x="3751" y="2417"/>
                    </a:lnTo>
                    <a:lnTo>
                      <a:pt x="3756" y="2412"/>
                    </a:lnTo>
                    <a:lnTo>
                      <a:pt x="3761" y="2403"/>
                    </a:lnTo>
                    <a:lnTo>
                      <a:pt x="3765" y="2391"/>
                    </a:lnTo>
                    <a:lnTo>
                      <a:pt x="3775" y="2358"/>
                    </a:lnTo>
                    <a:lnTo>
                      <a:pt x="3784" y="2358"/>
                    </a:lnTo>
                    <a:lnTo>
                      <a:pt x="3799" y="2348"/>
                    </a:lnTo>
                    <a:lnTo>
                      <a:pt x="3775" y="2348"/>
                    </a:lnTo>
                    <a:lnTo>
                      <a:pt x="3770" y="2346"/>
                    </a:lnTo>
                    <a:lnTo>
                      <a:pt x="3768" y="2341"/>
                    </a:lnTo>
                    <a:lnTo>
                      <a:pt x="3763" y="2334"/>
                    </a:lnTo>
                    <a:lnTo>
                      <a:pt x="3758" y="2327"/>
                    </a:lnTo>
                    <a:lnTo>
                      <a:pt x="3751" y="2325"/>
                    </a:lnTo>
                    <a:lnTo>
                      <a:pt x="3747" y="2322"/>
                    </a:lnTo>
                    <a:lnTo>
                      <a:pt x="3739" y="2313"/>
                    </a:lnTo>
                    <a:lnTo>
                      <a:pt x="3735" y="2310"/>
                    </a:lnTo>
                    <a:lnTo>
                      <a:pt x="3732" y="2306"/>
                    </a:lnTo>
                    <a:lnTo>
                      <a:pt x="3732" y="2299"/>
                    </a:lnTo>
                    <a:lnTo>
                      <a:pt x="3730" y="2296"/>
                    </a:lnTo>
                    <a:lnTo>
                      <a:pt x="3725" y="2294"/>
                    </a:lnTo>
                    <a:lnTo>
                      <a:pt x="3721" y="2292"/>
                    </a:lnTo>
                    <a:lnTo>
                      <a:pt x="3718" y="2277"/>
                    </a:lnTo>
                    <a:lnTo>
                      <a:pt x="3706" y="2273"/>
                    </a:lnTo>
                    <a:lnTo>
                      <a:pt x="3702" y="2270"/>
                    </a:lnTo>
                    <a:lnTo>
                      <a:pt x="3692" y="2261"/>
                    </a:lnTo>
                    <a:lnTo>
                      <a:pt x="3690" y="2256"/>
                    </a:lnTo>
                    <a:lnTo>
                      <a:pt x="3690" y="2251"/>
                    </a:lnTo>
                    <a:lnTo>
                      <a:pt x="3690" y="2240"/>
                    </a:lnTo>
                    <a:lnTo>
                      <a:pt x="3690" y="2237"/>
                    </a:lnTo>
                    <a:lnTo>
                      <a:pt x="3683" y="2240"/>
                    </a:lnTo>
                    <a:lnTo>
                      <a:pt x="3640" y="2225"/>
                    </a:lnTo>
                    <a:lnTo>
                      <a:pt x="3640" y="2202"/>
                    </a:lnTo>
                    <a:lnTo>
                      <a:pt x="3631" y="2171"/>
                    </a:lnTo>
                    <a:lnTo>
                      <a:pt x="3621" y="2159"/>
                    </a:lnTo>
                    <a:lnTo>
                      <a:pt x="3624" y="2154"/>
                    </a:lnTo>
                    <a:lnTo>
                      <a:pt x="3626" y="2152"/>
                    </a:lnTo>
                    <a:lnTo>
                      <a:pt x="3628" y="2152"/>
                    </a:lnTo>
                    <a:lnTo>
                      <a:pt x="3645" y="2159"/>
                    </a:lnTo>
                    <a:lnTo>
                      <a:pt x="3661" y="2169"/>
                    </a:lnTo>
                    <a:lnTo>
                      <a:pt x="3664" y="2166"/>
                    </a:lnTo>
                    <a:lnTo>
                      <a:pt x="3638" y="2147"/>
                    </a:lnTo>
                    <a:lnTo>
                      <a:pt x="3631" y="2140"/>
                    </a:lnTo>
                    <a:lnTo>
                      <a:pt x="3628" y="2131"/>
                    </a:lnTo>
                    <a:lnTo>
                      <a:pt x="3628" y="2128"/>
                    </a:lnTo>
                    <a:lnTo>
                      <a:pt x="3631" y="2126"/>
                    </a:lnTo>
                    <a:lnTo>
                      <a:pt x="3652" y="2126"/>
                    </a:lnTo>
                    <a:lnTo>
                      <a:pt x="3654" y="2124"/>
                    </a:lnTo>
                    <a:lnTo>
                      <a:pt x="3631" y="2119"/>
                    </a:lnTo>
                    <a:lnTo>
                      <a:pt x="3626" y="2119"/>
                    </a:lnTo>
                    <a:lnTo>
                      <a:pt x="3621" y="2128"/>
                    </a:lnTo>
                    <a:lnTo>
                      <a:pt x="3619" y="2131"/>
                    </a:lnTo>
                    <a:lnTo>
                      <a:pt x="3614" y="2131"/>
                    </a:lnTo>
                    <a:lnTo>
                      <a:pt x="3612" y="2128"/>
                    </a:lnTo>
                    <a:lnTo>
                      <a:pt x="3607" y="2119"/>
                    </a:lnTo>
                    <a:lnTo>
                      <a:pt x="3600" y="2109"/>
                    </a:lnTo>
                    <a:lnTo>
                      <a:pt x="3591" y="2100"/>
                    </a:lnTo>
                    <a:lnTo>
                      <a:pt x="3588" y="2093"/>
                    </a:lnTo>
                    <a:lnTo>
                      <a:pt x="3586" y="2081"/>
                    </a:lnTo>
                    <a:lnTo>
                      <a:pt x="3586" y="2069"/>
                    </a:lnTo>
                    <a:lnTo>
                      <a:pt x="3593" y="2043"/>
                    </a:lnTo>
                    <a:lnTo>
                      <a:pt x="3598" y="2039"/>
                    </a:lnTo>
                    <a:lnTo>
                      <a:pt x="3598" y="2036"/>
                    </a:lnTo>
                    <a:lnTo>
                      <a:pt x="3595" y="2036"/>
                    </a:lnTo>
                    <a:lnTo>
                      <a:pt x="3593" y="2039"/>
                    </a:lnTo>
                    <a:lnTo>
                      <a:pt x="3586" y="2050"/>
                    </a:lnTo>
                    <a:lnTo>
                      <a:pt x="3581" y="2072"/>
                    </a:lnTo>
                    <a:lnTo>
                      <a:pt x="3574" y="2079"/>
                    </a:lnTo>
                    <a:lnTo>
                      <a:pt x="3572" y="2076"/>
                    </a:lnTo>
                    <a:lnTo>
                      <a:pt x="3565" y="2069"/>
                    </a:lnTo>
                    <a:lnTo>
                      <a:pt x="3553" y="2060"/>
                    </a:lnTo>
                    <a:lnTo>
                      <a:pt x="3541" y="2057"/>
                    </a:lnTo>
                    <a:lnTo>
                      <a:pt x="3531" y="2048"/>
                    </a:lnTo>
                    <a:lnTo>
                      <a:pt x="3517" y="2022"/>
                    </a:lnTo>
                    <a:lnTo>
                      <a:pt x="3515" y="2008"/>
                    </a:lnTo>
                    <a:lnTo>
                      <a:pt x="3513" y="2005"/>
                    </a:lnTo>
                    <a:lnTo>
                      <a:pt x="3505" y="2001"/>
                    </a:lnTo>
                    <a:lnTo>
                      <a:pt x="3503" y="1994"/>
                    </a:lnTo>
                    <a:lnTo>
                      <a:pt x="3494" y="1960"/>
                    </a:lnTo>
                    <a:lnTo>
                      <a:pt x="3484" y="1939"/>
                    </a:lnTo>
                    <a:lnTo>
                      <a:pt x="3482" y="1925"/>
                    </a:lnTo>
                    <a:lnTo>
                      <a:pt x="3482" y="1913"/>
                    </a:lnTo>
                    <a:lnTo>
                      <a:pt x="3482" y="1913"/>
                    </a:lnTo>
                    <a:lnTo>
                      <a:pt x="3479" y="1923"/>
                    </a:lnTo>
                    <a:lnTo>
                      <a:pt x="3479" y="1927"/>
                    </a:lnTo>
                    <a:lnTo>
                      <a:pt x="3472" y="1930"/>
                    </a:lnTo>
                    <a:lnTo>
                      <a:pt x="3479" y="1939"/>
                    </a:lnTo>
                    <a:lnTo>
                      <a:pt x="3479" y="1944"/>
                    </a:lnTo>
                    <a:lnTo>
                      <a:pt x="3477" y="1942"/>
                    </a:lnTo>
                    <a:lnTo>
                      <a:pt x="3472" y="1944"/>
                    </a:lnTo>
                    <a:lnTo>
                      <a:pt x="3482" y="1960"/>
                    </a:lnTo>
                    <a:lnTo>
                      <a:pt x="3487" y="1986"/>
                    </a:lnTo>
                    <a:lnTo>
                      <a:pt x="3494" y="2003"/>
                    </a:lnTo>
                    <a:lnTo>
                      <a:pt x="3498" y="2020"/>
                    </a:lnTo>
                    <a:lnTo>
                      <a:pt x="3501" y="2031"/>
                    </a:lnTo>
                    <a:lnTo>
                      <a:pt x="3503" y="2041"/>
                    </a:lnTo>
                    <a:lnTo>
                      <a:pt x="3510" y="2065"/>
                    </a:lnTo>
                    <a:lnTo>
                      <a:pt x="3513" y="2069"/>
                    </a:lnTo>
                    <a:lnTo>
                      <a:pt x="3510" y="2074"/>
                    </a:lnTo>
                    <a:lnTo>
                      <a:pt x="3508" y="2079"/>
                    </a:lnTo>
                    <a:lnTo>
                      <a:pt x="3505" y="2081"/>
                    </a:lnTo>
                    <a:lnTo>
                      <a:pt x="3494" y="2079"/>
                    </a:lnTo>
                    <a:lnTo>
                      <a:pt x="3489" y="2072"/>
                    </a:lnTo>
                    <a:lnTo>
                      <a:pt x="3482" y="2062"/>
                    </a:lnTo>
                    <a:lnTo>
                      <a:pt x="3472" y="2057"/>
                    </a:lnTo>
                    <a:lnTo>
                      <a:pt x="3449" y="2060"/>
                    </a:lnTo>
                    <a:lnTo>
                      <a:pt x="3449" y="2060"/>
                    </a:lnTo>
                    <a:lnTo>
                      <a:pt x="3449" y="2050"/>
                    </a:lnTo>
                    <a:lnTo>
                      <a:pt x="3449" y="2034"/>
                    </a:lnTo>
                    <a:lnTo>
                      <a:pt x="3446" y="2029"/>
                    </a:lnTo>
                    <a:lnTo>
                      <a:pt x="3435" y="2005"/>
                    </a:lnTo>
                    <a:lnTo>
                      <a:pt x="3435" y="2001"/>
                    </a:lnTo>
                    <a:lnTo>
                      <a:pt x="3451" y="1989"/>
                    </a:lnTo>
                    <a:lnTo>
                      <a:pt x="3442" y="1989"/>
                    </a:lnTo>
                    <a:lnTo>
                      <a:pt x="3437" y="1994"/>
                    </a:lnTo>
                    <a:lnTo>
                      <a:pt x="3435" y="1989"/>
                    </a:lnTo>
                    <a:lnTo>
                      <a:pt x="3430" y="1975"/>
                    </a:lnTo>
                    <a:lnTo>
                      <a:pt x="3427" y="1970"/>
                    </a:lnTo>
                    <a:lnTo>
                      <a:pt x="3425" y="1968"/>
                    </a:lnTo>
                    <a:lnTo>
                      <a:pt x="3425" y="1982"/>
                    </a:lnTo>
                    <a:lnTo>
                      <a:pt x="3427" y="1989"/>
                    </a:lnTo>
                    <a:lnTo>
                      <a:pt x="3430" y="1994"/>
                    </a:lnTo>
                    <a:lnTo>
                      <a:pt x="3430" y="2001"/>
                    </a:lnTo>
                    <a:lnTo>
                      <a:pt x="3427" y="2005"/>
                    </a:lnTo>
                    <a:lnTo>
                      <a:pt x="3425" y="2008"/>
                    </a:lnTo>
                    <a:lnTo>
                      <a:pt x="3423" y="2008"/>
                    </a:lnTo>
                    <a:lnTo>
                      <a:pt x="3416" y="2005"/>
                    </a:lnTo>
                    <a:lnTo>
                      <a:pt x="3411" y="2001"/>
                    </a:lnTo>
                    <a:lnTo>
                      <a:pt x="3404" y="1998"/>
                    </a:lnTo>
                    <a:lnTo>
                      <a:pt x="3404" y="1996"/>
                    </a:lnTo>
                    <a:lnTo>
                      <a:pt x="3399" y="1989"/>
                    </a:lnTo>
                    <a:lnTo>
                      <a:pt x="3397" y="1984"/>
                    </a:lnTo>
                    <a:lnTo>
                      <a:pt x="3375" y="1979"/>
                    </a:lnTo>
                    <a:lnTo>
                      <a:pt x="3364" y="1972"/>
                    </a:lnTo>
                    <a:lnTo>
                      <a:pt x="3364" y="1972"/>
                    </a:lnTo>
                    <a:lnTo>
                      <a:pt x="3368" y="1982"/>
                    </a:lnTo>
                    <a:lnTo>
                      <a:pt x="3368" y="1986"/>
                    </a:lnTo>
                    <a:lnTo>
                      <a:pt x="3366" y="1986"/>
                    </a:lnTo>
                    <a:lnTo>
                      <a:pt x="3359" y="1994"/>
                    </a:lnTo>
                    <a:lnTo>
                      <a:pt x="3361" y="1996"/>
                    </a:lnTo>
                    <a:lnTo>
                      <a:pt x="3366" y="1994"/>
                    </a:lnTo>
                    <a:lnTo>
                      <a:pt x="3373" y="1994"/>
                    </a:lnTo>
                    <a:lnTo>
                      <a:pt x="3383" y="1998"/>
                    </a:lnTo>
                    <a:lnTo>
                      <a:pt x="3392" y="2003"/>
                    </a:lnTo>
                    <a:lnTo>
                      <a:pt x="3397" y="2005"/>
                    </a:lnTo>
                    <a:lnTo>
                      <a:pt x="3397" y="2010"/>
                    </a:lnTo>
                    <a:lnTo>
                      <a:pt x="3399" y="2013"/>
                    </a:lnTo>
                    <a:lnTo>
                      <a:pt x="3409" y="2017"/>
                    </a:lnTo>
                    <a:lnTo>
                      <a:pt x="3409" y="2020"/>
                    </a:lnTo>
                    <a:lnTo>
                      <a:pt x="3404" y="2029"/>
                    </a:lnTo>
                    <a:lnTo>
                      <a:pt x="3416" y="2029"/>
                    </a:lnTo>
                    <a:lnTo>
                      <a:pt x="3423" y="2031"/>
                    </a:lnTo>
                    <a:lnTo>
                      <a:pt x="3432" y="2046"/>
                    </a:lnTo>
                    <a:lnTo>
                      <a:pt x="3435" y="2053"/>
                    </a:lnTo>
                    <a:lnTo>
                      <a:pt x="3437" y="2062"/>
                    </a:lnTo>
                    <a:lnTo>
                      <a:pt x="3435" y="2065"/>
                    </a:lnTo>
                    <a:lnTo>
                      <a:pt x="3430" y="2067"/>
                    </a:lnTo>
                    <a:lnTo>
                      <a:pt x="3406" y="2072"/>
                    </a:lnTo>
                    <a:lnTo>
                      <a:pt x="3397" y="2083"/>
                    </a:lnTo>
                    <a:lnTo>
                      <a:pt x="3397" y="2083"/>
                    </a:lnTo>
                    <a:lnTo>
                      <a:pt x="3390" y="2081"/>
                    </a:lnTo>
                    <a:lnTo>
                      <a:pt x="3375" y="2072"/>
                    </a:lnTo>
                    <a:lnTo>
                      <a:pt x="3361" y="2062"/>
                    </a:lnTo>
                    <a:lnTo>
                      <a:pt x="3323" y="2036"/>
                    </a:lnTo>
                    <a:lnTo>
                      <a:pt x="3323" y="2036"/>
                    </a:lnTo>
                    <a:lnTo>
                      <a:pt x="3323" y="2031"/>
                    </a:lnTo>
                    <a:lnTo>
                      <a:pt x="3321" y="2027"/>
                    </a:lnTo>
                    <a:lnTo>
                      <a:pt x="3316" y="2027"/>
                    </a:lnTo>
                    <a:lnTo>
                      <a:pt x="3309" y="2020"/>
                    </a:lnTo>
                    <a:lnTo>
                      <a:pt x="3300" y="2008"/>
                    </a:lnTo>
                    <a:lnTo>
                      <a:pt x="3295" y="1998"/>
                    </a:lnTo>
                    <a:lnTo>
                      <a:pt x="3293" y="1994"/>
                    </a:lnTo>
                    <a:lnTo>
                      <a:pt x="3288" y="1986"/>
                    </a:lnTo>
                    <a:lnTo>
                      <a:pt x="3271" y="1970"/>
                    </a:lnTo>
                    <a:lnTo>
                      <a:pt x="3264" y="1965"/>
                    </a:lnTo>
                    <a:lnTo>
                      <a:pt x="3257" y="1963"/>
                    </a:lnTo>
                    <a:lnTo>
                      <a:pt x="3250" y="1960"/>
                    </a:lnTo>
                    <a:lnTo>
                      <a:pt x="3248" y="1960"/>
                    </a:lnTo>
                    <a:lnTo>
                      <a:pt x="3253" y="1956"/>
                    </a:lnTo>
                    <a:lnTo>
                      <a:pt x="3253" y="1953"/>
                    </a:lnTo>
                    <a:lnTo>
                      <a:pt x="3238" y="1951"/>
                    </a:lnTo>
                    <a:lnTo>
                      <a:pt x="3224" y="1944"/>
                    </a:lnTo>
                    <a:lnTo>
                      <a:pt x="3191" y="1925"/>
                    </a:lnTo>
                    <a:lnTo>
                      <a:pt x="3175" y="1911"/>
                    </a:lnTo>
                    <a:lnTo>
                      <a:pt x="3165" y="1906"/>
                    </a:lnTo>
                    <a:lnTo>
                      <a:pt x="3160" y="1901"/>
                    </a:lnTo>
                    <a:lnTo>
                      <a:pt x="3158" y="1899"/>
                    </a:lnTo>
                    <a:lnTo>
                      <a:pt x="3160" y="1897"/>
                    </a:lnTo>
                    <a:lnTo>
                      <a:pt x="3167" y="1894"/>
                    </a:lnTo>
                    <a:lnTo>
                      <a:pt x="3172" y="1890"/>
                    </a:lnTo>
                    <a:lnTo>
                      <a:pt x="3179" y="1878"/>
                    </a:lnTo>
                    <a:lnTo>
                      <a:pt x="3179" y="1873"/>
                    </a:lnTo>
                    <a:lnTo>
                      <a:pt x="3175" y="1866"/>
                    </a:lnTo>
                    <a:lnTo>
                      <a:pt x="3175" y="1856"/>
                    </a:lnTo>
                    <a:lnTo>
                      <a:pt x="3175" y="1852"/>
                    </a:lnTo>
                    <a:lnTo>
                      <a:pt x="3175" y="1847"/>
                    </a:lnTo>
                    <a:lnTo>
                      <a:pt x="3177" y="1845"/>
                    </a:lnTo>
                    <a:lnTo>
                      <a:pt x="3179" y="1842"/>
                    </a:lnTo>
                    <a:lnTo>
                      <a:pt x="3182" y="1840"/>
                    </a:lnTo>
                    <a:lnTo>
                      <a:pt x="3184" y="1840"/>
                    </a:lnTo>
                    <a:lnTo>
                      <a:pt x="3191" y="1852"/>
                    </a:lnTo>
                    <a:lnTo>
                      <a:pt x="3193" y="1856"/>
                    </a:lnTo>
                    <a:lnTo>
                      <a:pt x="3193" y="1873"/>
                    </a:lnTo>
                    <a:lnTo>
                      <a:pt x="3196" y="1890"/>
                    </a:lnTo>
                    <a:lnTo>
                      <a:pt x="3196" y="1890"/>
                    </a:lnTo>
                    <a:lnTo>
                      <a:pt x="3196" y="1882"/>
                    </a:lnTo>
                    <a:lnTo>
                      <a:pt x="3198" y="1871"/>
                    </a:lnTo>
                    <a:lnTo>
                      <a:pt x="3198" y="1866"/>
                    </a:lnTo>
                    <a:lnTo>
                      <a:pt x="3201" y="1861"/>
                    </a:lnTo>
                    <a:lnTo>
                      <a:pt x="3203" y="1859"/>
                    </a:lnTo>
                    <a:lnTo>
                      <a:pt x="3212" y="1859"/>
                    </a:lnTo>
                    <a:lnTo>
                      <a:pt x="3217" y="1859"/>
                    </a:lnTo>
                    <a:lnTo>
                      <a:pt x="3198" y="1849"/>
                    </a:lnTo>
                    <a:lnTo>
                      <a:pt x="3186" y="1835"/>
                    </a:lnTo>
                    <a:lnTo>
                      <a:pt x="3184" y="1833"/>
                    </a:lnTo>
                    <a:lnTo>
                      <a:pt x="3179" y="1833"/>
                    </a:lnTo>
                    <a:lnTo>
                      <a:pt x="3172" y="1838"/>
                    </a:lnTo>
                    <a:lnTo>
                      <a:pt x="3153" y="1859"/>
                    </a:lnTo>
                    <a:lnTo>
                      <a:pt x="3149" y="1864"/>
                    </a:lnTo>
                    <a:lnTo>
                      <a:pt x="3127" y="1873"/>
                    </a:lnTo>
                    <a:lnTo>
                      <a:pt x="3113" y="1875"/>
                    </a:lnTo>
                    <a:lnTo>
                      <a:pt x="3097" y="1873"/>
                    </a:lnTo>
                    <a:lnTo>
                      <a:pt x="3082" y="1871"/>
                    </a:lnTo>
                    <a:lnTo>
                      <a:pt x="3047" y="1852"/>
                    </a:lnTo>
                    <a:lnTo>
                      <a:pt x="3042" y="1847"/>
                    </a:lnTo>
                    <a:lnTo>
                      <a:pt x="3049" y="1835"/>
                    </a:lnTo>
                    <a:lnTo>
                      <a:pt x="3052" y="1833"/>
                    </a:lnTo>
                    <a:lnTo>
                      <a:pt x="3047" y="1821"/>
                    </a:lnTo>
                    <a:lnTo>
                      <a:pt x="3047" y="1819"/>
                    </a:lnTo>
                    <a:lnTo>
                      <a:pt x="3042" y="1816"/>
                    </a:lnTo>
                    <a:lnTo>
                      <a:pt x="3042" y="1816"/>
                    </a:lnTo>
                    <a:lnTo>
                      <a:pt x="3042" y="1821"/>
                    </a:lnTo>
                    <a:lnTo>
                      <a:pt x="3042" y="1826"/>
                    </a:lnTo>
                    <a:lnTo>
                      <a:pt x="3040" y="1830"/>
                    </a:lnTo>
                    <a:lnTo>
                      <a:pt x="3033" y="1833"/>
                    </a:lnTo>
                    <a:lnTo>
                      <a:pt x="3023" y="1838"/>
                    </a:lnTo>
                    <a:lnTo>
                      <a:pt x="2993" y="1826"/>
                    </a:lnTo>
                    <a:lnTo>
                      <a:pt x="2959" y="1819"/>
                    </a:lnTo>
                    <a:lnTo>
                      <a:pt x="2931" y="1814"/>
                    </a:lnTo>
                    <a:lnTo>
                      <a:pt x="2891" y="1819"/>
                    </a:lnTo>
                    <a:lnTo>
                      <a:pt x="2870" y="1823"/>
                    </a:lnTo>
                    <a:lnTo>
                      <a:pt x="2858" y="1823"/>
                    </a:lnTo>
                    <a:lnTo>
                      <a:pt x="2846" y="1823"/>
                    </a:lnTo>
                    <a:lnTo>
                      <a:pt x="2844" y="1819"/>
                    </a:lnTo>
                    <a:lnTo>
                      <a:pt x="2851" y="1816"/>
                    </a:lnTo>
                    <a:lnTo>
                      <a:pt x="2851" y="1814"/>
                    </a:lnTo>
                    <a:lnTo>
                      <a:pt x="2844" y="1802"/>
                    </a:lnTo>
                    <a:lnTo>
                      <a:pt x="2834" y="1797"/>
                    </a:lnTo>
                    <a:lnTo>
                      <a:pt x="2820" y="1793"/>
                    </a:lnTo>
                    <a:lnTo>
                      <a:pt x="2811" y="1790"/>
                    </a:lnTo>
                    <a:lnTo>
                      <a:pt x="2808" y="1788"/>
                    </a:lnTo>
                    <a:lnTo>
                      <a:pt x="2803" y="1783"/>
                    </a:lnTo>
                    <a:lnTo>
                      <a:pt x="2796" y="1778"/>
                    </a:lnTo>
                    <a:lnTo>
                      <a:pt x="2794" y="1774"/>
                    </a:lnTo>
                    <a:lnTo>
                      <a:pt x="2796" y="1755"/>
                    </a:lnTo>
                    <a:lnTo>
                      <a:pt x="2801" y="1745"/>
                    </a:lnTo>
                    <a:lnTo>
                      <a:pt x="2803" y="1738"/>
                    </a:lnTo>
                    <a:lnTo>
                      <a:pt x="2811" y="1726"/>
                    </a:lnTo>
                    <a:lnTo>
                      <a:pt x="2808" y="1726"/>
                    </a:lnTo>
                    <a:lnTo>
                      <a:pt x="2799" y="1736"/>
                    </a:lnTo>
                    <a:lnTo>
                      <a:pt x="2789" y="1743"/>
                    </a:lnTo>
                    <a:lnTo>
                      <a:pt x="2780" y="1755"/>
                    </a:lnTo>
                    <a:lnTo>
                      <a:pt x="2775" y="1760"/>
                    </a:lnTo>
                    <a:lnTo>
                      <a:pt x="2770" y="1764"/>
                    </a:lnTo>
                    <a:lnTo>
                      <a:pt x="2761" y="1764"/>
                    </a:lnTo>
                    <a:lnTo>
                      <a:pt x="2747" y="1755"/>
                    </a:lnTo>
                    <a:lnTo>
                      <a:pt x="2737" y="1750"/>
                    </a:lnTo>
                    <a:lnTo>
                      <a:pt x="2728" y="1750"/>
                    </a:lnTo>
                    <a:lnTo>
                      <a:pt x="2723" y="1748"/>
                    </a:lnTo>
                    <a:lnTo>
                      <a:pt x="2730" y="1741"/>
                    </a:lnTo>
                    <a:lnTo>
                      <a:pt x="2735" y="1736"/>
                    </a:lnTo>
                    <a:lnTo>
                      <a:pt x="2740" y="1729"/>
                    </a:lnTo>
                    <a:lnTo>
                      <a:pt x="2742" y="1724"/>
                    </a:lnTo>
                    <a:lnTo>
                      <a:pt x="2709" y="1719"/>
                    </a:lnTo>
                    <a:lnTo>
                      <a:pt x="2707" y="1715"/>
                    </a:lnTo>
                    <a:lnTo>
                      <a:pt x="2707" y="1712"/>
                    </a:lnTo>
                    <a:lnTo>
                      <a:pt x="2707" y="1710"/>
                    </a:lnTo>
                    <a:lnTo>
                      <a:pt x="2702" y="1707"/>
                    </a:lnTo>
                    <a:lnTo>
                      <a:pt x="2695" y="1707"/>
                    </a:lnTo>
                    <a:lnTo>
                      <a:pt x="2683" y="1712"/>
                    </a:lnTo>
                    <a:lnTo>
                      <a:pt x="2678" y="1707"/>
                    </a:lnTo>
                    <a:lnTo>
                      <a:pt x="2681" y="1705"/>
                    </a:lnTo>
                    <a:lnTo>
                      <a:pt x="2685" y="1705"/>
                    </a:lnTo>
                    <a:lnTo>
                      <a:pt x="2692" y="1698"/>
                    </a:lnTo>
                    <a:lnTo>
                      <a:pt x="2683" y="1693"/>
                    </a:lnTo>
                    <a:lnTo>
                      <a:pt x="2678" y="1686"/>
                    </a:lnTo>
                    <a:lnTo>
                      <a:pt x="2676" y="1684"/>
                    </a:lnTo>
                    <a:lnTo>
                      <a:pt x="2678" y="1670"/>
                    </a:lnTo>
                    <a:lnTo>
                      <a:pt x="2681" y="1660"/>
                    </a:lnTo>
                    <a:lnTo>
                      <a:pt x="2704" y="1653"/>
                    </a:lnTo>
                    <a:lnTo>
                      <a:pt x="2697" y="1651"/>
                    </a:lnTo>
                    <a:lnTo>
                      <a:pt x="2683" y="1651"/>
                    </a:lnTo>
                    <a:lnTo>
                      <a:pt x="2673" y="1658"/>
                    </a:lnTo>
                    <a:lnTo>
                      <a:pt x="2662" y="1667"/>
                    </a:lnTo>
                    <a:lnTo>
                      <a:pt x="2652" y="1670"/>
                    </a:lnTo>
                    <a:lnTo>
                      <a:pt x="2650" y="1667"/>
                    </a:lnTo>
                    <a:lnTo>
                      <a:pt x="2645" y="1665"/>
                    </a:lnTo>
                    <a:lnTo>
                      <a:pt x="2638" y="1665"/>
                    </a:lnTo>
                    <a:lnTo>
                      <a:pt x="2633" y="1667"/>
                    </a:lnTo>
                    <a:lnTo>
                      <a:pt x="2631" y="1672"/>
                    </a:lnTo>
                    <a:lnTo>
                      <a:pt x="2629" y="1674"/>
                    </a:lnTo>
                    <a:lnTo>
                      <a:pt x="2626" y="1677"/>
                    </a:lnTo>
                    <a:lnTo>
                      <a:pt x="2624" y="1677"/>
                    </a:lnTo>
                    <a:lnTo>
                      <a:pt x="2621" y="1670"/>
                    </a:lnTo>
                    <a:lnTo>
                      <a:pt x="2614" y="1667"/>
                    </a:lnTo>
                    <a:lnTo>
                      <a:pt x="2612" y="1663"/>
                    </a:lnTo>
                    <a:lnTo>
                      <a:pt x="2610" y="1665"/>
                    </a:lnTo>
                    <a:lnTo>
                      <a:pt x="2607" y="1672"/>
                    </a:lnTo>
                    <a:lnTo>
                      <a:pt x="2605" y="1674"/>
                    </a:lnTo>
                    <a:lnTo>
                      <a:pt x="2593" y="1677"/>
                    </a:lnTo>
                    <a:lnTo>
                      <a:pt x="2588" y="1677"/>
                    </a:lnTo>
                    <a:lnTo>
                      <a:pt x="2581" y="1667"/>
                    </a:lnTo>
                    <a:lnTo>
                      <a:pt x="2581" y="1665"/>
                    </a:lnTo>
                    <a:lnTo>
                      <a:pt x="2584" y="1658"/>
                    </a:lnTo>
                    <a:lnTo>
                      <a:pt x="2603" y="1629"/>
                    </a:lnTo>
                    <a:lnTo>
                      <a:pt x="2600" y="1629"/>
                    </a:lnTo>
                    <a:lnTo>
                      <a:pt x="2595" y="1634"/>
                    </a:lnTo>
                    <a:lnTo>
                      <a:pt x="2584" y="1644"/>
                    </a:lnTo>
                    <a:lnTo>
                      <a:pt x="2579" y="1648"/>
                    </a:lnTo>
                    <a:lnTo>
                      <a:pt x="2572" y="1646"/>
                    </a:lnTo>
                    <a:lnTo>
                      <a:pt x="2569" y="1646"/>
                    </a:lnTo>
                    <a:lnTo>
                      <a:pt x="2565" y="1646"/>
                    </a:lnTo>
                    <a:lnTo>
                      <a:pt x="2560" y="1648"/>
                    </a:lnTo>
                    <a:lnTo>
                      <a:pt x="2555" y="1651"/>
                    </a:lnTo>
                    <a:lnTo>
                      <a:pt x="2553" y="1655"/>
                    </a:lnTo>
                    <a:lnTo>
                      <a:pt x="2555" y="1655"/>
                    </a:lnTo>
                    <a:lnTo>
                      <a:pt x="2562" y="1653"/>
                    </a:lnTo>
                    <a:lnTo>
                      <a:pt x="2567" y="1651"/>
                    </a:lnTo>
                    <a:lnTo>
                      <a:pt x="2567" y="1653"/>
                    </a:lnTo>
                    <a:lnTo>
                      <a:pt x="2560" y="1667"/>
                    </a:lnTo>
                    <a:lnTo>
                      <a:pt x="2555" y="1679"/>
                    </a:lnTo>
                    <a:lnTo>
                      <a:pt x="2553" y="1681"/>
                    </a:lnTo>
                    <a:lnTo>
                      <a:pt x="2546" y="1679"/>
                    </a:lnTo>
                    <a:lnTo>
                      <a:pt x="2541" y="1681"/>
                    </a:lnTo>
                    <a:lnTo>
                      <a:pt x="2541" y="1684"/>
                    </a:lnTo>
                    <a:lnTo>
                      <a:pt x="2550" y="1696"/>
                    </a:lnTo>
                    <a:lnTo>
                      <a:pt x="2555" y="1698"/>
                    </a:lnTo>
                    <a:lnTo>
                      <a:pt x="2560" y="1700"/>
                    </a:lnTo>
                    <a:lnTo>
                      <a:pt x="2560" y="1705"/>
                    </a:lnTo>
                    <a:lnTo>
                      <a:pt x="2558" y="1715"/>
                    </a:lnTo>
                    <a:lnTo>
                      <a:pt x="2555" y="1717"/>
                    </a:lnTo>
                    <a:lnTo>
                      <a:pt x="2553" y="1719"/>
                    </a:lnTo>
                    <a:lnTo>
                      <a:pt x="2543" y="1719"/>
                    </a:lnTo>
                    <a:lnTo>
                      <a:pt x="2541" y="1719"/>
                    </a:lnTo>
                    <a:lnTo>
                      <a:pt x="2534" y="1724"/>
                    </a:lnTo>
                    <a:lnTo>
                      <a:pt x="2529" y="1729"/>
                    </a:lnTo>
                    <a:lnTo>
                      <a:pt x="2532" y="1729"/>
                    </a:lnTo>
                    <a:lnTo>
                      <a:pt x="2536" y="1726"/>
                    </a:lnTo>
                    <a:lnTo>
                      <a:pt x="2543" y="1724"/>
                    </a:lnTo>
                    <a:lnTo>
                      <a:pt x="2555" y="1726"/>
                    </a:lnTo>
                    <a:lnTo>
                      <a:pt x="2562" y="1724"/>
                    </a:lnTo>
                    <a:lnTo>
                      <a:pt x="2567" y="1719"/>
                    </a:lnTo>
                    <a:lnTo>
                      <a:pt x="2572" y="1722"/>
                    </a:lnTo>
                    <a:lnTo>
                      <a:pt x="2576" y="1729"/>
                    </a:lnTo>
                    <a:lnTo>
                      <a:pt x="2576" y="1733"/>
                    </a:lnTo>
                    <a:lnTo>
                      <a:pt x="2574" y="1738"/>
                    </a:lnTo>
                    <a:lnTo>
                      <a:pt x="2572" y="1743"/>
                    </a:lnTo>
                    <a:lnTo>
                      <a:pt x="2565" y="1743"/>
                    </a:lnTo>
                    <a:lnTo>
                      <a:pt x="2560" y="1745"/>
                    </a:lnTo>
                    <a:lnTo>
                      <a:pt x="2558" y="1750"/>
                    </a:lnTo>
                    <a:lnTo>
                      <a:pt x="2558" y="1755"/>
                    </a:lnTo>
                    <a:lnTo>
                      <a:pt x="2555" y="1764"/>
                    </a:lnTo>
                    <a:lnTo>
                      <a:pt x="2555" y="1778"/>
                    </a:lnTo>
                    <a:lnTo>
                      <a:pt x="2555" y="1781"/>
                    </a:lnTo>
                    <a:lnTo>
                      <a:pt x="2553" y="1781"/>
                    </a:lnTo>
                    <a:lnTo>
                      <a:pt x="2548" y="1781"/>
                    </a:lnTo>
                    <a:lnTo>
                      <a:pt x="2546" y="1783"/>
                    </a:lnTo>
                    <a:lnTo>
                      <a:pt x="2536" y="1802"/>
                    </a:lnTo>
                    <a:lnTo>
                      <a:pt x="2534" y="1804"/>
                    </a:lnTo>
                    <a:lnTo>
                      <a:pt x="2532" y="1802"/>
                    </a:lnTo>
                    <a:lnTo>
                      <a:pt x="2529" y="1802"/>
                    </a:lnTo>
                    <a:lnTo>
                      <a:pt x="2527" y="1804"/>
                    </a:lnTo>
                    <a:lnTo>
                      <a:pt x="2522" y="1804"/>
                    </a:lnTo>
                    <a:lnTo>
                      <a:pt x="2513" y="1807"/>
                    </a:lnTo>
                    <a:lnTo>
                      <a:pt x="2508" y="1804"/>
                    </a:lnTo>
                    <a:lnTo>
                      <a:pt x="2496" y="1800"/>
                    </a:lnTo>
                    <a:lnTo>
                      <a:pt x="2491" y="1795"/>
                    </a:lnTo>
                    <a:lnTo>
                      <a:pt x="2489" y="1790"/>
                    </a:lnTo>
                    <a:lnTo>
                      <a:pt x="2477" y="1795"/>
                    </a:lnTo>
                    <a:lnTo>
                      <a:pt x="2475" y="1793"/>
                    </a:lnTo>
                    <a:lnTo>
                      <a:pt x="2470" y="1778"/>
                    </a:lnTo>
                    <a:lnTo>
                      <a:pt x="2468" y="1778"/>
                    </a:lnTo>
                    <a:lnTo>
                      <a:pt x="2465" y="1793"/>
                    </a:lnTo>
                    <a:lnTo>
                      <a:pt x="2463" y="1797"/>
                    </a:lnTo>
                    <a:lnTo>
                      <a:pt x="2456" y="1807"/>
                    </a:lnTo>
                    <a:lnTo>
                      <a:pt x="2449" y="1823"/>
                    </a:lnTo>
                    <a:lnTo>
                      <a:pt x="2449" y="1826"/>
                    </a:lnTo>
                    <a:lnTo>
                      <a:pt x="2446" y="1821"/>
                    </a:lnTo>
                    <a:lnTo>
                      <a:pt x="2446" y="1807"/>
                    </a:lnTo>
                    <a:lnTo>
                      <a:pt x="2444" y="1802"/>
                    </a:lnTo>
                    <a:lnTo>
                      <a:pt x="2437" y="1812"/>
                    </a:lnTo>
                    <a:lnTo>
                      <a:pt x="2437" y="1814"/>
                    </a:lnTo>
                    <a:lnTo>
                      <a:pt x="2437" y="1826"/>
                    </a:lnTo>
                    <a:lnTo>
                      <a:pt x="2435" y="1828"/>
                    </a:lnTo>
                    <a:lnTo>
                      <a:pt x="2423" y="1819"/>
                    </a:lnTo>
                    <a:lnTo>
                      <a:pt x="2420" y="1819"/>
                    </a:lnTo>
                    <a:lnTo>
                      <a:pt x="2420" y="1819"/>
                    </a:lnTo>
                    <a:lnTo>
                      <a:pt x="2423" y="1830"/>
                    </a:lnTo>
                    <a:lnTo>
                      <a:pt x="2423" y="1833"/>
                    </a:lnTo>
                    <a:lnTo>
                      <a:pt x="2404" y="1849"/>
                    </a:lnTo>
                    <a:lnTo>
                      <a:pt x="2399" y="1847"/>
                    </a:lnTo>
                    <a:lnTo>
                      <a:pt x="2397" y="1845"/>
                    </a:lnTo>
                    <a:lnTo>
                      <a:pt x="2392" y="1845"/>
                    </a:lnTo>
                    <a:lnTo>
                      <a:pt x="2383" y="1849"/>
                    </a:lnTo>
                    <a:lnTo>
                      <a:pt x="2378" y="1849"/>
                    </a:lnTo>
                    <a:lnTo>
                      <a:pt x="2376" y="1845"/>
                    </a:lnTo>
                    <a:lnTo>
                      <a:pt x="2373" y="1845"/>
                    </a:lnTo>
                    <a:lnTo>
                      <a:pt x="2371" y="1849"/>
                    </a:lnTo>
                    <a:lnTo>
                      <a:pt x="2371" y="1856"/>
                    </a:lnTo>
                    <a:lnTo>
                      <a:pt x="2366" y="1864"/>
                    </a:lnTo>
                    <a:lnTo>
                      <a:pt x="2352" y="1875"/>
                    </a:lnTo>
                    <a:lnTo>
                      <a:pt x="2347" y="1880"/>
                    </a:lnTo>
                    <a:lnTo>
                      <a:pt x="2345" y="1887"/>
                    </a:lnTo>
                    <a:lnTo>
                      <a:pt x="2342" y="1887"/>
                    </a:lnTo>
                    <a:lnTo>
                      <a:pt x="2335" y="1880"/>
                    </a:lnTo>
                    <a:lnTo>
                      <a:pt x="2326" y="1878"/>
                    </a:lnTo>
                    <a:lnTo>
                      <a:pt x="2326" y="1878"/>
                    </a:lnTo>
                    <a:lnTo>
                      <a:pt x="2328" y="1882"/>
                    </a:lnTo>
                    <a:lnTo>
                      <a:pt x="2326" y="1887"/>
                    </a:lnTo>
                    <a:lnTo>
                      <a:pt x="2324" y="1887"/>
                    </a:lnTo>
                    <a:lnTo>
                      <a:pt x="2319" y="1885"/>
                    </a:lnTo>
                    <a:lnTo>
                      <a:pt x="2312" y="1882"/>
                    </a:lnTo>
                    <a:lnTo>
                      <a:pt x="2305" y="1885"/>
                    </a:lnTo>
                    <a:lnTo>
                      <a:pt x="2293" y="1890"/>
                    </a:lnTo>
                    <a:lnTo>
                      <a:pt x="2283" y="1887"/>
                    </a:lnTo>
                    <a:lnTo>
                      <a:pt x="2274" y="1875"/>
                    </a:lnTo>
                    <a:lnTo>
                      <a:pt x="2272" y="1875"/>
                    </a:lnTo>
                    <a:lnTo>
                      <a:pt x="2269" y="1871"/>
                    </a:lnTo>
                    <a:lnTo>
                      <a:pt x="2274" y="1864"/>
                    </a:lnTo>
                    <a:lnTo>
                      <a:pt x="2279" y="1859"/>
                    </a:lnTo>
                    <a:lnTo>
                      <a:pt x="2281" y="1854"/>
                    </a:lnTo>
                    <a:lnTo>
                      <a:pt x="2293" y="1849"/>
                    </a:lnTo>
                    <a:lnTo>
                      <a:pt x="2307" y="1847"/>
                    </a:lnTo>
                    <a:lnTo>
                      <a:pt x="2314" y="1845"/>
                    </a:lnTo>
                    <a:lnTo>
                      <a:pt x="2326" y="1835"/>
                    </a:lnTo>
                    <a:lnTo>
                      <a:pt x="2333" y="1828"/>
                    </a:lnTo>
                    <a:lnTo>
                      <a:pt x="2345" y="1812"/>
                    </a:lnTo>
                    <a:lnTo>
                      <a:pt x="2345" y="1809"/>
                    </a:lnTo>
                    <a:lnTo>
                      <a:pt x="2342" y="1809"/>
                    </a:lnTo>
                    <a:lnTo>
                      <a:pt x="2319" y="1823"/>
                    </a:lnTo>
                    <a:lnTo>
                      <a:pt x="2314" y="1823"/>
                    </a:lnTo>
                    <a:lnTo>
                      <a:pt x="2309" y="1823"/>
                    </a:lnTo>
                    <a:lnTo>
                      <a:pt x="2293" y="1814"/>
                    </a:lnTo>
                    <a:lnTo>
                      <a:pt x="2288" y="1812"/>
                    </a:lnTo>
                    <a:lnTo>
                      <a:pt x="2288" y="1802"/>
                    </a:lnTo>
                    <a:lnTo>
                      <a:pt x="2295" y="1783"/>
                    </a:lnTo>
                    <a:lnTo>
                      <a:pt x="2300" y="1774"/>
                    </a:lnTo>
                    <a:lnTo>
                      <a:pt x="2312" y="1760"/>
                    </a:lnTo>
                    <a:lnTo>
                      <a:pt x="2326" y="1745"/>
                    </a:lnTo>
                    <a:lnTo>
                      <a:pt x="2331" y="1736"/>
                    </a:lnTo>
                    <a:lnTo>
                      <a:pt x="2340" y="1710"/>
                    </a:lnTo>
                    <a:lnTo>
                      <a:pt x="2340" y="1696"/>
                    </a:lnTo>
                    <a:lnTo>
                      <a:pt x="2340" y="1681"/>
                    </a:lnTo>
                    <a:lnTo>
                      <a:pt x="2342" y="1672"/>
                    </a:lnTo>
                    <a:lnTo>
                      <a:pt x="2345" y="1670"/>
                    </a:lnTo>
                    <a:lnTo>
                      <a:pt x="2373" y="1658"/>
                    </a:lnTo>
                    <a:lnTo>
                      <a:pt x="2385" y="1651"/>
                    </a:lnTo>
                    <a:lnTo>
                      <a:pt x="2411" y="1637"/>
                    </a:lnTo>
                    <a:lnTo>
                      <a:pt x="2418" y="1639"/>
                    </a:lnTo>
                    <a:lnTo>
                      <a:pt x="2423" y="1644"/>
                    </a:lnTo>
                    <a:lnTo>
                      <a:pt x="2428" y="1648"/>
                    </a:lnTo>
                    <a:lnTo>
                      <a:pt x="2432" y="1653"/>
                    </a:lnTo>
                    <a:lnTo>
                      <a:pt x="2442" y="1653"/>
                    </a:lnTo>
                    <a:lnTo>
                      <a:pt x="2451" y="1651"/>
                    </a:lnTo>
                    <a:lnTo>
                      <a:pt x="2468" y="1653"/>
                    </a:lnTo>
                    <a:lnTo>
                      <a:pt x="2498" y="1667"/>
                    </a:lnTo>
                    <a:lnTo>
                      <a:pt x="2506" y="1670"/>
                    </a:lnTo>
                    <a:lnTo>
                      <a:pt x="2506" y="1667"/>
                    </a:lnTo>
                    <a:lnTo>
                      <a:pt x="2501" y="1660"/>
                    </a:lnTo>
                    <a:lnTo>
                      <a:pt x="2480" y="1653"/>
                    </a:lnTo>
                    <a:lnTo>
                      <a:pt x="2470" y="1648"/>
                    </a:lnTo>
                    <a:lnTo>
                      <a:pt x="2446" y="1627"/>
                    </a:lnTo>
                    <a:lnTo>
                      <a:pt x="2442" y="1620"/>
                    </a:lnTo>
                    <a:lnTo>
                      <a:pt x="2444" y="1615"/>
                    </a:lnTo>
                    <a:lnTo>
                      <a:pt x="2451" y="1613"/>
                    </a:lnTo>
                    <a:lnTo>
                      <a:pt x="2454" y="1611"/>
                    </a:lnTo>
                    <a:lnTo>
                      <a:pt x="2454" y="1606"/>
                    </a:lnTo>
                    <a:lnTo>
                      <a:pt x="2458" y="1601"/>
                    </a:lnTo>
                    <a:lnTo>
                      <a:pt x="2465" y="1594"/>
                    </a:lnTo>
                    <a:lnTo>
                      <a:pt x="2477" y="1587"/>
                    </a:lnTo>
                    <a:lnTo>
                      <a:pt x="2496" y="1577"/>
                    </a:lnTo>
                    <a:lnTo>
                      <a:pt x="2489" y="1575"/>
                    </a:lnTo>
                    <a:lnTo>
                      <a:pt x="2477" y="1577"/>
                    </a:lnTo>
                    <a:lnTo>
                      <a:pt x="2470" y="1577"/>
                    </a:lnTo>
                    <a:lnTo>
                      <a:pt x="2461" y="1585"/>
                    </a:lnTo>
                    <a:lnTo>
                      <a:pt x="2458" y="1592"/>
                    </a:lnTo>
                    <a:lnTo>
                      <a:pt x="2451" y="1601"/>
                    </a:lnTo>
                    <a:lnTo>
                      <a:pt x="2449" y="1603"/>
                    </a:lnTo>
                    <a:lnTo>
                      <a:pt x="2439" y="1603"/>
                    </a:lnTo>
                    <a:lnTo>
                      <a:pt x="2413" y="1603"/>
                    </a:lnTo>
                    <a:lnTo>
                      <a:pt x="2411" y="1596"/>
                    </a:lnTo>
                    <a:lnTo>
                      <a:pt x="2409" y="1594"/>
                    </a:lnTo>
                    <a:lnTo>
                      <a:pt x="2404" y="1594"/>
                    </a:lnTo>
                    <a:lnTo>
                      <a:pt x="2380" y="1608"/>
                    </a:lnTo>
                    <a:lnTo>
                      <a:pt x="2371" y="1613"/>
                    </a:lnTo>
                    <a:lnTo>
                      <a:pt x="2364" y="1622"/>
                    </a:lnTo>
                    <a:lnTo>
                      <a:pt x="2354" y="1627"/>
                    </a:lnTo>
                    <a:lnTo>
                      <a:pt x="2340" y="1629"/>
                    </a:lnTo>
                    <a:lnTo>
                      <a:pt x="2331" y="1632"/>
                    </a:lnTo>
                    <a:lnTo>
                      <a:pt x="2319" y="1641"/>
                    </a:lnTo>
                    <a:lnTo>
                      <a:pt x="2314" y="1648"/>
                    </a:lnTo>
                    <a:lnTo>
                      <a:pt x="2314" y="1651"/>
                    </a:lnTo>
                    <a:lnTo>
                      <a:pt x="2314" y="1663"/>
                    </a:lnTo>
                    <a:lnTo>
                      <a:pt x="2312" y="1665"/>
                    </a:lnTo>
                    <a:lnTo>
                      <a:pt x="2307" y="1665"/>
                    </a:lnTo>
                    <a:lnTo>
                      <a:pt x="2295" y="1672"/>
                    </a:lnTo>
                    <a:lnTo>
                      <a:pt x="2274" y="1691"/>
                    </a:lnTo>
                    <a:lnTo>
                      <a:pt x="2269" y="1698"/>
                    </a:lnTo>
                    <a:lnTo>
                      <a:pt x="2269" y="1700"/>
                    </a:lnTo>
                    <a:lnTo>
                      <a:pt x="2272" y="1707"/>
                    </a:lnTo>
                    <a:lnTo>
                      <a:pt x="2269" y="1712"/>
                    </a:lnTo>
                    <a:lnTo>
                      <a:pt x="2262" y="1717"/>
                    </a:lnTo>
                    <a:lnTo>
                      <a:pt x="2248" y="1726"/>
                    </a:lnTo>
                    <a:lnTo>
                      <a:pt x="2241" y="1729"/>
                    </a:lnTo>
                    <a:lnTo>
                      <a:pt x="2236" y="1726"/>
                    </a:lnTo>
                    <a:lnTo>
                      <a:pt x="2231" y="1724"/>
                    </a:lnTo>
                    <a:lnTo>
                      <a:pt x="2222" y="1717"/>
                    </a:lnTo>
                    <a:lnTo>
                      <a:pt x="2215" y="1717"/>
                    </a:lnTo>
                    <a:lnTo>
                      <a:pt x="2215" y="1717"/>
                    </a:lnTo>
                    <a:lnTo>
                      <a:pt x="2224" y="1724"/>
                    </a:lnTo>
                    <a:lnTo>
                      <a:pt x="2231" y="1736"/>
                    </a:lnTo>
                    <a:lnTo>
                      <a:pt x="2236" y="1743"/>
                    </a:lnTo>
                    <a:lnTo>
                      <a:pt x="2238" y="1750"/>
                    </a:lnTo>
                    <a:lnTo>
                      <a:pt x="2238" y="1757"/>
                    </a:lnTo>
                    <a:lnTo>
                      <a:pt x="2234" y="1762"/>
                    </a:lnTo>
                    <a:lnTo>
                      <a:pt x="2227" y="1771"/>
                    </a:lnTo>
                    <a:lnTo>
                      <a:pt x="2220" y="1774"/>
                    </a:lnTo>
                    <a:lnTo>
                      <a:pt x="2201" y="1776"/>
                    </a:lnTo>
                    <a:lnTo>
                      <a:pt x="2194" y="1776"/>
                    </a:lnTo>
                    <a:lnTo>
                      <a:pt x="2191" y="1778"/>
                    </a:lnTo>
                    <a:lnTo>
                      <a:pt x="2203" y="1786"/>
                    </a:lnTo>
                    <a:lnTo>
                      <a:pt x="2205" y="1788"/>
                    </a:lnTo>
                    <a:lnTo>
                      <a:pt x="2201" y="1797"/>
                    </a:lnTo>
                    <a:lnTo>
                      <a:pt x="2198" y="1800"/>
                    </a:lnTo>
                    <a:lnTo>
                      <a:pt x="2186" y="1802"/>
                    </a:lnTo>
                    <a:lnTo>
                      <a:pt x="2177" y="1802"/>
                    </a:lnTo>
                    <a:lnTo>
                      <a:pt x="2175" y="1802"/>
                    </a:lnTo>
                    <a:lnTo>
                      <a:pt x="2179" y="1795"/>
                    </a:lnTo>
                    <a:lnTo>
                      <a:pt x="2179" y="1793"/>
                    </a:lnTo>
                    <a:lnTo>
                      <a:pt x="2175" y="1790"/>
                    </a:lnTo>
                    <a:lnTo>
                      <a:pt x="2170" y="1793"/>
                    </a:lnTo>
                    <a:lnTo>
                      <a:pt x="2156" y="1802"/>
                    </a:lnTo>
                    <a:lnTo>
                      <a:pt x="2153" y="1802"/>
                    </a:lnTo>
                    <a:lnTo>
                      <a:pt x="2158" y="1807"/>
                    </a:lnTo>
                    <a:lnTo>
                      <a:pt x="2158" y="1809"/>
                    </a:lnTo>
                    <a:lnTo>
                      <a:pt x="2149" y="1814"/>
                    </a:lnTo>
                    <a:lnTo>
                      <a:pt x="2146" y="1819"/>
                    </a:lnTo>
                    <a:lnTo>
                      <a:pt x="2139" y="1823"/>
                    </a:lnTo>
                    <a:lnTo>
                      <a:pt x="2118" y="1835"/>
                    </a:lnTo>
                    <a:lnTo>
                      <a:pt x="2118" y="1840"/>
                    </a:lnTo>
                    <a:lnTo>
                      <a:pt x="2111" y="1854"/>
                    </a:lnTo>
                    <a:lnTo>
                      <a:pt x="2106" y="1864"/>
                    </a:lnTo>
                    <a:lnTo>
                      <a:pt x="2108" y="1871"/>
                    </a:lnTo>
                    <a:lnTo>
                      <a:pt x="2125" y="1878"/>
                    </a:lnTo>
                    <a:lnTo>
                      <a:pt x="2132" y="1882"/>
                    </a:lnTo>
                    <a:lnTo>
                      <a:pt x="2142" y="1887"/>
                    </a:lnTo>
                    <a:lnTo>
                      <a:pt x="2158" y="1901"/>
                    </a:lnTo>
                    <a:lnTo>
                      <a:pt x="2163" y="1908"/>
                    </a:lnTo>
                    <a:lnTo>
                      <a:pt x="2163" y="1913"/>
                    </a:lnTo>
                    <a:lnTo>
                      <a:pt x="2160" y="1916"/>
                    </a:lnTo>
                    <a:lnTo>
                      <a:pt x="2158" y="1920"/>
                    </a:lnTo>
                    <a:lnTo>
                      <a:pt x="2151" y="1930"/>
                    </a:lnTo>
                    <a:lnTo>
                      <a:pt x="2137" y="1942"/>
                    </a:lnTo>
                    <a:lnTo>
                      <a:pt x="2130" y="1944"/>
                    </a:lnTo>
                    <a:lnTo>
                      <a:pt x="2120" y="1946"/>
                    </a:lnTo>
                    <a:lnTo>
                      <a:pt x="2116" y="1949"/>
                    </a:lnTo>
                    <a:lnTo>
                      <a:pt x="2104" y="1960"/>
                    </a:lnTo>
                    <a:lnTo>
                      <a:pt x="2099" y="1965"/>
                    </a:lnTo>
                    <a:lnTo>
                      <a:pt x="2097" y="1972"/>
                    </a:lnTo>
                    <a:lnTo>
                      <a:pt x="2094" y="1977"/>
                    </a:lnTo>
                    <a:lnTo>
                      <a:pt x="2078" y="1982"/>
                    </a:lnTo>
                    <a:lnTo>
                      <a:pt x="2078" y="1984"/>
                    </a:lnTo>
                    <a:lnTo>
                      <a:pt x="2085" y="1986"/>
                    </a:lnTo>
                    <a:lnTo>
                      <a:pt x="2080" y="1994"/>
                    </a:lnTo>
                    <a:lnTo>
                      <a:pt x="2078" y="2003"/>
                    </a:lnTo>
                    <a:lnTo>
                      <a:pt x="2075" y="2005"/>
                    </a:lnTo>
                    <a:lnTo>
                      <a:pt x="2066" y="2003"/>
                    </a:lnTo>
                    <a:lnTo>
                      <a:pt x="2054" y="2005"/>
                    </a:lnTo>
                    <a:lnTo>
                      <a:pt x="2052" y="2008"/>
                    </a:lnTo>
                    <a:lnTo>
                      <a:pt x="2049" y="2015"/>
                    </a:lnTo>
                    <a:lnTo>
                      <a:pt x="2019" y="2015"/>
                    </a:lnTo>
                    <a:lnTo>
                      <a:pt x="2009" y="2027"/>
                    </a:lnTo>
                    <a:lnTo>
                      <a:pt x="2004" y="2031"/>
                    </a:lnTo>
                    <a:lnTo>
                      <a:pt x="1990" y="2039"/>
                    </a:lnTo>
                    <a:lnTo>
                      <a:pt x="1983" y="2043"/>
                    </a:lnTo>
                    <a:lnTo>
                      <a:pt x="1974" y="2043"/>
                    </a:lnTo>
                    <a:lnTo>
                      <a:pt x="1969" y="2046"/>
                    </a:lnTo>
                    <a:lnTo>
                      <a:pt x="1967" y="2050"/>
                    </a:lnTo>
                    <a:lnTo>
                      <a:pt x="1964" y="2055"/>
                    </a:lnTo>
                    <a:lnTo>
                      <a:pt x="1955" y="2060"/>
                    </a:lnTo>
                    <a:lnTo>
                      <a:pt x="1950" y="2067"/>
                    </a:lnTo>
                    <a:lnTo>
                      <a:pt x="1948" y="2067"/>
                    </a:lnTo>
                    <a:lnTo>
                      <a:pt x="1934" y="2067"/>
                    </a:lnTo>
                    <a:lnTo>
                      <a:pt x="1929" y="2069"/>
                    </a:lnTo>
                    <a:lnTo>
                      <a:pt x="1926" y="2079"/>
                    </a:lnTo>
                    <a:lnTo>
                      <a:pt x="1924" y="2079"/>
                    </a:lnTo>
                    <a:lnTo>
                      <a:pt x="1919" y="2076"/>
                    </a:lnTo>
                    <a:lnTo>
                      <a:pt x="1912" y="2076"/>
                    </a:lnTo>
                    <a:lnTo>
                      <a:pt x="1896" y="2086"/>
                    </a:lnTo>
                    <a:lnTo>
                      <a:pt x="1891" y="2091"/>
                    </a:lnTo>
                    <a:lnTo>
                      <a:pt x="1891" y="2093"/>
                    </a:lnTo>
                    <a:lnTo>
                      <a:pt x="1893" y="2095"/>
                    </a:lnTo>
                    <a:lnTo>
                      <a:pt x="1896" y="2102"/>
                    </a:lnTo>
                    <a:lnTo>
                      <a:pt x="1893" y="2107"/>
                    </a:lnTo>
                    <a:lnTo>
                      <a:pt x="1886" y="2121"/>
                    </a:lnTo>
                    <a:lnTo>
                      <a:pt x="1884" y="2124"/>
                    </a:lnTo>
                    <a:lnTo>
                      <a:pt x="1874" y="2124"/>
                    </a:lnTo>
                    <a:lnTo>
                      <a:pt x="1872" y="2131"/>
                    </a:lnTo>
                    <a:lnTo>
                      <a:pt x="1865" y="2131"/>
                    </a:lnTo>
                    <a:lnTo>
                      <a:pt x="1860" y="2131"/>
                    </a:lnTo>
                    <a:lnTo>
                      <a:pt x="1856" y="2135"/>
                    </a:lnTo>
                    <a:lnTo>
                      <a:pt x="1851" y="2138"/>
                    </a:lnTo>
                    <a:lnTo>
                      <a:pt x="1846" y="2138"/>
                    </a:lnTo>
                    <a:lnTo>
                      <a:pt x="1841" y="2140"/>
                    </a:lnTo>
                    <a:lnTo>
                      <a:pt x="1834" y="2145"/>
                    </a:lnTo>
                    <a:lnTo>
                      <a:pt x="1827" y="2150"/>
                    </a:lnTo>
                    <a:lnTo>
                      <a:pt x="1822" y="2150"/>
                    </a:lnTo>
                    <a:lnTo>
                      <a:pt x="1818" y="2150"/>
                    </a:lnTo>
                    <a:lnTo>
                      <a:pt x="1813" y="2147"/>
                    </a:lnTo>
                    <a:lnTo>
                      <a:pt x="1808" y="2147"/>
                    </a:lnTo>
                    <a:lnTo>
                      <a:pt x="1804" y="2150"/>
                    </a:lnTo>
                    <a:lnTo>
                      <a:pt x="1799" y="2154"/>
                    </a:lnTo>
                    <a:lnTo>
                      <a:pt x="1794" y="2164"/>
                    </a:lnTo>
                    <a:lnTo>
                      <a:pt x="1789" y="2169"/>
                    </a:lnTo>
                    <a:lnTo>
                      <a:pt x="1787" y="2171"/>
                    </a:lnTo>
                    <a:lnTo>
                      <a:pt x="1782" y="2169"/>
                    </a:lnTo>
                    <a:lnTo>
                      <a:pt x="1775" y="2164"/>
                    </a:lnTo>
                    <a:lnTo>
                      <a:pt x="1768" y="2164"/>
                    </a:lnTo>
                    <a:lnTo>
                      <a:pt x="1754" y="2169"/>
                    </a:lnTo>
                    <a:lnTo>
                      <a:pt x="1749" y="2173"/>
                    </a:lnTo>
                    <a:lnTo>
                      <a:pt x="1756" y="2176"/>
                    </a:lnTo>
                    <a:lnTo>
                      <a:pt x="1759" y="2178"/>
                    </a:lnTo>
                    <a:lnTo>
                      <a:pt x="1759" y="2180"/>
                    </a:lnTo>
                    <a:lnTo>
                      <a:pt x="1756" y="2180"/>
                    </a:lnTo>
                    <a:lnTo>
                      <a:pt x="1749" y="2178"/>
                    </a:lnTo>
                    <a:lnTo>
                      <a:pt x="1744" y="2178"/>
                    </a:lnTo>
                    <a:lnTo>
                      <a:pt x="1737" y="2180"/>
                    </a:lnTo>
                    <a:lnTo>
                      <a:pt x="1726" y="2183"/>
                    </a:lnTo>
                    <a:lnTo>
                      <a:pt x="1721" y="2183"/>
                    </a:lnTo>
                    <a:lnTo>
                      <a:pt x="1709" y="2195"/>
                    </a:lnTo>
                    <a:lnTo>
                      <a:pt x="1707" y="2197"/>
                    </a:lnTo>
                    <a:lnTo>
                      <a:pt x="1707" y="2199"/>
                    </a:lnTo>
                    <a:lnTo>
                      <a:pt x="1714" y="2199"/>
                    </a:lnTo>
                    <a:lnTo>
                      <a:pt x="1718" y="2202"/>
                    </a:lnTo>
                    <a:lnTo>
                      <a:pt x="1721" y="2206"/>
                    </a:lnTo>
                    <a:lnTo>
                      <a:pt x="1723" y="2209"/>
                    </a:lnTo>
                    <a:lnTo>
                      <a:pt x="1723" y="2216"/>
                    </a:lnTo>
                    <a:lnTo>
                      <a:pt x="1723" y="2218"/>
                    </a:lnTo>
                    <a:lnTo>
                      <a:pt x="1709" y="2228"/>
                    </a:lnTo>
                    <a:lnTo>
                      <a:pt x="1704" y="2232"/>
                    </a:lnTo>
                    <a:lnTo>
                      <a:pt x="1702" y="2232"/>
                    </a:lnTo>
                    <a:lnTo>
                      <a:pt x="1702" y="2230"/>
                    </a:lnTo>
                    <a:lnTo>
                      <a:pt x="1702" y="2218"/>
                    </a:lnTo>
                    <a:lnTo>
                      <a:pt x="1702" y="2216"/>
                    </a:lnTo>
                    <a:lnTo>
                      <a:pt x="1700" y="2213"/>
                    </a:lnTo>
                    <a:lnTo>
                      <a:pt x="1695" y="2218"/>
                    </a:lnTo>
                    <a:lnTo>
                      <a:pt x="1685" y="2232"/>
                    </a:lnTo>
                    <a:lnTo>
                      <a:pt x="1678" y="2240"/>
                    </a:lnTo>
                    <a:lnTo>
                      <a:pt x="1624" y="2247"/>
                    </a:lnTo>
                    <a:lnTo>
                      <a:pt x="1617" y="2249"/>
                    </a:lnTo>
                    <a:lnTo>
                      <a:pt x="1612" y="2258"/>
                    </a:lnTo>
                    <a:lnTo>
                      <a:pt x="1610" y="2266"/>
                    </a:lnTo>
                    <a:lnTo>
                      <a:pt x="1605" y="2270"/>
                    </a:lnTo>
                    <a:lnTo>
                      <a:pt x="1600" y="2273"/>
                    </a:lnTo>
                    <a:lnTo>
                      <a:pt x="1600" y="2270"/>
                    </a:lnTo>
                    <a:lnTo>
                      <a:pt x="1605" y="2249"/>
                    </a:lnTo>
                    <a:lnTo>
                      <a:pt x="1605" y="2244"/>
                    </a:lnTo>
                    <a:lnTo>
                      <a:pt x="1600" y="2242"/>
                    </a:lnTo>
                    <a:lnTo>
                      <a:pt x="1598" y="2242"/>
                    </a:lnTo>
                    <a:lnTo>
                      <a:pt x="1596" y="2242"/>
                    </a:lnTo>
                    <a:lnTo>
                      <a:pt x="1588" y="2244"/>
                    </a:lnTo>
                    <a:lnTo>
                      <a:pt x="1586" y="2247"/>
                    </a:lnTo>
                    <a:lnTo>
                      <a:pt x="1581" y="2244"/>
                    </a:lnTo>
                    <a:lnTo>
                      <a:pt x="1574" y="2247"/>
                    </a:lnTo>
                    <a:lnTo>
                      <a:pt x="1558" y="2258"/>
                    </a:lnTo>
                    <a:lnTo>
                      <a:pt x="1546" y="2258"/>
                    </a:lnTo>
                    <a:lnTo>
                      <a:pt x="1544" y="2261"/>
                    </a:lnTo>
                    <a:lnTo>
                      <a:pt x="1536" y="2268"/>
                    </a:lnTo>
                    <a:lnTo>
                      <a:pt x="1534" y="2270"/>
                    </a:lnTo>
                    <a:lnTo>
                      <a:pt x="1529" y="2268"/>
                    </a:lnTo>
                    <a:lnTo>
                      <a:pt x="1525" y="2266"/>
                    </a:lnTo>
                    <a:lnTo>
                      <a:pt x="1520" y="2266"/>
                    </a:lnTo>
                    <a:lnTo>
                      <a:pt x="1515" y="2270"/>
                    </a:lnTo>
                    <a:lnTo>
                      <a:pt x="1510" y="2273"/>
                    </a:lnTo>
                    <a:lnTo>
                      <a:pt x="1501" y="2266"/>
                    </a:lnTo>
                    <a:lnTo>
                      <a:pt x="1496" y="2268"/>
                    </a:lnTo>
                    <a:lnTo>
                      <a:pt x="1489" y="2273"/>
                    </a:lnTo>
                    <a:lnTo>
                      <a:pt x="1482" y="2277"/>
                    </a:lnTo>
                    <a:lnTo>
                      <a:pt x="1475" y="2277"/>
                    </a:lnTo>
                    <a:lnTo>
                      <a:pt x="1458" y="2275"/>
                    </a:lnTo>
                    <a:lnTo>
                      <a:pt x="1454" y="2273"/>
                    </a:lnTo>
                    <a:lnTo>
                      <a:pt x="1454" y="2270"/>
                    </a:lnTo>
                    <a:lnTo>
                      <a:pt x="1456" y="2261"/>
                    </a:lnTo>
                    <a:lnTo>
                      <a:pt x="1458" y="2256"/>
                    </a:lnTo>
                    <a:lnTo>
                      <a:pt x="1463" y="2254"/>
                    </a:lnTo>
                    <a:lnTo>
                      <a:pt x="1466" y="2251"/>
                    </a:lnTo>
                    <a:lnTo>
                      <a:pt x="1470" y="2251"/>
                    </a:lnTo>
                    <a:lnTo>
                      <a:pt x="1480" y="2256"/>
                    </a:lnTo>
                    <a:lnTo>
                      <a:pt x="1480" y="2254"/>
                    </a:lnTo>
                    <a:lnTo>
                      <a:pt x="1477" y="2249"/>
                    </a:lnTo>
                    <a:lnTo>
                      <a:pt x="1470" y="2244"/>
                    </a:lnTo>
                    <a:lnTo>
                      <a:pt x="1463" y="2240"/>
                    </a:lnTo>
                    <a:lnTo>
                      <a:pt x="1458" y="2240"/>
                    </a:lnTo>
                    <a:lnTo>
                      <a:pt x="1451" y="2242"/>
                    </a:lnTo>
                    <a:lnTo>
                      <a:pt x="1444" y="2244"/>
                    </a:lnTo>
                    <a:lnTo>
                      <a:pt x="1442" y="2249"/>
                    </a:lnTo>
                    <a:lnTo>
                      <a:pt x="1435" y="2263"/>
                    </a:lnTo>
                    <a:lnTo>
                      <a:pt x="1432" y="2266"/>
                    </a:lnTo>
                    <a:lnTo>
                      <a:pt x="1406" y="2287"/>
                    </a:lnTo>
                    <a:lnTo>
                      <a:pt x="1399" y="2294"/>
                    </a:lnTo>
                    <a:lnTo>
                      <a:pt x="1392" y="2292"/>
                    </a:lnTo>
                    <a:lnTo>
                      <a:pt x="1388" y="2294"/>
                    </a:lnTo>
                    <a:lnTo>
                      <a:pt x="1380" y="2299"/>
                    </a:lnTo>
                    <a:lnTo>
                      <a:pt x="1376" y="2301"/>
                    </a:lnTo>
                    <a:lnTo>
                      <a:pt x="1371" y="2299"/>
                    </a:lnTo>
                    <a:lnTo>
                      <a:pt x="1369" y="2299"/>
                    </a:lnTo>
                    <a:lnTo>
                      <a:pt x="1366" y="2294"/>
                    </a:lnTo>
                    <a:lnTo>
                      <a:pt x="1366" y="2294"/>
                    </a:lnTo>
                    <a:lnTo>
                      <a:pt x="1371" y="2292"/>
                    </a:lnTo>
                    <a:lnTo>
                      <a:pt x="1371" y="2287"/>
                    </a:lnTo>
                    <a:lnTo>
                      <a:pt x="1369" y="2277"/>
                    </a:lnTo>
                    <a:lnTo>
                      <a:pt x="1366" y="2270"/>
                    </a:lnTo>
                    <a:lnTo>
                      <a:pt x="1359" y="2268"/>
                    </a:lnTo>
                    <a:lnTo>
                      <a:pt x="1357" y="2273"/>
                    </a:lnTo>
                    <a:lnTo>
                      <a:pt x="1354" y="2292"/>
                    </a:lnTo>
                    <a:lnTo>
                      <a:pt x="1352" y="2296"/>
                    </a:lnTo>
                    <a:lnTo>
                      <a:pt x="1347" y="2301"/>
                    </a:lnTo>
                    <a:lnTo>
                      <a:pt x="1333" y="2306"/>
                    </a:lnTo>
                    <a:lnTo>
                      <a:pt x="1331" y="2303"/>
                    </a:lnTo>
                    <a:lnTo>
                      <a:pt x="1324" y="2289"/>
                    </a:lnTo>
                    <a:lnTo>
                      <a:pt x="1314" y="2282"/>
                    </a:lnTo>
                    <a:lnTo>
                      <a:pt x="1312" y="2287"/>
                    </a:lnTo>
                    <a:lnTo>
                      <a:pt x="1312" y="2296"/>
                    </a:lnTo>
                    <a:lnTo>
                      <a:pt x="1310" y="2303"/>
                    </a:lnTo>
                    <a:lnTo>
                      <a:pt x="1300" y="2308"/>
                    </a:lnTo>
                    <a:lnTo>
                      <a:pt x="1293" y="2310"/>
                    </a:lnTo>
                    <a:lnTo>
                      <a:pt x="1291" y="2308"/>
                    </a:lnTo>
                    <a:lnTo>
                      <a:pt x="1291" y="2303"/>
                    </a:lnTo>
                    <a:lnTo>
                      <a:pt x="1298" y="2294"/>
                    </a:lnTo>
                    <a:lnTo>
                      <a:pt x="1300" y="2287"/>
                    </a:lnTo>
                    <a:lnTo>
                      <a:pt x="1300" y="2280"/>
                    </a:lnTo>
                    <a:lnTo>
                      <a:pt x="1302" y="2275"/>
                    </a:lnTo>
                    <a:lnTo>
                      <a:pt x="1305" y="2273"/>
                    </a:lnTo>
                    <a:lnTo>
                      <a:pt x="1319" y="2266"/>
                    </a:lnTo>
                    <a:lnTo>
                      <a:pt x="1326" y="2266"/>
                    </a:lnTo>
                    <a:lnTo>
                      <a:pt x="1328" y="2268"/>
                    </a:lnTo>
                    <a:lnTo>
                      <a:pt x="1331" y="2270"/>
                    </a:lnTo>
                    <a:lnTo>
                      <a:pt x="1336" y="2270"/>
                    </a:lnTo>
                    <a:lnTo>
                      <a:pt x="1338" y="2268"/>
                    </a:lnTo>
                    <a:lnTo>
                      <a:pt x="1340" y="2263"/>
                    </a:lnTo>
                    <a:lnTo>
                      <a:pt x="1347" y="2258"/>
                    </a:lnTo>
                    <a:lnTo>
                      <a:pt x="1359" y="2254"/>
                    </a:lnTo>
                    <a:lnTo>
                      <a:pt x="1376" y="2244"/>
                    </a:lnTo>
                    <a:lnTo>
                      <a:pt x="1392" y="2228"/>
                    </a:lnTo>
                    <a:lnTo>
                      <a:pt x="1411" y="2213"/>
                    </a:lnTo>
                    <a:lnTo>
                      <a:pt x="1432" y="2204"/>
                    </a:lnTo>
                    <a:lnTo>
                      <a:pt x="1454" y="2197"/>
                    </a:lnTo>
                    <a:lnTo>
                      <a:pt x="1494" y="2192"/>
                    </a:lnTo>
                    <a:lnTo>
                      <a:pt x="1496" y="2192"/>
                    </a:lnTo>
                    <a:lnTo>
                      <a:pt x="1492" y="2197"/>
                    </a:lnTo>
                    <a:lnTo>
                      <a:pt x="1492" y="2202"/>
                    </a:lnTo>
                    <a:lnTo>
                      <a:pt x="1496" y="2202"/>
                    </a:lnTo>
                    <a:lnTo>
                      <a:pt x="1510" y="2204"/>
                    </a:lnTo>
                    <a:lnTo>
                      <a:pt x="1518" y="2202"/>
                    </a:lnTo>
                    <a:lnTo>
                      <a:pt x="1518" y="2204"/>
                    </a:lnTo>
                    <a:lnTo>
                      <a:pt x="1515" y="2209"/>
                    </a:lnTo>
                    <a:lnTo>
                      <a:pt x="1506" y="2211"/>
                    </a:lnTo>
                    <a:lnTo>
                      <a:pt x="1506" y="2213"/>
                    </a:lnTo>
                    <a:lnTo>
                      <a:pt x="1513" y="2232"/>
                    </a:lnTo>
                    <a:lnTo>
                      <a:pt x="1515" y="2235"/>
                    </a:lnTo>
                    <a:lnTo>
                      <a:pt x="1520" y="2237"/>
                    </a:lnTo>
                    <a:lnTo>
                      <a:pt x="1520" y="2235"/>
                    </a:lnTo>
                    <a:lnTo>
                      <a:pt x="1522" y="2223"/>
                    </a:lnTo>
                    <a:lnTo>
                      <a:pt x="1527" y="2221"/>
                    </a:lnTo>
                    <a:lnTo>
                      <a:pt x="1536" y="2223"/>
                    </a:lnTo>
                    <a:lnTo>
                      <a:pt x="1541" y="2225"/>
                    </a:lnTo>
                    <a:lnTo>
                      <a:pt x="1541" y="2230"/>
                    </a:lnTo>
                    <a:lnTo>
                      <a:pt x="1546" y="2235"/>
                    </a:lnTo>
                    <a:lnTo>
                      <a:pt x="1553" y="2237"/>
                    </a:lnTo>
                    <a:lnTo>
                      <a:pt x="1558" y="2237"/>
                    </a:lnTo>
                    <a:lnTo>
                      <a:pt x="1560" y="2235"/>
                    </a:lnTo>
                    <a:lnTo>
                      <a:pt x="1558" y="2230"/>
                    </a:lnTo>
                    <a:lnTo>
                      <a:pt x="1546" y="2216"/>
                    </a:lnTo>
                    <a:lnTo>
                      <a:pt x="1544" y="2211"/>
                    </a:lnTo>
                    <a:lnTo>
                      <a:pt x="1544" y="2206"/>
                    </a:lnTo>
                    <a:lnTo>
                      <a:pt x="1548" y="2199"/>
                    </a:lnTo>
                    <a:lnTo>
                      <a:pt x="1555" y="2190"/>
                    </a:lnTo>
                    <a:lnTo>
                      <a:pt x="1565" y="2178"/>
                    </a:lnTo>
                    <a:lnTo>
                      <a:pt x="1572" y="2169"/>
                    </a:lnTo>
                    <a:lnTo>
                      <a:pt x="1586" y="2159"/>
                    </a:lnTo>
                    <a:lnTo>
                      <a:pt x="1596" y="2157"/>
                    </a:lnTo>
                    <a:lnTo>
                      <a:pt x="1619" y="2143"/>
                    </a:lnTo>
                    <a:lnTo>
                      <a:pt x="1662" y="2135"/>
                    </a:lnTo>
                    <a:lnTo>
                      <a:pt x="1674" y="2126"/>
                    </a:lnTo>
                    <a:lnTo>
                      <a:pt x="1688" y="2117"/>
                    </a:lnTo>
                    <a:lnTo>
                      <a:pt x="1695" y="2114"/>
                    </a:lnTo>
                    <a:lnTo>
                      <a:pt x="1692" y="2119"/>
                    </a:lnTo>
                    <a:lnTo>
                      <a:pt x="1695" y="2124"/>
                    </a:lnTo>
                    <a:lnTo>
                      <a:pt x="1702" y="2128"/>
                    </a:lnTo>
                    <a:lnTo>
                      <a:pt x="1707" y="2131"/>
                    </a:lnTo>
                    <a:lnTo>
                      <a:pt x="1709" y="2131"/>
                    </a:lnTo>
                    <a:lnTo>
                      <a:pt x="1711" y="2126"/>
                    </a:lnTo>
                    <a:lnTo>
                      <a:pt x="1711" y="2117"/>
                    </a:lnTo>
                    <a:lnTo>
                      <a:pt x="1714" y="2109"/>
                    </a:lnTo>
                    <a:lnTo>
                      <a:pt x="1716" y="2102"/>
                    </a:lnTo>
                    <a:lnTo>
                      <a:pt x="1718" y="2098"/>
                    </a:lnTo>
                    <a:lnTo>
                      <a:pt x="1726" y="2088"/>
                    </a:lnTo>
                    <a:lnTo>
                      <a:pt x="1737" y="2079"/>
                    </a:lnTo>
                    <a:lnTo>
                      <a:pt x="1752" y="2067"/>
                    </a:lnTo>
                    <a:lnTo>
                      <a:pt x="1761" y="2062"/>
                    </a:lnTo>
                    <a:lnTo>
                      <a:pt x="1768" y="2060"/>
                    </a:lnTo>
                    <a:lnTo>
                      <a:pt x="1775" y="2055"/>
                    </a:lnTo>
                    <a:lnTo>
                      <a:pt x="1789" y="2043"/>
                    </a:lnTo>
                    <a:lnTo>
                      <a:pt x="1794" y="2043"/>
                    </a:lnTo>
                    <a:lnTo>
                      <a:pt x="1804" y="2041"/>
                    </a:lnTo>
                    <a:lnTo>
                      <a:pt x="1806" y="2043"/>
                    </a:lnTo>
                    <a:lnTo>
                      <a:pt x="1806" y="2048"/>
                    </a:lnTo>
                    <a:lnTo>
                      <a:pt x="1808" y="2050"/>
                    </a:lnTo>
                    <a:lnTo>
                      <a:pt x="1815" y="2053"/>
                    </a:lnTo>
                    <a:lnTo>
                      <a:pt x="1822" y="2050"/>
                    </a:lnTo>
                    <a:lnTo>
                      <a:pt x="1822" y="2050"/>
                    </a:lnTo>
                    <a:lnTo>
                      <a:pt x="1818" y="2048"/>
                    </a:lnTo>
                    <a:lnTo>
                      <a:pt x="1815" y="2046"/>
                    </a:lnTo>
                    <a:lnTo>
                      <a:pt x="1813" y="2036"/>
                    </a:lnTo>
                    <a:lnTo>
                      <a:pt x="1808" y="2029"/>
                    </a:lnTo>
                    <a:lnTo>
                      <a:pt x="1808" y="2024"/>
                    </a:lnTo>
                    <a:lnTo>
                      <a:pt x="1813" y="2015"/>
                    </a:lnTo>
                    <a:lnTo>
                      <a:pt x="1820" y="1996"/>
                    </a:lnTo>
                    <a:lnTo>
                      <a:pt x="1827" y="1975"/>
                    </a:lnTo>
                    <a:lnTo>
                      <a:pt x="1832" y="1963"/>
                    </a:lnTo>
                    <a:lnTo>
                      <a:pt x="1841" y="1960"/>
                    </a:lnTo>
                    <a:lnTo>
                      <a:pt x="1860" y="1960"/>
                    </a:lnTo>
                    <a:lnTo>
                      <a:pt x="1851" y="1953"/>
                    </a:lnTo>
                    <a:lnTo>
                      <a:pt x="1848" y="1951"/>
                    </a:lnTo>
                    <a:lnTo>
                      <a:pt x="1841" y="1946"/>
                    </a:lnTo>
                    <a:lnTo>
                      <a:pt x="1841" y="1932"/>
                    </a:lnTo>
                    <a:lnTo>
                      <a:pt x="1844" y="1923"/>
                    </a:lnTo>
                    <a:lnTo>
                      <a:pt x="1851" y="1913"/>
                    </a:lnTo>
                    <a:lnTo>
                      <a:pt x="1872" y="1897"/>
                    </a:lnTo>
                    <a:lnTo>
                      <a:pt x="1891" y="1887"/>
                    </a:lnTo>
                    <a:lnTo>
                      <a:pt x="1891" y="1885"/>
                    </a:lnTo>
                    <a:lnTo>
                      <a:pt x="1889" y="1882"/>
                    </a:lnTo>
                    <a:lnTo>
                      <a:pt x="1903" y="1856"/>
                    </a:lnTo>
                    <a:lnTo>
                      <a:pt x="1915" y="1835"/>
                    </a:lnTo>
                    <a:lnTo>
                      <a:pt x="1900" y="1852"/>
                    </a:lnTo>
                    <a:lnTo>
                      <a:pt x="1884" y="1866"/>
                    </a:lnTo>
                    <a:lnTo>
                      <a:pt x="1841" y="1875"/>
                    </a:lnTo>
                    <a:lnTo>
                      <a:pt x="1813" y="1885"/>
                    </a:lnTo>
                    <a:lnTo>
                      <a:pt x="1801" y="1887"/>
                    </a:lnTo>
                    <a:lnTo>
                      <a:pt x="1794" y="1880"/>
                    </a:lnTo>
                    <a:lnTo>
                      <a:pt x="1789" y="1866"/>
                    </a:lnTo>
                    <a:lnTo>
                      <a:pt x="1787" y="1859"/>
                    </a:lnTo>
                    <a:lnTo>
                      <a:pt x="1785" y="1849"/>
                    </a:lnTo>
                    <a:lnTo>
                      <a:pt x="1789" y="1838"/>
                    </a:lnTo>
                    <a:lnTo>
                      <a:pt x="1794" y="1828"/>
                    </a:lnTo>
                    <a:lnTo>
                      <a:pt x="1804" y="1830"/>
                    </a:lnTo>
                    <a:lnTo>
                      <a:pt x="1811" y="1835"/>
                    </a:lnTo>
                    <a:lnTo>
                      <a:pt x="1820" y="1838"/>
                    </a:lnTo>
                    <a:lnTo>
                      <a:pt x="1811" y="1828"/>
                    </a:lnTo>
                    <a:lnTo>
                      <a:pt x="1799" y="1816"/>
                    </a:lnTo>
                    <a:lnTo>
                      <a:pt x="1792" y="1819"/>
                    </a:lnTo>
                    <a:lnTo>
                      <a:pt x="1782" y="1828"/>
                    </a:lnTo>
                    <a:lnTo>
                      <a:pt x="1775" y="1835"/>
                    </a:lnTo>
                    <a:lnTo>
                      <a:pt x="1768" y="1830"/>
                    </a:lnTo>
                    <a:lnTo>
                      <a:pt x="1766" y="1826"/>
                    </a:lnTo>
                    <a:lnTo>
                      <a:pt x="1766" y="1838"/>
                    </a:lnTo>
                    <a:lnTo>
                      <a:pt x="1759" y="1852"/>
                    </a:lnTo>
                    <a:lnTo>
                      <a:pt x="1754" y="1861"/>
                    </a:lnTo>
                    <a:lnTo>
                      <a:pt x="1756" y="1890"/>
                    </a:lnTo>
                    <a:lnTo>
                      <a:pt x="1752" y="1901"/>
                    </a:lnTo>
                    <a:lnTo>
                      <a:pt x="1740" y="1904"/>
                    </a:lnTo>
                    <a:lnTo>
                      <a:pt x="1730" y="1892"/>
                    </a:lnTo>
                    <a:lnTo>
                      <a:pt x="1718" y="1854"/>
                    </a:lnTo>
                    <a:lnTo>
                      <a:pt x="1714" y="1842"/>
                    </a:lnTo>
                    <a:lnTo>
                      <a:pt x="1702" y="1821"/>
                    </a:lnTo>
                    <a:lnTo>
                      <a:pt x="1697" y="1823"/>
                    </a:lnTo>
                    <a:lnTo>
                      <a:pt x="1688" y="1830"/>
                    </a:lnTo>
                    <a:lnTo>
                      <a:pt x="1681" y="1830"/>
                    </a:lnTo>
                    <a:lnTo>
                      <a:pt x="1666" y="1814"/>
                    </a:lnTo>
                    <a:lnTo>
                      <a:pt x="1662" y="1804"/>
                    </a:lnTo>
                    <a:lnTo>
                      <a:pt x="1657" y="1790"/>
                    </a:lnTo>
                    <a:lnTo>
                      <a:pt x="1645" y="1795"/>
                    </a:lnTo>
                    <a:lnTo>
                      <a:pt x="1633" y="1800"/>
                    </a:lnTo>
                    <a:lnTo>
                      <a:pt x="1619" y="1807"/>
                    </a:lnTo>
                    <a:lnTo>
                      <a:pt x="1612" y="1807"/>
                    </a:lnTo>
                    <a:lnTo>
                      <a:pt x="1588" y="1812"/>
                    </a:lnTo>
                    <a:lnTo>
                      <a:pt x="1586" y="1809"/>
                    </a:lnTo>
                    <a:lnTo>
                      <a:pt x="1581" y="1814"/>
                    </a:lnTo>
                    <a:lnTo>
                      <a:pt x="1577" y="1816"/>
                    </a:lnTo>
                    <a:lnTo>
                      <a:pt x="1572" y="1826"/>
                    </a:lnTo>
                    <a:lnTo>
                      <a:pt x="1544" y="1826"/>
                    </a:lnTo>
                    <a:lnTo>
                      <a:pt x="1515" y="1816"/>
                    </a:lnTo>
                    <a:lnTo>
                      <a:pt x="1527" y="1812"/>
                    </a:lnTo>
                    <a:lnTo>
                      <a:pt x="1539" y="1812"/>
                    </a:lnTo>
                    <a:lnTo>
                      <a:pt x="1551" y="1802"/>
                    </a:lnTo>
                    <a:lnTo>
                      <a:pt x="1551" y="1788"/>
                    </a:lnTo>
                    <a:lnTo>
                      <a:pt x="1553" y="1778"/>
                    </a:lnTo>
                    <a:lnTo>
                      <a:pt x="1555" y="1771"/>
                    </a:lnTo>
                    <a:lnTo>
                      <a:pt x="1567" y="1760"/>
                    </a:lnTo>
                    <a:lnTo>
                      <a:pt x="1558" y="1757"/>
                    </a:lnTo>
                    <a:lnTo>
                      <a:pt x="1548" y="1760"/>
                    </a:lnTo>
                    <a:lnTo>
                      <a:pt x="1546" y="1748"/>
                    </a:lnTo>
                    <a:lnTo>
                      <a:pt x="1548" y="1729"/>
                    </a:lnTo>
                    <a:lnTo>
                      <a:pt x="1558" y="1719"/>
                    </a:lnTo>
                    <a:lnTo>
                      <a:pt x="1562" y="1712"/>
                    </a:lnTo>
                    <a:lnTo>
                      <a:pt x="1570" y="1700"/>
                    </a:lnTo>
                    <a:lnTo>
                      <a:pt x="1572" y="1691"/>
                    </a:lnTo>
                    <a:lnTo>
                      <a:pt x="1570" y="1672"/>
                    </a:lnTo>
                    <a:lnTo>
                      <a:pt x="1565" y="1629"/>
                    </a:lnTo>
                    <a:lnTo>
                      <a:pt x="1565" y="1601"/>
                    </a:lnTo>
                    <a:lnTo>
                      <a:pt x="1555" y="1582"/>
                    </a:lnTo>
                    <a:lnTo>
                      <a:pt x="1572" y="1561"/>
                    </a:lnTo>
                    <a:lnTo>
                      <a:pt x="1586" y="1542"/>
                    </a:lnTo>
                    <a:lnTo>
                      <a:pt x="1603" y="1535"/>
                    </a:lnTo>
                    <a:lnTo>
                      <a:pt x="1603" y="1533"/>
                    </a:lnTo>
                    <a:lnTo>
                      <a:pt x="1596" y="1533"/>
                    </a:lnTo>
                    <a:lnTo>
                      <a:pt x="1588" y="1533"/>
                    </a:lnTo>
                    <a:lnTo>
                      <a:pt x="1584" y="1537"/>
                    </a:lnTo>
                    <a:lnTo>
                      <a:pt x="1577" y="1542"/>
                    </a:lnTo>
                    <a:lnTo>
                      <a:pt x="1555" y="1566"/>
                    </a:lnTo>
                    <a:lnTo>
                      <a:pt x="1544" y="1577"/>
                    </a:lnTo>
                    <a:lnTo>
                      <a:pt x="1536" y="1580"/>
                    </a:lnTo>
                    <a:lnTo>
                      <a:pt x="1544" y="1587"/>
                    </a:lnTo>
                    <a:lnTo>
                      <a:pt x="1546" y="1592"/>
                    </a:lnTo>
                    <a:lnTo>
                      <a:pt x="1544" y="1603"/>
                    </a:lnTo>
                    <a:lnTo>
                      <a:pt x="1539" y="1615"/>
                    </a:lnTo>
                    <a:lnTo>
                      <a:pt x="1534" y="1620"/>
                    </a:lnTo>
                    <a:lnTo>
                      <a:pt x="1522" y="1618"/>
                    </a:lnTo>
                    <a:lnTo>
                      <a:pt x="1510" y="1625"/>
                    </a:lnTo>
                    <a:lnTo>
                      <a:pt x="1484" y="1629"/>
                    </a:lnTo>
                    <a:lnTo>
                      <a:pt x="1449" y="1627"/>
                    </a:lnTo>
                    <a:lnTo>
                      <a:pt x="1435" y="1620"/>
                    </a:lnTo>
                    <a:lnTo>
                      <a:pt x="1421" y="1603"/>
                    </a:lnTo>
                    <a:lnTo>
                      <a:pt x="1423" y="1596"/>
                    </a:lnTo>
                    <a:lnTo>
                      <a:pt x="1425" y="1592"/>
                    </a:lnTo>
                    <a:lnTo>
                      <a:pt x="1409" y="1563"/>
                    </a:lnTo>
                    <a:lnTo>
                      <a:pt x="1402" y="1537"/>
                    </a:lnTo>
                    <a:lnTo>
                      <a:pt x="1392" y="1535"/>
                    </a:lnTo>
                    <a:lnTo>
                      <a:pt x="1385" y="1525"/>
                    </a:lnTo>
                    <a:lnTo>
                      <a:pt x="1378" y="1514"/>
                    </a:lnTo>
                    <a:lnTo>
                      <a:pt x="1380" y="1507"/>
                    </a:lnTo>
                    <a:lnTo>
                      <a:pt x="1385" y="1502"/>
                    </a:lnTo>
                    <a:lnTo>
                      <a:pt x="1378" y="1497"/>
                    </a:lnTo>
                    <a:lnTo>
                      <a:pt x="1371" y="1495"/>
                    </a:lnTo>
                    <a:lnTo>
                      <a:pt x="1364" y="1490"/>
                    </a:lnTo>
                    <a:lnTo>
                      <a:pt x="1395" y="1469"/>
                    </a:lnTo>
                    <a:lnTo>
                      <a:pt x="1409" y="1452"/>
                    </a:lnTo>
                    <a:lnTo>
                      <a:pt x="1416" y="1452"/>
                    </a:lnTo>
                    <a:lnTo>
                      <a:pt x="1423" y="1457"/>
                    </a:lnTo>
                    <a:lnTo>
                      <a:pt x="1432" y="1469"/>
                    </a:lnTo>
                    <a:lnTo>
                      <a:pt x="1442" y="1473"/>
                    </a:lnTo>
                    <a:lnTo>
                      <a:pt x="1444" y="1478"/>
                    </a:lnTo>
                    <a:lnTo>
                      <a:pt x="1444" y="1488"/>
                    </a:lnTo>
                    <a:lnTo>
                      <a:pt x="1437" y="1497"/>
                    </a:lnTo>
                    <a:lnTo>
                      <a:pt x="1432" y="1502"/>
                    </a:lnTo>
                    <a:lnTo>
                      <a:pt x="1437" y="1502"/>
                    </a:lnTo>
                    <a:lnTo>
                      <a:pt x="1454" y="1495"/>
                    </a:lnTo>
                    <a:lnTo>
                      <a:pt x="1466" y="1485"/>
                    </a:lnTo>
                    <a:lnTo>
                      <a:pt x="1468" y="1488"/>
                    </a:lnTo>
                    <a:lnTo>
                      <a:pt x="1470" y="1490"/>
                    </a:lnTo>
                    <a:lnTo>
                      <a:pt x="1473" y="1502"/>
                    </a:lnTo>
                    <a:lnTo>
                      <a:pt x="1477" y="1516"/>
                    </a:lnTo>
                    <a:lnTo>
                      <a:pt x="1494" y="1509"/>
                    </a:lnTo>
                    <a:lnTo>
                      <a:pt x="1503" y="1497"/>
                    </a:lnTo>
                    <a:lnTo>
                      <a:pt x="1499" y="1490"/>
                    </a:lnTo>
                    <a:lnTo>
                      <a:pt x="1494" y="1485"/>
                    </a:lnTo>
                    <a:lnTo>
                      <a:pt x="1475" y="1476"/>
                    </a:lnTo>
                    <a:lnTo>
                      <a:pt x="1480" y="1473"/>
                    </a:lnTo>
                    <a:lnTo>
                      <a:pt x="1494" y="1476"/>
                    </a:lnTo>
                    <a:lnTo>
                      <a:pt x="1499" y="1473"/>
                    </a:lnTo>
                    <a:lnTo>
                      <a:pt x="1494" y="1469"/>
                    </a:lnTo>
                    <a:lnTo>
                      <a:pt x="1489" y="1462"/>
                    </a:lnTo>
                    <a:lnTo>
                      <a:pt x="1470" y="1471"/>
                    </a:lnTo>
                    <a:lnTo>
                      <a:pt x="1440" y="1462"/>
                    </a:lnTo>
                    <a:lnTo>
                      <a:pt x="1421" y="1447"/>
                    </a:lnTo>
                    <a:lnTo>
                      <a:pt x="1399" y="1443"/>
                    </a:lnTo>
                    <a:lnTo>
                      <a:pt x="1395" y="1440"/>
                    </a:lnTo>
                    <a:lnTo>
                      <a:pt x="1392" y="1436"/>
                    </a:lnTo>
                    <a:lnTo>
                      <a:pt x="1409" y="1428"/>
                    </a:lnTo>
                    <a:lnTo>
                      <a:pt x="1418" y="1424"/>
                    </a:lnTo>
                    <a:lnTo>
                      <a:pt x="1421" y="1421"/>
                    </a:lnTo>
                    <a:lnTo>
                      <a:pt x="1416" y="1419"/>
                    </a:lnTo>
                    <a:lnTo>
                      <a:pt x="1404" y="1419"/>
                    </a:lnTo>
                    <a:lnTo>
                      <a:pt x="1402" y="1412"/>
                    </a:lnTo>
                    <a:lnTo>
                      <a:pt x="1406" y="1405"/>
                    </a:lnTo>
                    <a:lnTo>
                      <a:pt x="1404" y="1405"/>
                    </a:lnTo>
                    <a:lnTo>
                      <a:pt x="1399" y="1407"/>
                    </a:lnTo>
                    <a:lnTo>
                      <a:pt x="1395" y="1405"/>
                    </a:lnTo>
                    <a:lnTo>
                      <a:pt x="1390" y="1400"/>
                    </a:lnTo>
                    <a:lnTo>
                      <a:pt x="1395" y="1395"/>
                    </a:lnTo>
                    <a:lnTo>
                      <a:pt x="1402" y="1391"/>
                    </a:lnTo>
                    <a:lnTo>
                      <a:pt x="1399" y="1391"/>
                    </a:lnTo>
                    <a:lnTo>
                      <a:pt x="1395" y="1391"/>
                    </a:lnTo>
                    <a:lnTo>
                      <a:pt x="1388" y="1395"/>
                    </a:lnTo>
                    <a:lnTo>
                      <a:pt x="1388" y="1402"/>
                    </a:lnTo>
                    <a:lnTo>
                      <a:pt x="1385" y="1412"/>
                    </a:lnTo>
                    <a:lnTo>
                      <a:pt x="1378" y="1410"/>
                    </a:lnTo>
                    <a:lnTo>
                      <a:pt x="1373" y="1407"/>
                    </a:lnTo>
                    <a:lnTo>
                      <a:pt x="1371" y="1398"/>
                    </a:lnTo>
                    <a:lnTo>
                      <a:pt x="1371" y="1379"/>
                    </a:lnTo>
                    <a:lnTo>
                      <a:pt x="1362" y="1369"/>
                    </a:lnTo>
                    <a:lnTo>
                      <a:pt x="1362" y="1360"/>
                    </a:lnTo>
                    <a:lnTo>
                      <a:pt x="1373" y="1348"/>
                    </a:lnTo>
                    <a:lnTo>
                      <a:pt x="1371" y="1341"/>
                    </a:lnTo>
                    <a:lnTo>
                      <a:pt x="1364" y="1336"/>
                    </a:lnTo>
                    <a:lnTo>
                      <a:pt x="1354" y="1341"/>
                    </a:lnTo>
                    <a:lnTo>
                      <a:pt x="1352" y="1334"/>
                    </a:lnTo>
                    <a:lnTo>
                      <a:pt x="1352" y="1327"/>
                    </a:lnTo>
                    <a:lnTo>
                      <a:pt x="1354" y="1320"/>
                    </a:lnTo>
                    <a:lnTo>
                      <a:pt x="1357" y="1320"/>
                    </a:lnTo>
                    <a:lnTo>
                      <a:pt x="1359" y="1322"/>
                    </a:lnTo>
                    <a:lnTo>
                      <a:pt x="1378" y="1322"/>
                    </a:lnTo>
                    <a:lnTo>
                      <a:pt x="1380" y="1320"/>
                    </a:lnTo>
                    <a:lnTo>
                      <a:pt x="1369" y="1308"/>
                    </a:lnTo>
                    <a:lnTo>
                      <a:pt x="1366" y="1301"/>
                    </a:lnTo>
                    <a:lnTo>
                      <a:pt x="1373" y="1296"/>
                    </a:lnTo>
                    <a:lnTo>
                      <a:pt x="1385" y="1301"/>
                    </a:lnTo>
                    <a:lnTo>
                      <a:pt x="1402" y="1301"/>
                    </a:lnTo>
                    <a:lnTo>
                      <a:pt x="1397" y="1289"/>
                    </a:lnTo>
                    <a:lnTo>
                      <a:pt x="1397" y="1284"/>
                    </a:lnTo>
                    <a:lnTo>
                      <a:pt x="1399" y="1277"/>
                    </a:lnTo>
                    <a:lnTo>
                      <a:pt x="1404" y="1265"/>
                    </a:lnTo>
                    <a:lnTo>
                      <a:pt x="1430" y="1242"/>
                    </a:lnTo>
                    <a:lnTo>
                      <a:pt x="1454" y="1223"/>
                    </a:lnTo>
                    <a:lnTo>
                      <a:pt x="1461" y="1218"/>
                    </a:lnTo>
                    <a:lnTo>
                      <a:pt x="1468" y="1218"/>
                    </a:lnTo>
                    <a:lnTo>
                      <a:pt x="1475" y="1223"/>
                    </a:lnTo>
                    <a:lnTo>
                      <a:pt x="1482" y="1230"/>
                    </a:lnTo>
                    <a:lnTo>
                      <a:pt x="1482" y="1227"/>
                    </a:lnTo>
                    <a:lnTo>
                      <a:pt x="1482" y="1225"/>
                    </a:lnTo>
                    <a:lnTo>
                      <a:pt x="1482" y="1213"/>
                    </a:lnTo>
                    <a:lnTo>
                      <a:pt x="1492" y="1213"/>
                    </a:lnTo>
                    <a:lnTo>
                      <a:pt x="1501" y="1204"/>
                    </a:lnTo>
                    <a:lnTo>
                      <a:pt x="1503" y="1201"/>
                    </a:lnTo>
                    <a:lnTo>
                      <a:pt x="1494" y="1204"/>
                    </a:lnTo>
                    <a:lnTo>
                      <a:pt x="1487" y="1209"/>
                    </a:lnTo>
                    <a:lnTo>
                      <a:pt x="1487" y="1201"/>
                    </a:lnTo>
                    <a:lnTo>
                      <a:pt x="1489" y="1183"/>
                    </a:lnTo>
                    <a:lnTo>
                      <a:pt x="1499" y="1168"/>
                    </a:lnTo>
                    <a:lnTo>
                      <a:pt x="1501" y="1161"/>
                    </a:lnTo>
                    <a:lnTo>
                      <a:pt x="1510" y="1154"/>
                    </a:lnTo>
                    <a:lnTo>
                      <a:pt x="1527" y="1157"/>
                    </a:lnTo>
                    <a:lnTo>
                      <a:pt x="1529" y="1159"/>
                    </a:lnTo>
                    <a:lnTo>
                      <a:pt x="1532" y="1157"/>
                    </a:lnTo>
                    <a:lnTo>
                      <a:pt x="1525" y="1142"/>
                    </a:lnTo>
                    <a:lnTo>
                      <a:pt x="1529" y="1135"/>
                    </a:lnTo>
                    <a:lnTo>
                      <a:pt x="1534" y="1133"/>
                    </a:lnTo>
                    <a:lnTo>
                      <a:pt x="1555" y="1131"/>
                    </a:lnTo>
                    <a:lnTo>
                      <a:pt x="1567" y="1135"/>
                    </a:lnTo>
                    <a:lnTo>
                      <a:pt x="1577" y="1147"/>
                    </a:lnTo>
                    <a:lnTo>
                      <a:pt x="1581" y="1159"/>
                    </a:lnTo>
                    <a:lnTo>
                      <a:pt x="1579" y="1164"/>
                    </a:lnTo>
                    <a:lnTo>
                      <a:pt x="1577" y="1166"/>
                    </a:lnTo>
                    <a:lnTo>
                      <a:pt x="1572" y="1168"/>
                    </a:lnTo>
                    <a:lnTo>
                      <a:pt x="1570" y="1171"/>
                    </a:lnTo>
                    <a:lnTo>
                      <a:pt x="1570" y="1173"/>
                    </a:lnTo>
                    <a:lnTo>
                      <a:pt x="1577" y="1168"/>
                    </a:lnTo>
                    <a:lnTo>
                      <a:pt x="1588" y="1164"/>
                    </a:lnTo>
                    <a:lnTo>
                      <a:pt x="1593" y="1168"/>
                    </a:lnTo>
                    <a:lnTo>
                      <a:pt x="1596" y="1175"/>
                    </a:lnTo>
                    <a:lnTo>
                      <a:pt x="1600" y="1175"/>
                    </a:lnTo>
                    <a:lnTo>
                      <a:pt x="1617" y="1175"/>
                    </a:lnTo>
                    <a:lnTo>
                      <a:pt x="1626" y="1173"/>
                    </a:lnTo>
                    <a:lnTo>
                      <a:pt x="1638" y="1161"/>
                    </a:lnTo>
                    <a:lnTo>
                      <a:pt x="1652" y="1157"/>
                    </a:lnTo>
                    <a:lnTo>
                      <a:pt x="1676" y="1135"/>
                    </a:lnTo>
                    <a:lnTo>
                      <a:pt x="1683" y="1123"/>
                    </a:lnTo>
                    <a:lnTo>
                      <a:pt x="1690" y="1123"/>
                    </a:lnTo>
                    <a:lnTo>
                      <a:pt x="1695" y="1126"/>
                    </a:lnTo>
                    <a:lnTo>
                      <a:pt x="1697" y="1138"/>
                    </a:lnTo>
                    <a:lnTo>
                      <a:pt x="1702" y="1140"/>
                    </a:lnTo>
                    <a:lnTo>
                      <a:pt x="1733" y="1147"/>
                    </a:lnTo>
                    <a:lnTo>
                      <a:pt x="1749" y="1145"/>
                    </a:lnTo>
                    <a:lnTo>
                      <a:pt x="1761" y="1140"/>
                    </a:lnTo>
                    <a:lnTo>
                      <a:pt x="1775" y="1128"/>
                    </a:lnTo>
                    <a:lnTo>
                      <a:pt x="1785" y="1119"/>
                    </a:lnTo>
                    <a:lnTo>
                      <a:pt x="1792" y="1107"/>
                    </a:lnTo>
                    <a:lnTo>
                      <a:pt x="1792" y="1088"/>
                    </a:lnTo>
                    <a:lnTo>
                      <a:pt x="1792" y="1074"/>
                    </a:lnTo>
                    <a:lnTo>
                      <a:pt x="1794" y="1041"/>
                    </a:lnTo>
                    <a:lnTo>
                      <a:pt x="1785" y="1017"/>
                    </a:lnTo>
                    <a:lnTo>
                      <a:pt x="1775" y="1008"/>
                    </a:lnTo>
                    <a:lnTo>
                      <a:pt x="1768" y="1005"/>
                    </a:lnTo>
                    <a:lnTo>
                      <a:pt x="1775" y="993"/>
                    </a:lnTo>
                    <a:lnTo>
                      <a:pt x="1789" y="998"/>
                    </a:lnTo>
                    <a:lnTo>
                      <a:pt x="1799" y="998"/>
                    </a:lnTo>
                    <a:lnTo>
                      <a:pt x="1808" y="993"/>
                    </a:lnTo>
                    <a:lnTo>
                      <a:pt x="1813" y="989"/>
                    </a:lnTo>
                    <a:lnTo>
                      <a:pt x="1818" y="979"/>
                    </a:lnTo>
                    <a:lnTo>
                      <a:pt x="1820" y="970"/>
                    </a:lnTo>
                    <a:lnTo>
                      <a:pt x="1820" y="963"/>
                    </a:lnTo>
                    <a:lnTo>
                      <a:pt x="1815" y="956"/>
                    </a:lnTo>
                    <a:lnTo>
                      <a:pt x="1811" y="944"/>
                    </a:lnTo>
                    <a:lnTo>
                      <a:pt x="1808" y="939"/>
                    </a:lnTo>
                    <a:lnTo>
                      <a:pt x="1806" y="939"/>
                    </a:lnTo>
                    <a:lnTo>
                      <a:pt x="1782" y="953"/>
                    </a:lnTo>
                    <a:lnTo>
                      <a:pt x="1773" y="951"/>
                    </a:lnTo>
                    <a:lnTo>
                      <a:pt x="1766" y="946"/>
                    </a:lnTo>
                    <a:lnTo>
                      <a:pt x="1756" y="956"/>
                    </a:lnTo>
                    <a:lnTo>
                      <a:pt x="1735" y="960"/>
                    </a:lnTo>
                    <a:lnTo>
                      <a:pt x="1721" y="967"/>
                    </a:lnTo>
                    <a:lnTo>
                      <a:pt x="1697" y="986"/>
                    </a:lnTo>
                    <a:lnTo>
                      <a:pt x="1690" y="996"/>
                    </a:lnTo>
                    <a:lnTo>
                      <a:pt x="1683" y="993"/>
                    </a:lnTo>
                    <a:lnTo>
                      <a:pt x="1683" y="972"/>
                    </a:lnTo>
                    <a:lnTo>
                      <a:pt x="1669" y="946"/>
                    </a:lnTo>
                    <a:lnTo>
                      <a:pt x="1662" y="951"/>
                    </a:lnTo>
                    <a:lnTo>
                      <a:pt x="1662" y="958"/>
                    </a:lnTo>
                    <a:lnTo>
                      <a:pt x="1666" y="965"/>
                    </a:lnTo>
                    <a:lnTo>
                      <a:pt x="1674" y="967"/>
                    </a:lnTo>
                    <a:lnTo>
                      <a:pt x="1669" y="972"/>
                    </a:lnTo>
                    <a:lnTo>
                      <a:pt x="1664" y="982"/>
                    </a:lnTo>
                    <a:lnTo>
                      <a:pt x="1657" y="972"/>
                    </a:lnTo>
                    <a:lnTo>
                      <a:pt x="1648" y="956"/>
                    </a:lnTo>
                    <a:lnTo>
                      <a:pt x="1633" y="946"/>
                    </a:lnTo>
                    <a:lnTo>
                      <a:pt x="1598" y="937"/>
                    </a:lnTo>
                    <a:lnTo>
                      <a:pt x="1570" y="941"/>
                    </a:lnTo>
                    <a:lnTo>
                      <a:pt x="1570" y="939"/>
                    </a:lnTo>
                    <a:lnTo>
                      <a:pt x="1567" y="937"/>
                    </a:lnTo>
                    <a:lnTo>
                      <a:pt x="1562" y="939"/>
                    </a:lnTo>
                    <a:lnTo>
                      <a:pt x="1558" y="941"/>
                    </a:lnTo>
                    <a:lnTo>
                      <a:pt x="1555" y="944"/>
                    </a:lnTo>
                    <a:lnTo>
                      <a:pt x="1551" y="944"/>
                    </a:lnTo>
                    <a:lnTo>
                      <a:pt x="1541" y="939"/>
                    </a:lnTo>
                    <a:lnTo>
                      <a:pt x="1525" y="927"/>
                    </a:lnTo>
                    <a:lnTo>
                      <a:pt x="1484" y="904"/>
                    </a:lnTo>
                    <a:lnTo>
                      <a:pt x="1475" y="894"/>
                    </a:lnTo>
                    <a:lnTo>
                      <a:pt x="1468" y="878"/>
                    </a:lnTo>
                    <a:lnTo>
                      <a:pt x="1473" y="866"/>
                    </a:lnTo>
                    <a:lnTo>
                      <a:pt x="1477" y="863"/>
                    </a:lnTo>
                    <a:lnTo>
                      <a:pt x="1482" y="849"/>
                    </a:lnTo>
                    <a:lnTo>
                      <a:pt x="1475" y="842"/>
                    </a:lnTo>
                    <a:lnTo>
                      <a:pt x="1463" y="816"/>
                    </a:lnTo>
                    <a:lnTo>
                      <a:pt x="1461" y="807"/>
                    </a:lnTo>
                    <a:lnTo>
                      <a:pt x="1463" y="807"/>
                    </a:lnTo>
                    <a:lnTo>
                      <a:pt x="1466" y="809"/>
                    </a:lnTo>
                    <a:lnTo>
                      <a:pt x="1470" y="811"/>
                    </a:lnTo>
                    <a:lnTo>
                      <a:pt x="1484" y="814"/>
                    </a:lnTo>
                    <a:lnTo>
                      <a:pt x="1494" y="802"/>
                    </a:lnTo>
                    <a:lnTo>
                      <a:pt x="1506" y="802"/>
                    </a:lnTo>
                    <a:lnTo>
                      <a:pt x="1515" y="807"/>
                    </a:lnTo>
                    <a:lnTo>
                      <a:pt x="1513" y="802"/>
                    </a:lnTo>
                    <a:lnTo>
                      <a:pt x="1513" y="797"/>
                    </a:lnTo>
                    <a:lnTo>
                      <a:pt x="1489" y="783"/>
                    </a:lnTo>
                    <a:lnTo>
                      <a:pt x="1484" y="785"/>
                    </a:lnTo>
                    <a:lnTo>
                      <a:pt x="1444" y="759"/>
                    </a:lnTo>
                    <a:lnTo>
                      <a:pt x="1416" y="726"/>
                    </a:lnTo>
                    <a:lnTo>
                      <a:pt x="1414" y="721"/>
                    </a:lnTo>
                    <a:lnTo>
                      <a:pt x="1414" y="712"/>
                    </a:lnTo>
                    <a:lnTo>
                      <a:pt x="1423" y="703"/>
                    </a:lnTo>
                    <a:lnTo>
                      <a:pt x="1428" y="700"/>
                    </a:lnTo>
                    <a:lnTo>
                      <a:pt x="1428" y="705"/>
                    </a:lnTo>
                    <a:lnTo>
                      <a:pt x="1425" y="712"/>
                    </a:lnTo>
                    <a:lnTo>
                      <a:pt x="1449" y="707"/>
                    </a:lnTo>
                    <a:lnTo>
                      <a:pt x="1466" y="695"/>
                    </a:lnTo>
                    <a:lnTo>
                      <a:pt x="1484" y="698"/>
                    </a:lnTo>
                    <a:lnTo>
                      <a:pt x="1492" y="695"/>
                    </a:lnTo>
                    <a:lnTo>
                      <a:pt x="1499" y="691"/>
                    </a:lnTo>
                    <a:lnTo>
                      <a:pt x="1513" y="679"/>
                    </a:lnTo>
                    <a:lnTo>
                      <a:pt x="1527" y="677"/>
                    </a:lnTo>
                    <a:lnTo>
                      <a:pt x="1536" y="672"/>
                    </a:lnTo>
                    <a:lnTo>
                      <a:pt x="1551" y="672"/>
                    </a:lnTo>
                    <a:lnTo>
                      <a:pt x="1558" y="681"/>
                    </a:lnTo>
                    <a:lnTo>
                      <a:pt x="1560" y="684"/>
                    </a:lnTo>
                    <a:lnTo>
                      <a:pt x="1577" y="688"/>
                    </a:lnTo>
                    <a:lnTo>
                      <a:pt x="1584" y="688"/>
                    </a:lnTo>
                    <a:lnTo>
                      <a:pt x="1586" y="686"/>
                    </a:lnTo>
                    <a:lnTo>
                      <a:pt x="1588" y="684"/>
                    </a:lnTo>
                    <a:lnTo>
                      <a:pt x="1574" y="667"/>
                    </a:lnTo>
                    <a:lnTo>
                      <a:pt x="1579" y="662"/>
                    </a:lnTo>
                    <a:lnTo>
                      <a:pt x="1581" y="658"/>
                    </a:lnTo>
                    <a:lnTo>
                      <a:pt x="1605" y="651"/>
                    </a:lnTo>
                    <a:lnTo>
                      <a:pt x="1622" y="651"/>
                    </a:lnTo>
                    <a:lnTo>
                      <a:pt x="1629" y="653"/>
                    </a:lnTo>
                    <a:lnTo>
                      <a:pt x="1657" y="641"/>
                    </a:lnTo>
                    <a:lnTo>
                      <a:pt x="1671" y="641"/>
                    </a:lnTo>
                    <a:lnTo>
                      <a:pt x="1697" y="643"/>
                    </a:lnTo>
                    <a:lnTo>
                      <a:pt x="1716" y="648"/>
                    </a:lnTo>
                    <a:lnTo>
                      <a:pt x="1721" y="658"/>
                    </a:lnTo>
                    <a:lnTo>
                      <a:pt x="1709" y="653"/>
                    </a:lnTo>
                    <a:lnTo>
                      <a:pt x="1704" y="653"/>
                    </a:lnTo>
                    <a:lnTo>
                      <a:pt x="1707" y="655"/>
                    </a:lnTo>
                    <a:lnTo>
                      <a:pt x="1709" y="660"/>
                    </a:lnTo>
                    <a:lnTo>
                      <a:pt x="1707" y="667"/>
                    </a:lnTo>
                    <a:lnTo>
                      <a:pt x="1697" y="681"/>
                    </a:lnTo>
                    <a:lnTo>
                      <a:pt x="1692" y="695"/>
                    </a:lnTo>
                    <a:lnTo>
                      <a:pt x="1688" y="698"/>
                    </a:lnTo>
                    <a:lnTo>
                      <a:pt x="1681" y="703"/>
                    </a:lnTo>
                    <a:lnTo>
                      <a:pt x="1697" y="729"/>
                    </a:lnTo>
                    <a:lnTo>
                      <a:pt x="1728" y="738"/>
                    </a:lnTo>
                    <a:lnTo>
                      <a:pt x="1747" y="738"/>
                    </a:lnTo>
                    <a:lnTo>
                      <a:pt x="1754" y="748"/>
                    </a:lnTo>
                    <a:lnTo>
                      <a:pt x="1761" y="752"/>
                    </a:lnTo>
                    <a:lnTo>
                      <a:pt x="1785" y="755"/>
                    </a:lnTo>
                    <a:lnTo>
                      <a:pt x="1801" y="762"/>
                    </a:lnTo>
                    <a:lnTo>
                      <a:pt x="1808" y="762"/>
                    </a:lnTo>
                    <a:lnTo>
                      <a:pt x="1832" y="738"/>
                    </a:lnTo>
                    <a:lnTo>
                      <a:pt x="1839" y="733"/>
                    </a:lnTo>
                    <a:lnTo>
                      <a:pt x="1844" y="740"/>
                    </a:lnTo>
                    <a:lnTo>
                      <a:pt x="1851" y="748"/>
                    </a:lnTo>
                    <a:lnTo>
                      <a:pt x="1858" y="745"/>
                    </a:lnTo>
                    <a:lnTo>
                      <a:pt x="1860" y="755"/>
                    </a:lnTo>
                    <a:lnTo>
                      <a:pt x="1863" y="738"/>
                    </a:lnTo>
                    <a:lnTo>
                      <a:pt x="1860" y="731"/>
                    </a:lnTo>
                    <a:lnTo>
                      <a:pt x="1839" y="714"/>
                    </a:lnTo>
                    <a:lnTo>
                      <a:pt x="1820" y="714"/>
                    </a:lnTo>
                    <a:lnTo>
                      <a:pt x="1815" y="707"/>
                    </a:lnTo>
                    <a:lnTo>
                      <a:pt x="1820" y="695"/>
                    </a:lnTo>
                    <a:lnTo>
                      <a:pt x="1811" y="662"/>
                    </a:lnTo>
                    <a:lnTo>
                      <a:pt x="1804" y="653"/>
                    </a:lnTo>
                    <a:lnTo>
                      <a:pt x="1796" y="651"/>
                    </a:lnTo>
                    <a:lnTo>
                      <a:pt x="1794" y="639"/>
                    </a:lnTo>
                    <a:lnTo>
                      <a:pt x="1794" y="625"/>
                    </a:lnTo>
                    <a:lnTo>
                      <a:pt x="1804" y="622"/>
                    </a:lnTo>
                    <a:lnTo>
                      <a:pt x="1811" y="622"/>
                    </a:lnTo>
                    <a:lnTo>
                      <a:pt x="1815" y="627"/>
                    </a:lnTo>
                    <a:lnTo>
                      <a:pt x="1818" y="646"/>
                    </a:lnTo>
                    <a:lnTo>
                      <a:pt x="1825" y="651"/>
                    </a:lnTo>
                    <a:lnTo>
                      <a:pt x="1818" y="667"/>
                    </a:lnTo>
                    <a:lnTo>
                      <a:pt x="1822" y="686"/>
                    </a:lnTo>
                    <a:lnTo>
                      <a:pt x="1837" y="705"/>
                    </a:lnTo>
                    <a:lnTo>
                      <a:pt x="1853" y="705"/>
                    </a:lnTo>
                    <a:lnTo>
                      <a:pt x="1865" y="707"/>
                    </a:lnTo>
                    <a:lnTo>
                      <a:pt x="1870" y="712"/>
                    </a:lnTo>
                    <a:lnTo>
                      <a:pt x="1882" y="729"/>
                    </a:lnTo>
                    <a:lnTo>
                      <a:pt x="1891" y="733"/>
                    </a:lnTo>
                    <a:lnTo>
                      <a:pt x="1917" y="731"/>
                    </a:lnTo>
                    <a:lnTo>
                      <a:pt x="1919" y="719"/>
                    </a:lnTo>
                    <a:lnTo>
                      <a:pt x="1919" y="707"/>
                    </a:lnTo>
                    <a:lnTo>
                      <a:pt x="1917" y="700"/>
                    </a:lnTo>
                    <a:lnTo>
                      <a:pt x="1898" y="698"/>
                    </a:lnTo>
                    <a:lnTo>
                      <a:pt x="1889" y="684"/>
                    </a:lnTo>
                    <a:lnTo>
                      <a:pt x="1877" y="684"/>
                    </a:lnTo>
                    <a:lnTo>
                      <a:pt x="1853" y="695"/>
                    </a:lnTo>
                    <a:lnTo>
                      <a:pt x="1844" y="686"/>
                    </a:lnTo>
                    <a:lnTo>
                      <a:pt x="1839" y="677"/>
                    </a:lnTo>
                    <a:lnTo>
                      <a:pt x="1830" y="665"/>
                    </a:lnTo>
                    <a:lnTo>
                      <a:pt x="1832" y="651"/>
                    </a:lnTo>
                    <a:lnTo>
                      <a:pt x="1846" y="634"/>
                    </a:lnTo>
                    <a:lnTo>
                      <a:pt x="1856" y="627"/>
                    </a:lnTo>
                    <a:lnTo>
                      <a:pt x="1851" y="620"/>
                    </a:lnTo>
                    <a:lnTo>
                      <a:pt x="1837" y="613"/>
                    </a:lnTo>
                    <a:lnTo>
                      <a:pt x="1811" y="610"/>
                    </a:lnTo>
                    <a:lnTo>
                      <a:pt x="1811" y="603"/>
                    </a:lnTo>
                    <a:lnTo>
                      <a:pt x="1813" y="596"/>
                    </a:lnTo>
                    <a:lnTo>
                      <a:pt x="1799" y="608"/>
                    </a:lnTo>
                    <a:lnTo>
                      <a:pt x="1789" y="601"/>
                    </a:lnTo>
                    <a:lnTo>
                      <a:pt x="1775" y="599"/>
                    </a:lnTo>
                    <a:lnTo>
                      <a:pt x="1747" y="580"/>
                    </a:lnTo>
                    <a:lnTo>
                      <a:pt x="1740" y="563"/>
                    </a:lnTo>
                    <a:lnTo>
                      <a:pt x="1740" y="549"/>
                    </a:lnTo>
                    <a:lnTo>
                      <a:pt x="1740" y="516"/>
                    </a:lnTo>
                    <a:lnTo>
                      <a:pt x="1735" y="495"/>
                    </a:lnTo>
                    <a:lnTo>
                      <a:pt x="1683" y="407"/>
                    </a:lnTo>
                    <a:lnTo>
                      <a:pt x="1655" y="381"/>
                    </a:lnTo>
                    <a:lnTo>
                      <a:pt x="1645" y="357"/>
                    </a:lnTo>
                    <a:lnTo>
                      <a:pt x="1636" y="350"/>
                    </a:lnTo>
                    <a:lnTo>
                      <a:pt x="1629" y="346"/>
                    </a:lnTo>
                    <a:lnTo>
                      <a:pt x="1619" y="336"/>
                    </a:lnTo>
                    <a:lnTo>
                      <a:pt x="1629" y="331"/>
                    </a:lnTo>
                    <a:lnTo>
                      <a:pt x="1633" y="331"/>
                    </a:lnTo>
                    <a:lnTo>
                      <a:pt x="1626" y="336"/>
                    </a:lnTo>
                    <a:lnTo>
                      <a:pt x="1631" y="341"/>
                    </a:lnTo>
                    <a:lnTo>
                      <a:pt x="1638" y="338"/>
                    </a:lnTo>
                    <a:lnTo>
                      <a:pt x="1643" y="334"/>
                    </a:lnTo>
                    <a:lnTo>
                      <a:pt x="1657" y="312"/>
                    </a:lnTo>
                    <a:lnTo>
                      <a:pt x="1671" y="279"/>
                    </a:lnTo>
                    <a:lnTo>
                      <a:pt x="1674" y="268"/>
                    </a:lnTo>
                    <a:lnTo>
                      <a:pt x="1711" y="282"/>
                    </a:lnTo>
                    <a:lnTo>
                      <a:pt x="1737" y="286"/>
                    </a:lnTo>
                    <a:lnTo>
                      <a:pt x="1747" y="286"/>
                    </a:lnTo>
                    <a:lnTo>
                      <a:pt x="1782" y="289"/>
                    </a:lnTo>
                    <a:lnTo>
                      <a:pt x="1792" y="289"/>
                    </a:lnTo>
                    <a:lnTo>
                      <a:pt x="1811" y="282"/>
                    </a:lnTo>
                    <a:lnTo>
                      <a:pt x="1834" y="265"/>
                    </a:lnTo>
                    <a:lnTo>
                      <a:pt x="1858" y="242"/>
                    </a:lnTo>
                    <a:lnTo>
                      <a:pt x="1860" y="237"/>
                    </a:lnTo>
                    <a:lnTo>
                      <a:pt x="1863" y="239"/>
                    </a:lnTo>
                    <a:lnTo>
                      <a:pt x="1863" y="237"/>
                    </a:lnTo>
                    <a:lnTo>
                      <a:pt x="1867" y="227"/>
                    </a:lnTo>
                    <a:lnTo>
                      <a:pt x="1877" y="204"/>
                    </a:lnTo>
                    <a:lnTo>
                      <a:pt x="1891" y="182"/>
                    </a:lnTo>
                    <a:lnTo>
                      <a:pt x="1936" y="140"/>
                    </a:lnTo>
                    <a:lnTo>
                      <a:pt x="1957" y="121"/>
                    </a:lnTo>
                    <a:lnTo>
                      <a:pt x="1964" y="114"/>
                    </a:lnTo>
                    <a:lnTo>
                      <a:pt x="1971" y="109"/>
                    </a:lnTo>
                    <a:lnTo>
                      <a:pt x="1974" y="116"/>
                    </a:lnTo>
                    <a:lnTo>
                      <a:pt x="1974" y="119"/>
                    </a:lnTo>
                    <a:lnTo>
                      <a:pt x="1974" y="121"/>
                    </a:lnTo>
                    <a:lnTo>
                      <a:pt x="1971" y="121"/>
                    </a:lnTo>
                    <a:lnTo>
                      <a:pt x="1964" y="128"/>
                    </a:lnTo>
                    <a:lnTo>
                      <a:pt x="1957" y="130"/>
                    </a:lnTo>
                    <a:lnTo>
                      <a:pt x="1955" y="133"/>
                    </a:lnTo>
                    <a:lnTo>
                      <a:pt x="1957" y="133"/>
                    </a:lnTo>
                    <a:lnTo>
                      <a:pt x="1971" y="130"/>
                    </a:lnTo>
                    <a:lnTo>
                      <a:pt x="1981" y="126"/>
                    </a:lnTo>
                    <a:lnTo>
                      <a:pt x="2016" y="123"/>
                    </a:lnTo>
                    <a:lnTo>
                      <a:pt x="2040" y="111"/>
                    </a:lnTo>
                    <a:lnTo>
                      <a:pt x="2042" y="107"/>
                    </a:lnTo>
                    <a:lnTo>
                      <a:pt x="2075" y="90"/>
                    </a:lnTo>
                    <a:lnTo>
                      <a:pt x="2078" y="93"/>
                    </a:lnTo>
                    <a:lnTo>
                      <a:pt x="2082" y="95"/>
                    </a:lnTo>
                    <a:lnTo>
                      <a:pt x="2071" y="109"/>
                    </a:lnTo>
                    <a:lnTo>
                      <a:pt x="2075" y="114"/>
                    </a:lnTo>
                    <a:lnTo>
                      <a:pt x="2066" y="130"/>
                    </a:lnTo>
                    <a:lnTo>
                      <a:pt x="2075" y="133"/>
                    </a:lnTo>
                    <a:lnTo>
                      <a:pt x="2078" y="142"/>
                    </a:lnTo>
                    <a:lnTo>
                      <a:pt x="2078" y="135"/>
                    </a:lnTo>
                    <a:lnTo>
                      <a:pt x="2080" y="126"/>
                    </a:lnTo>
                    <a:lnTo>
                      <a:pt x="2085" y="116"/>
                    </a:lnTo>
                    <a:lnTo>
                      <a:pt x="2087" y="109"/>
                    </a:lnTo>
                    <a:lnTo>
                      <a:pt x="2094" y="114"/>
                    </a:lnTo>
                    <a:lnTo>
                      <a:pt x="2111" y="109"/>
                    </a:lnTo>
                    <a:lnTo>
                      <a:pt x="2092" y="104"/>
                    </a:lnTo>
                    <a:lnTo>
                      <a:pt x="2085" y="85"/>
                    </a:lnTo>
                    <a:lnTo>
                      <a:pt x="2078" y="83"/>
                    </a:lnTo>
                    <a:lnTo>
                      <a:pt x="2106" y="64"/>
                    </a:lnTo>
                    <a:lnTo>
                      <a:pt x="2127" y="55"/>
                    </a:lnTo>
                    <a:lnTo>
                      <a:pt x="2132" y="55"/>
                    </a:lnTo>
                    <a:lnTo>
                      <a:pt x="2134" y="59"/>
                    </a:lnTo>
                    <a:lnTo>
                      <a:pt x="2132" y="62"/>
                    </a:lnTo>
                    <a:lnTo>
                      <a:pt x="2127" y="64"/>
                    </a:lnTo>
                    <a:lnTo>
                      <a:pt x="2123" y="69"/>
                    </a:lnTo>
                    <a:lnTo>
                      <a:pt x="2123" y="74"/>
                    </a:lnTo>
                    <a:lnTo>
                      <a:pt x="2125" y="76"/>
                    </a:lnTo>
                    <a:lnTo>
                      <a:pt x="2137" y="74"/>
                    </a:lnTo>
                    <a:lnTo>
                      <a:pt x="2142" y="69"/>
                    </a:lnTo>
                    <a:lnTo>
                      <a:pt x="2160" y="74"/>
                    </a:lnTo>
                    <a:lnTo>
                      <a:pt x="2168" y="74"/>
                    </a:lnTo>
                    <a:lnTo>
                      <a:pt x="2170" y="69"/>
                    </a:lnTo>
                    <a:lnTo>
                      <a:pt x="2196" y="74"/>
                    </a:lnTo>
                    <a:lnTo>
                      <a:pt x="2201" y="74"/>
                    </a:lnTo>
                    <a:lnTo>
                      <a:pt x="2220" y="64"/>
                    </a:lnTo>
                    <a:lnTo>
                      <a:pt x="2238" y="50"/>
                    </a:lnTo>
                    <a:lnTo>
                      <a:pt x="2246" y="43"/>
                    </a:lnTo>
                    <a:lnTo>
                      <a:pt x="2262" y="24"/>
                    </a:lnTo>
                    <a:lnTo>
                      <a:pt x="2274" y="10"/>
                    </a:lnTo>
                    <a:lnTo>
                      <a:pt x="2293" y="0"/>
                    </a:lnTo>
                    <a:lnTo>
                      <a:pt x="2298" y="3"/>
                    </a:lnTo>
                    <a:lnTo>
                      <a:pt x="2290" y="5"/>
                    </a:lnTo>
                    <a:lnTo>
                      <a:pt x="2286" y="10"/>
                    </a:lnTo>
                    <a:lnTo>
                      <a:pt x="2290" y="19"/>
                    </a:lnTo>
                    <a:lnTo>
                      <a:pt x="2321" y="41"/>
                    </a:lnTo>
                    <a:lnTo>
                      <a:pt x="2331" y="45"/>
                    </a:lnTo>
                    <a:lnTo>
                      <a:pt x="2331" y="55"/>
                    </a:lnTo>
                    <a:lnTo>
                      <a:pt x="2326" y="64"/>
                    </a:lnTo>
                    <a:lnTo>
                      <a:pt x="2316" y="74"/>
                    </a:lnTo>
                    <a:lnTo>
                      <a:pt x="2295" y="81"/>
                    </a:lnTo>
                    <a:lnTo>
                      <a:pt x="2300" y="85"/>
                    </a:lnTo>
                    <a:lnTo>
                      <a:pt x="2302" y="97"/>
                    </a:lnTo>
                    <a:lnTo>
                      <a:pt x="2307" y="97"/>
                    </a:lnTo>
                    <a:lnTo>
                      <a:pt x="2316" y="97"/>
                    </a:lnTo>
                    <a:lnTo>
                      <a:pt x="2326" y="93"/>
                    </a:lnTo>
                    <a:lnTo>
                      <a:pt x="2342" y="74"/>
                    </a:lnTo>
                    <a:lnTo>
                      <a:pt x="2350" y="64"/>
                    </a:lnTo>
                    <a:lnTo>
                      <a:pt x="2352" y="62"/>
                    </a:lnTo>
                    <a:lnTo>
                      <a:pt x="2364" y="67"/>
                    </a:lnTo>
                    <a:lnTo>
                      <a:pt x="2368" y="74"/>
                    </a:lnTo>
                    <a:lnTo>
                      <a:pt x="2376" y="85"/>
                    </a:lnTo>
                    <a:lnTo>
                      <a:pt x="2371" y="95"/>
                    </a:lnTo>
                    <a:lnTo>
                      <a:pt x="2366" y="100"/>
                    </a:lnTo>
                    <a:lnTo>
                      <a:pt x="2376" y="109"/>
                    </a:lnTo>
                    <a:lnTo>
                      <a:pt x="2385" y="111"/>
                    </a:lnTo>
                    <a:lnTo>
                      <a:pt x="2394" y="119"/>
                    </a:lnTo>
                    <a:lnTo>
                      <a:pt x="2413" y="109"/>
                    </a:lnTo>
                    <a:lnTo>
                      <a:pt x="2425" y="109"/>
                    </a:lnTo>
                    <a:lnTo>
                      <a:pt x="2435" y="111"/>
                    </a:lnTo>
                    <a:lnTo>
                      <a:pt x="2451" y="107"/>
                    </a:lnTo>
                    <a:lnTo>
                      <a:pt x="2472" y="119"/>
                    </a:lnTo>
                    <a:lnTo>
                      <a:pt x="2480" y="119"/>
                    </a:lnTo>
                    <a:lnTo>
                      <a:pt x="2489" y="121"/>
                    </a:lnTo>
                    <a:lnTo>
                      <a:pt x="2498" y="128"/>
                    </a:lnTo>
                    <a:lnTo>
                      <a:pt x="2501" y="135"/>
                    </a:lnTo>
                    <a:lnTo>
                      <a:pt x="2487" y="145"/>
                    </a:lnTo>
                    <a:lnTo>
                      <a:pt x="2484" y="159"/>
                    </a:lnTo>
                    <a:lnTo>
                      <a:pt x="2487" y="163"/>
                    </a:lnTo>
                    <a:lnTo>
                      <a:pt x="2494" y="166"/>
                    </a:lnTo>
                    <a:lnTo>
                      <a:pt x="2494" y="173"/>
                    </a:lnTo>
                    <a:lnTo>
                      <a:pt x="2498" y="175"/>
                    </a:lnTo>
                    <a:lnTo>
                      <a:pt x="2520" y="178"/>
                    </a:lnTo>
                    <a:lnTo>
                      <a:pt x="2517" y="182"/>
                    </a:lnTo>
                    <a:lnTo>
                      <a:pt x="2515" y="185"/>
                    </a:lnTo>
                    <a:lnTo>
                      <a:pt x="2508" y="194"/>
                    </a:lnTo>
                    <a:lnTo>
                      <a:pt x="2546" y="206"/>
                    </a:lnTo>
                    <a:lnTo>
                      <a:pt x="2553" y="201"/>
                    </a:lnTo>
                    <a:lnTo>
                      <a:pt x="2560" y="199"/>
                    </a:lnTo>
                    <a:lnTo>
                      <a:pt x="2579" y="194"/>
                    </a:lnTo>
                    <a:lnTo>
                      <a:pt x="2584" y="199"/>
                    </a:lnTo>
                    <a:lnTo>
                      <a:pt x="2591" y="206"/>
                    </a:lnTo>
                    <a:lnTo>
                      <a:pt x="2598" y="208"/>
                    </a:lnTo>
                    <a:lnTo>
                      <a:pt x="2605" y="208"/>
                    </a:lnTo>
                    <a:lnTo>
                      <a:pt x="2621" y="199"/>
                    </a:lnTo>
                    <a:lnTo>
                      <a:pt x="2638" y="201"/>
                    </a:lnTo>
                    <a:lnTo>
                      <a:pt x="2645" y="206"/>
                    </a:lnTo>
                    <a:lnTo>
                      <a:pt x="2652" y="204"/>
                    </a:lnTo>
                    <a:lnTo>
                      <a:pt x="2676" y="220"/>
                    </a:lnTo>
                    <a:lnTo>
                      <a:pt x="2683" y="223"/>
                    </a:lnTo>
                    <a:lnTo>
                      <a:pt x="2692" y="239"/>
                    </a:lnTo>
                    <a:lnTo>
                      <a:pt x="2699" y="239"/>
                    </a:lnTo>
                    <a:lnTo>
                      <a:pt x="2707" y="234"/>
                    </a:lnTo>
                    <a:lnTo>
                      <a:pt x="2711" y="234"/>
                    </a:lnTo>
                    <a:lnTo>
                      <a:pt x="2716" y="242"/>
                    </a:lnTo>
                    <a:lnTo>
                      <a:pt x="2725" y="244"/>
                    </a:lnTo>
                    <a:lnTo>
                      <a:pt x="2730" y="256"/>
                    </a:lnTo>
                    <a:lnTo>
                      <a:pt x="2735" y="260"/>
                    </a:lnTo>
                    <a:lnTo>
                      <a:pt x="2768" y="270"/>
                    </a:lnTo>
                    <a:lnTo>
                      <a:pt x="2787" y="268"/>
                    </a:lnTo>
                    <a:lnTo>
                      <a:pt x="2811" y="272"/>
                    </a:lnTo>
                    <a:lnTo>
                      <a:pt x="2822" y="277"/>
                    </a:lnTo>
                    <a:lnTo>
                      <a:pt x="2837" y="277"/>
                    </a:lnTo>
                    <a:lnTo>
                      <a:pt x="2855" y="296"/>
                    </a:lnTo>
                    <a:lnTo>
                      <a:pt x="2867" y="301"/>
                    </a:lnTo>
                    <a:lnTo>
                      <a:pt x="2870" y="305"/>
                    </a:lnTo>
                    <a:lnTo>
                      <a:pt x="2900" y="310"/>
                    </a:lnTo>
                    <a:lnTo>
                      <a:pt x="2912" y="303"/>
                    </a:lnTo>
                    <a:lnTo>
                      <a:pt x="2931" y="301"/>
                    </a:lnTo>
                    <a:lnTo>
                      <a:pt x="2950" y="294"/>
                    </a:lnTo>
                    <a:lnTo>
                      <a:pt x="2959" y="294"/>
                    </a:lnTo>
                    <a:lnTo>
                      <a:pt x="2971" y="296"/>
                    </a:lnTo>
                    <a:lnTo>
                      <a:pt x="2976" y="296"/>
                    </a:lnTo>
                    <a:lnTo>
                      <a:pt x="2978" y="294"/>
                    </a:lnTo>
                    <a:lnTo>
                      <a:pt x="3007" y="308"/>
                    </a:lnTo>
                    <a:lnTo>
                      <a:pt x="3021" y="324"/>
                    </a:lnTo>
                    <a:lnTo>
                      <a:pt x="3028" y="336"/>
                    </a:lnTo>
                    <a:lnTo>
                      <a:pt x="3061" y="353"/>
                    </a:lnTo>
                    <a:lnTo>
                      <a:pt x="3071" y="362"/>
                    </a:lnTo>
                    <a:lnTo>
                      <a:pt x="3078" y="372"/>
                    </a:lnTo>
                    <a:lnTo>
                      <a:pt x="3080" y="372"/>
                    </a:lnTo>
                    <a:lnTo>
                      <a:pt x="3085" y="369"/>
                    </a:lnTo>
                    <a:lnTo>
                      <a:pt x="3097" y="372"/>
                    </a:lnTo>
                    <a:lnTo>
                      <a:pt x="3101" y="372"/>
                    </a:lnTo>
                    <a:close/>
                    <a:moveTo>
                      <a:pt x="1558" y="665"/>
                    </a:moveTo>
                    <a:lnTo>
                      <a:pt x="1555" y="665"/>
                    </a:lnTo>
                    <a:lnTo>
                      <a:pt x="1558" y="662"/>
                    </a:lnTo>
                    <a:lnTo>
                      <a:pt x="1565" y="660"/>
                    </a:lnTo>
                    <a:lnTo>
                      <a:pt x="1581" y="655"/>
                    </a:lnTo>
                    <a:lnTo>
                      <a:pt x="1579" y="658"/>
                    </a:lnTo>
                    <a:lnTo>
                      <a:pt x="1572" y="662"/>
                    </a:lnTo>
                    <a:lnTo>
                      <a:pt x="1558" y="665"/>
                    </a:lnTo>
                    <a:close/>
                    <a:moveTo>
                      <a:pt x="1109" y="927"/>
                    </a:moveTo>
                    <a:lnTo>
                      <a:pt x="1109" y="930"/>
                    </a:lnTo>
                    <a:lnTo>
                      <a:pt x="1116" y="932"/>
                    </a:lnTo>
                    <a:lnTo>
                      <a:pt x="1123" y="937"/>
                    </a:lnTo>
                    <a:lnTo>
                      <a:pt x="1132" y="944"/>
                    </a:lnTo>
                    <a:lnTo>
                      <a:pt x="1144" y="946"/>
                    </a:lnTo>
                    <a:lnTo>
                      <a:pt x="1158" y="941"/>
                    </a:lnTo>
                    <a:lnTo>
                      <a:pt x="1168" y="941"/>
                    </a:lnTo>
                    <a:lnTo>
                      <a:pt x="1175" y="941"/>
                    </a:lnTo>
                    <a:lnTo>
                      <a:pt x="1184" y="946"/>
                    </a:lnTo>
                    <a:lnTo>
                      <a:pt x="1189" y="956"/>
                    </a:lnTo>
                    <a:lnTo>
                      <a:pt x="1191" y="960"/>
                    </a:lnTo>
                    <a:lnTo>
                      <a:pt x="1191" y="967"/>
                    </a:lnTo>
                    <a:lnTo>
                      <a:pt x="1191" y="974"/>
                    </a:lnTo>
                    <a:lnTo>
                      <a:pt x="1191" y="979"/>
                    </a:lnTo>
                    <a:lnTo>
                      <a:pt x="1203" y="991"/>
                    </a:lnTo>
                    <a:lnTo>
                      <a:pt x="1213" y="998"/>
                    </a:lnTo>
                    <a:lnTo>
                      <a:pt x="1215" y="1001"/>
                    </a:lnTo>
                    <a:lnTo>
                      <a:pt x="1215" y="1008"/>
                    </a:lnTo>
                    <a:lnTo>
                      <a:pt x="1222" y="1012"/>
                    </a:lnTo>
                    <a:lnTo>
                      <a:pt x="1229" y="1015"/>
                    </a:lnTo>
                    <a:lnTo>
                      <a:pt x="1234" y="1017"/>
                    </a:lnTo>
                    <a:lnTo>
                      <a:pt x="1248" y="1022"/>
                    </a:lnTo>
                    <a:lnTo>
                      <a:pt x="1265" y="1034"/>
                    </a:lnTo>
                    <a:lnTo>
                      <a:pt x="1258" y="1045"/>
                    </a:lnTo>
                    <a:lnTo>
                      <a:pt x="1250" y="1050"/>
                    </a:lnTo>
                    <a:lnTo>
                      <a:pt x="1234" y="1043"/>
                    </a:lnTo>
                    <a:lnTo>
                      <a:pt x="1217" y="1038"/>
                    </a:lnTo>
                    <a:lnTo>
                      <a:pt x="1208" y="1043"/>
                    </a:lnTo>
                    <a:lnTo>
                      <a:pt x="1198" y="1050"/>
                    </a:lnTo>
                    <a:lnTo>
                      <a:pt x="1196" y="1060"/>
                    </a:lnTo>
                    <a:lnTo>
                      <a:pt x="1191" y="1062"/>
                    </a:lnTo>
                    <a:lnTo>
                      <a:pt x="1187" y="1062"/>
                    </a:lnTo>
                    <a:lnTo>
                      <a:pt x="1187" y="1057"/>
                    </a:lnTo>
                    <a:lnTo>
                      <a:pt x="1187" y="1041"/>
                    </a:lnTo>
                    <a:lnTo>
                      <a:pt x="1187" y="1036"/>
                    </a:lnTo>
                    <a:lnTo>
                      <a:pt x="1184" y="1034"/>
                    </a:lnTo>
                    <a:lnTo>
                      <a:pt x="1177" y="1027"/>
                    </a:lnTo>
                    <a:lnTo>
                      <a:pt x="1170" y="1019"/>
                    </a:lnTo>
                    <a:lnTo>
                      <a:pt x="1165" y="1017"/>
                    </a:lnTo>
                    <a:lnTo>
                      <a:pt x="1165" y="1012"/>
                    </a:lnTo>
                    <a:lnTo>
                      <a:pt x="1165" y="1003"/>
                    </a:lnTo>
                    <a:lnTo>
                      <a:pt x="1163" y="998"/>
                    </a:lnTo>
                    <a:lnTo>
                      <a:pt x="1158" y="991"/>
                    </a:lnTo>
                    <a:lnTo>
                      <a:pt x="1153" y="984"/>
                    </a:lnTo>
                    <a:lnTo>
                      <a:pt x="1137" y="967"/>
                    </a:lnTo>
                    <a:lnTo>
                      <a:pt x="1130" y="965"/>
                    </a:lnTo>
                    <a:lnTo>
                      <a:pt x="1123" y="963"/>
                    </a:lnTo>
                    <a:lnTo>
                      <a:pt x="1116" y="965"/>
                    </a:lnTo>
                    <a:lnTo>
                      <a:pt x="1106" y="967"/>
                    </a:lnTo>
                    <a:lnTo>
                      <a:pt x="1097" y="970"/>
                    </a:lnTo>
                    <a:lnTo>
                      <a:pt x="1090" y="967"/>
                    </a:lnTo>
                    <a:lnTo>
                      <a:pt x="1083" y="963"/>
                    </a:lnTo>
                    <a:lnTo>
                      <a:pt x="1078" y="956"/>
                    </a:lnTo>
                    <a:lnTo>
                      <a:pt x="1078" y="948"/>
                    </a:lnTo>
                    <a:lnTo>
                      <a:pt x="1078" y="941"/>
                    </a:lnTo>
                    <a:lnTo>
                      <a:pt x="1080" y="934"/>
                    </a:lnTo>
                    <a:lnTo>
                      <a:pt x="1085" y="927"/>
                    </a:lnTo>
                    <a:lnTo>
                      <a:pt x="1094" y="911"/>
                    </a:lnTo>
                    <a:lnTo>
                      <a:pt x="1101" y="911"/>
                    </a:lnTo>
                    <a:lnTo>
                      <a:pt x="1109" y="927"/>
                    </a:lnTo>
                    <a:close/>
                    <a:moveTo>
                      <a:pt x="2584" y="1686"/>
                    </a:moveTo>
                    <a:lnTo>
                      <a:pt x="2574" y="1686"/>
                    </a:lnTo>
                    <a:lnTo>
                      <a:pt x="2572" y="1684"/>
                    </a:lnTo>
                    <a:lnTo>
                      <a:pt x="2572" y="1681"/>
                    </a:lnTo>
                    <a:lnTo>
                      <a:pt x="2574" y="1674"/>
                    </a:lnTo>
                    <a:lnTo>
                      <a:pt x="2574" y="1672"/>
                    </a:lnTo>
                    <a:lnTo>
                      <a:pt x="2579" y="1672"/>
                    </a:lnTo>
                    <a:lnTo>
                      <a:pt x="2584" y="1674"/>
                    </a:lnTo>
                    <a:lnTo>
                      <a:pt x="2584" y="1679"/>
                    </a:lnTo>
                    <a:lnTo>
                      <a:pt x="2584" y="1686"/>
                    </a:lnTo>
                    <a:close/>
                    <a:moveTo>
                      <a:pt x="860" y="1332"/>
                    </a:moveTo>
                    <a:lnTo>
                      <a:pt x="872" y="1346"/>
                    </a:lnTo>
                    <a:lnTo>
                      <a:pt x="882" y="1348"/>
                    </a:lnTo>
                    <a:lnTo>
                      <a:pt x="886" y="1360"/>
                    </a:lnTo>
                    <a:lnTo>
                      <a:pt x="886" y="1367"/>
                    </a:lnTo>
                    <a:lnTo>
                      <a:pt x="877" y="1358"/>
                    </a:lnTo>
                    <a:lnTo>
                      <a:pt x="860" y="1353"/>
                    </a:lnTo>
                    <a:lnTo>
                      <a:pt x="846" y="1324"/>
                    </a:lnTo>
                    <a:lnTo>
                      <a:pt x="841" y="1317"/>
                    </a:lnTo>
                    <a:lnTo>
                      <a:pt x="846" y="1308"/>
                    </a:lnTo>
                    <a:lnTo>
                      <a:pt x="856" y="1308"/>
                    </a:lnTo>
                    <a:lnTo>
                      <a:pt x="856" y="1322"/>
                    </a:lnTo>
                    <a:lnTo>
                      <a:pt x="860" y="1332"/>
                    </a:lnTo>
                    <a:close/>
                    <a:moveTo>
                      <a:pt x="2288" y="1719"/>
                    </a:moveTo>
                    <a:lnTo>
                      <a:pt x="2283" y="1719"/>
                    </a:lnTo>
                    <a:lnTo>
                      <a:pt x="2288" y="1712"/>
                    </a:lnTo>
                    <a:lnTo>
                      <a:pt x="2295" y="1698"/>
                    </a:lnTo>
                    <a:lnTo>
                      <a:pt x="2298" y="1700"/>
                    </a:lnTo>
                    <a:lnTo>
                      <a:pt x="2298" y="1703"/>
                    </a:lnTo>
                    <a:lnTo>
                      <a:pt x="2290" y="1717"/>
                    </a:lnTo>
                    <a:lnTo>
                      <a:pt x="2288" y="1719"/>
                    </a:lnTo>
                    <a:close/>
                    <a:moveTo>
                      <a:pt x="2598" y="1743"/>
                    </a:moveTo>
                    <a:lnTo>
                      <a:pt x="2598" y="1745"/>
                    </a:lnTo>
                    <a:lnTo>
                      <a:pt x="2595" y="1750"/>
                    </a:lnTo>
                    <a:lnTo>
                      <a:pt x="2598" y="1757"/>
                    </a:lnTo>
                    <a:lnTo>
                      <a:pt x="2593" y="1767"/>
                    </a:lnTo>
                    <a:lnTo>
                      <a:pt x="2591" y="1774"/>
                    </a:lnTo>
                    <a:lnTo>
                      <a:pt x="2588" y="1778"/>
                    </a:lnTo>
                    <a:lnTo>
                      <a:pt x="2586" y="1781"/>
                    </a:lnTo>
                    <a:lnTo>
                      <a:pt x="2584" y="1778"/>
                    </a:lnTo>
                    <a:lnTo>
                      <a:pt x="2584" y="1776"/>
                    </a:lnTo>
                    <a:lnTo>
                      <a:pt x="2584" y="1774"/>
                    </a:lnTo>
                    <a:lnTo>
                      <a:pt x="2579" y="1774"/>
                    </a:lnTo>
                    <a:lnTo>
                      <a:pt x="2579" y="1762"/>
                    </a:lnTo>
                    <a:lnTo>
                      <a:pt x="2584" y="1760"/>
                    </a:lnTo>
                    <a:lnTo>
                      <a:pt x="2584" y="1755"/>
                    </a:lnTo>
                    <a:lnTo>
                      <a:pt x="2584" y="1752"/>
                    </a:lnTo>
                    <a:lnTo>
                      <a:pt x="2588" y="1741"/>
                    </a:lnTo>
                    <a:lnTo>
                      <a:pt x="2591" y="1738"/>
                    </a:lnTo>
                    <a:lnTo>
                      <a:pt x="2591" y="1743"/>
                    </a:lnTo>
                    <a:lnTo>
                      <a:pt x="2591" y="1743"/>
                    </a:lnTo>
                    <a:lnTo>
                      <a:pt x="2593" y="1743"/>
                    </a:lnTo>
                    <a:lnTo>
                      <a:pt x="2595" y="1736"/>
                    </a:lnTo>
                    <a:lnTo>
                      <a:pt x="2598" y="1736"/>
                    </a:lnTo>
                    <a:lnTo>
                      <a:pt x="2598" y="1743"/>
                    </a:lnTo>
                    <a:close/>
                    <a:moveTo>
                      <a:pt x="2688" y="1750"/>
                    </a:moveTo>
                    <a:lnTo>
                      <a:pt x="2690" y="1755"/>
                    </a:lnTo>
                    <a:lnTo>
                      <a:pt x="2704" y="1755"/>
                    </a:lnTo>
                    <a:lnTo>
                      <a:pt x="2707" y="1755"/>
                    </a:lnTo>
                    <a:lnTo>
                      <a:pt x="2709" y="1757"/>
                    </a:lnTo>
                    <a:lnTo>
                      <a:pt x="2707" y="1760"/>
                    </a:lnTo>
                    <a:lnTo>
                      <a:pt x="2702" y="1762"/>
                    </a:lnTo>
                    <a:lnTo>
                      <a:pt x="2685" y="1769"/>
                    </a:lnTo>
                    <a:lnTo>
                      <a:pt x="2671" y="1776"/>
                    </a:lnTo>
                    <a:lnTo>
                      <a:pt x="2671" y="1774"/>
                    </a:lnTo>
                    <a:lnTo>
                      <a:pt x="2669" y="1764"/>
                    </a:lnTo>
                    <a:lnTo>
                      <a:pt x="2666" y="1762"/>
                    </a:lnTo>
                    <a:lnTo>
                      <a:pt x="2666" y="1757"/>
                    </a:lnTo>
                    <a:lnTo>
                      <a:pt x="2666" y="1755"/>
                    </a:lnTo>
                    <a:lnTo>
                      <a:pt x="2669" y="1750"/>
                    </a:lnTo>
                    <a:lnTo>
                      <a:pt x="2673" y="1745"/>
                    </a:lnTo>
                    <a:lnTo>
                      <a:pt x="2676" y="1745"/>
                    </a:lnTo>
                    <a:lnTo>
                      <a:pt x="2688" y="1750"/>
                    </a:lnTo>
                    <a:close/>
                    <a:moveTo>
                      <a:pt x="2777" y="1774"/>
                    </a:moveTo>
                    <a:lnTo>
                      <a:pt x="2775" y="1776"/>
                    </a:lnTo>
                    <a:lnTo>
                      <a:pt x="2770" y="1774"/>
                    </a:lnTo>
                    <a:lnTo>
                      <a:pt x="2766" y="1771"/>
                    </a:lnTo>
                    <a:lnTo>
                      <a:pt x="2777" y="1764"/>
                    </a:lnTo>
                    <a:lnTo>
                      <a:pt x="2780" y="1767"/>
                    </a:lnTo>
                    <a:lnTo>
                      <a:pt x="2777" y="1774"/>
                    </a:lnTo>
                    <a:close/>
                    <a:moveTo>
                      <a:pt x="1302" y="1497"/>
                    </a:moveTo>
                    <a:lnTo>
                      <a:pt x="1307" y="1504"/>
                    </a:lnTo>
                    <a:lnTo>
                      <a:pt x="1312" y="1507"/>
                    </a:lnTo>
                    <a:lnTo>
                      <a:pt x="1321" y="1507"/>
                    </a:lnTo>
                    <a:lnTo>
                      <a:pt x="1326" y="1511"/>
                    </a:lnTo>
                    <a:lnTo>
                      <a:pt x="1328" y="1514"/>
                    </a:lnTo>
                    <a:lnTo>
                      <a:pt x="1328" y="1518"/>
                    </a:lnTo>
                    <a:lnTo>
                      <a:pt x="1326" y="1528"/>
                    </a:lnTo>
                    <a:lnTo>
                      <a:pt x="1324" y="1535"/>
                    </a:lnTo>
                    <a:lnTo>
                      <a:pt x="1321" y="1544"/>
                    </a:lnTo>
                    <a:lnTo>
                      <a:pt x="1319" y="1549"/>
                    </a:lnTo>
                    <a:lnTo>
                      <a:pt x="1324" y="1556"/>
                    </a:lnTo>
                    <a:lnTo>
                      <a:pt x="1321" y="1563"/>
                    </a:lnTo>
                    <a:lnTo>
                      <a:pt x="1321" y="1573"/>
                    </a:lnTo>
                    <a:lnTo>
                      <a:pt x="1307" y="1570"/>
                    </a:lnTo>
                    <a:lnTo>
                      <a:pt x="1295" y="1568"/>
                    </a:lnTo>
                    <a:lnTo>
                      <a:pt x="1284" y="1570"/>
                    </a:lnTo>
                    <a:lnTo>
                      <a:pt x="1279" y="1575"/>
                    </a:lnTo>
                    <a:lnTo>
                      <a:pt x="1279" y="1580"/>
                    </a:lnTo>
                    <a:lnTo>
                      <a:pt x="1276" y="1582"/>
                    </a:lnTo>
                    <a:lnTo>
                      <a:pt x="1274" y="1580"/>
                    </a:lnTo>
                    <a:lnTo>
                      <a:pt x="1269" y="1573"/>
                    </a:lnTo>
                    <a:lnTo>
                      <a:pt x="1265" y="1568"/>
                    </a:lnTo>
                    <a:lnTo>
                      <a:pt x="1248" y="1556"/>
                    </a:lnTo>
                    <a:lnTo>
                      <a:pt x="1227" y="1533"/>
                    </a:lnTo>
                    <a:lnTo>
                      <a:pt x="1217" y="1525"/>
                    </a:lnTo>
                    <a:lnTo>
                      <a:pt x="1213" y="1511"/>
                    </a:lnTo>
                    <a:lnTo>
                      <a:pt x="1206" y="1492"/>
                    </a:lnTo>
                    <a:lnTo>
                      <a:pt x="1213" y="1492"/>
                    </a:lnTo>
                    <a:lnTo>
                      <a:pt x="1220" y="1492"/>
                    </a:lnTo>
                    <a:lnTo>
                      <a:pt x="1248" y="1504"/>
                    </a:lnTo>
                    <a:lnTo>
                      <a:pt x="1255" y="1495"/>
                    </a:lnTo>
                    <a:lnTo>
                      <a:pt x="1260" y="1492"/>
                    </a:lnTo>
                    <a:lnTo>
                      <a:pt x="1269" y="1492"/>
                    </a:lnTo>
                    <a:lnTo>
                      <a:pt x="1281" y="1490"/>
                    </a:lnTo>
                    <a:lnTo>
                      <a:pt x="1284" y="1490"/>
                    </a:lnTo>
                    <a:lnTo>
                      <a:pt x="1286" y="1495"/>
                    </a:lnTo>
                    <a:lnTo>
                      <a:pt x="1295" y="1492"/>
                    </a:lnTo>
                    <a:lnTo>
                      <a:pt x="1300" y="1492"/>
                    </a:lnTo>
                    <a:lnTo>
                      <a:pt x="1302" y="1497"/>
                    </a:lnTo>
                    <a:close/>
                    <a:moveTo>
                      <a:pt x="2584" y="1833"/>
                    </a:moveTo>
                    <a:lnTo>
                      <a:pt x="2576" y="1835"/>
                    </a:lnTo>
                    <a:lnTo>
                      <a:pt x="2574" y="1830"/>
                    </a:lnTo>
                    <a:lnTo>
                      <a:pt x="2579" y="1821"/>
                    </a:lnTo>
                    <a:lnTo>
                      <a:pt x="2584" y="1814"/>
                    </a:lnTo>
                    <a:lnTo>
                      <a:pt x="2586" y="1814"/>
                    </a:lnTo>
                    <a:lnTo>
                      <a:pt x="2595" y="1802"/>
                    </a:lnTo>
                    <a:lnTo>
                      <a:pt x="2607" y="1795"/>
                    </a:lnTo>
                    <a:lnTo>
                      <a:pt x="2617" y="1783"/>
                    </a:lnTo>
                    <a:lnTo>
                      <a:pt x="2629" y="1764"/>
                    </a:lnTo>
                    <a:lnTo>
                      <a:pt x="2631" y="1760"/>
                    </a:lnTo>
                    <a:lnTo>
                      <a:pt x="2636" y="1757"/>
                    </a:lnTo>
                    <a:lnTo>
                      <a:pt x="2643" y="1764"/>
                    </a:lnTo>
                    <a:lnTo>
                      <a:pt x="2645" y="1769"/>
                    </a:lnTo>
                    <a:lnTo>
                      <a:pt x="2643" y="1774"/>
                    </a:lnTo>
                    <a:lnTo>
                      <a:pt x="2617" y="1797"/>
                    </a:lnTo>
                    <a:lnTo>
                      <a:pt x="2614" y="1802"/>
                    </a:lnTo>
                    <a:lnTo>
                      <a:pt x="2612" y="1809"/>
                    </a:lnTo>
                    <a:lnTo>
                      <a:pt x="2610" y="1814"/>
                    </a:lnTo>
                    <a:lnTo>
                      <a:pt x="2607" y="1814"/>
                    </a:lnTo>
                    <a:lnTo>
                      <a:pt x="2605" y="1819"/>
                    </a:lnTo>
                    <a:lnTo>
                      <a:pt x="2603" y="1823"/>
                    </a:lnTo>
                    <a:lnTo>
                      <a:pt x="2598" y="1826"/>
                    </a:lnTo>
                    <a:lnTo>
                      <a:pt x="2595" y="1826"/>
                    </a:lnTo>
                    <a:lnTo>
                      <a:pt x="2591" y="1828"/>
                    </a:lnTo>
                    <a:lnTo>
                      <a:pt x="2588" y="1830"/>
                    </a:lnTo>
                    <a:lnTo>
                      <a:pt x="2584" y="1833"/>
                    </a:lnTo>
                    <a:close/>
                    <a:moveTo>
                      <a:pt x="2567" y="1795"/>
                    </a:moveTo>
                    <a:lnTo>
                      <a:pt x="2562" y="1800"/>
                    </a:lnTo>
                    <a:lnTo>
                      <a:pt x="2548" y="1795"/>
                    </a:lnTo>
                    <a:lnTo>
                      <a:pt x="2553" y="1788"/>
                    </a:lnTo>
                    <a:lnTo>
                      <a:pt x="2565" y="1783"/>
                    </a:lnTo>
                    <a:lnTo>
                      <a:pt x="2574" y="1793"/>
                    </a:lnTo>
                    <a:lnTo>
                      <a:pt x="2567" y="1795"/>
                    </a:lnTo>
                    <a:close/>
                    <a:moveTo>
                      <a:pt x="2813" y="1849"/>
                    </a:moveTo>
                    <a:lnTo>
                      <a:pt x="2811" y="1852"/>
                    </a:lnTo>
                    <a:lnTo>
                      <a:pt x="2815" y="1842"/>
                    </a:lnTo>
                    <a:lnTo>
                      <a:pt x="2822" y="1830"/>
                    </a:lnTo>
                    <a:lnTo>
                      <a:pt x="2829" y="1826"/>
                    </a:lnTo>
                    <a:lnTo>
                      <a:pt x="2839" y="1823"/>
                    </a:lnTo>
                    <a:lnTo>
                      <a:pt x="2837" y="1828"/>
                    </a:lnTo>
                    <a:lnTo>
                      <a:pt x="2825" y="1835"/>
                    </a:lnTo>
                    <a:lnTo>
                      <a:pt x="2813" y="1849"/>
                    </a:lnTo>
                    <a:close/>
                    <a:moveTo>
                      <a:pt x="1603" y="1847"/>
                    </a:moveTo>
                    <a:lnTo>
                      <a:pt x="1596" y="1847"/>
                    </a:lnTo>
                    <a:lnTo>
                      <a:pt x="1591" y="1845"/>
                    </a:lnTo>
                    <a:lnTo>
                      <a:pt x="1588" y="1830"/>
                    </a:lnTo>
                    <a:lnTo>
                      <a:pt x="1593" y="1830"/>
                    </a:lnTo>
                    <a:lnTo>
                      <a:pt x="1603" y="1823"/>
                    </a:lnTo>
                    <a:lnTo>
                      <a:pt x="1619" y="1821"/>
                    </a:lnTo>
                    <a:lnTo>
                      <a:pt x="1624" y="1821"/>
                    </a:lnTo>
                    <a:lnTo>
                      <a:pt x="1603" y="1847"/>
                    </a:lnTo>
                    <a:close/>
                    <a:moveTo>
                      <a:pt x="2215" y="1979"/>
                    </a:moveTo>
                    <a:lnTo>
                      <a:pt x="2212" y="1979"/>
                    </a:lnTo>
                    <a:lnTo>
                      <a:pt x="2208" y="1975"/>
                    </a:lnTo>
                    <a:lnTo>
                      <a:pt x="2205" y="1970"/>
                    </a:lnTo>
                    <a:lnTo>
                      <a:pt x="2208" y="1968"/>
                    </a:lnTo>
                    <a:lnTo>
                      <a:pt x="2220" y="1960"/>
                    </a:lnTo>
                    <a:lnTo>
                      <a:pt x="2224" y="1963"/>
                    </a:lnTo>
                    <a:lnTo>
                      <a:pt x="2227" y="1963"/>
                    </a:lnTo>
                    <a:lnTo>
                      <a:pt x="2227" y="1965"/>
                    </a:lnTo>
                    <a:lnTo>
                      <a:pt x="2227" y="1970"/>
                    </a:lnTo>
                    <a:lnTo>
                      <a:pt x="2224" y="1972"/>
                    </a:lnTo>
                    <a:lnTo>
                      <a:pt x="2215" y="1979"/>
                    </a:lnTo>
                    <a:close/>
                    <a:moveTo>
                      <a:pt x="2217" y="1998"/>
                    </a:moveTo>
                    <a:lnTo>
                      <a:pt x="2220" y="2001"/>
                    </a:lnTo>
                    <a:lnTo>
                      <a:pt x="2224" y="1991"/>
                    </a:lnTo>
                    <a:lnTo>
                      <a:pt x="2227" y="1991"/>
                    </a:lnTo>
                    <a:lnTo>
                      <a:pt x="2234" y="2001"/>
                    </a:lnTo>
                    <a:lnTo>
                      <a:pt x="2238" y="1998"/>
                    </a:lnTo>
                    <a:lnTo>
                      <a:pt x="2241" y="2008"/>
                    </a:lnTo>
                    <a:lnTo>
                      <a:pt x="2246" y="2010"/>
                    </a:lnTo>
                    <a:lnTo>
                      <a:pt x="2248" y="2010"/>
                    </a:lnTo>
                    <a:lnTo>
                      <a:pt x="2248" y="2010"/>
                    </a:lnTo>
                    <a:lnTo>
                      <a:pt x="2248" y="2020"/>
                    </a:lnTo>
                    <a:lnTo>
                      <a:pt x="2238" y="2027"/>
                    </a:lnTo>
                    <a:lnTo>
                      <a:pt x="2236" y="2029"/>
                    </a:lnTo>
                    <a:lnTo>
                      <a:pt x="2231" y="2027"/>
                    </a:lnTo>
                    <a:lnTo>
                      <a:pt x="2231" y="2024"/>
                    </a:lnTo>
                    <a:lnTo>
                      <a:pt x="2229" y="2020"/>
                    </a:lnTo>
                    <a:lnTo>
                      <a:pt x="2227" y="2015"/>
                    </a:lnTo>
                    <a:lnTo>
                      <a:pt x="2227" y="2015"/>
                    </a:lnTo>
                    <a:lnTo>
                      <a:pt x="2220" y="2020"/>
                    </a:lnTo>
                    <a:lnTo>
                      <a:pt x="2220" y="2024"/>
                    </a:lnTo>
                    <a:lnTo>
                      <a:pt x="2222" y="2029"/>
                    </a:lnTo>
                    <a:lnTo>
                      <a:pt x="2220" y="2031"/>
                    </a:lnTo>
                    <a:lnTo>
                      <a:pt x="2215" y="2031"/>
                    </a:lnTo>
                    <a:lnTo>
                      <a:pt x="2210" y="2029"/>
                    </a:lnTo>
                    <a:lnTo>
                      <a:pt x="2203" y="2034"/>
                    </a:lnTo>
                    <a:lnTo>
                      <a:pt x="2203" y="2029"/>
                    </a:lnTo>
                    <a:lnTo>
                      <a:pt x="2203" y="2022"/>
                    </a:lnTo>
                    <a:lnTo>
                      <a:pt x="2201" y="2024"/>
                    </a:lnTo>
                    <a:lnTo>
                      <a:pt x="2196" y="2031"/>
                    </a:lnTo>
                    <a:lnTo>
                      <a:pt x="2191" y="2036"/>
                    </a:lnTo>
                    <a:lnTo>
                      <a:pt x="2184" y="2041"/>
                    </a:lnTo>
                    <a:lnTo>
                      <a:pt x="2184" y="2041"/>
                    </a:lnTo>
                    <a:lnTo>
                      <a:pt x="2179" y="2041"/>
                    </a:lnTo>
                    <a:lnTo>
                      <a:pt x="2172" y="2043"/>
                    </a:lnTo>
                    <a:lnTo>
                      <a:pt x="2168" y="2043"/>
                    </a:lnTo>
                    <a:lnTo>
                      <a:pt x="2146" y="2029"/>
                    </a:lnTo>
                    <a:lnTo>
                      <a:pt x="2139" y="2024"/>
                    </a:lnTo>
                    <a:lnTo>
                      <a:pt x="2163" y="2008"/>
                    </a:lnTo>
                    <a:lnTo>
                      <a:pt x="2175" y="2001"/>
                    </a:lnTo>
                    <a:lnTo>
                      <a:pt x="2182" y="2001"/>
                    </a:lnTo>
                    <a:lnTo>
                      <a:pt x="2186" y="2005"/>
                    </a:lnTo>
                    <a:lnTo>
                      <a:pt x="2189" y="2005"/>
                    </a:lnTo>
                    <a:lnTo>
                      <a:pt x="2191" y="1996"/>
                    </a:lnTo>
                    <a:lnTo>
                      <a:pt x="2186" y="1989"/>
                    </a:lnTo>
                    <a:lnTo>
                      <a:pt x="2186" y="1984"/>
                    </a:lnTo>
                    <a:lnTo>
                      <a:pt x="2201" y="1982"/>
                    </a:lnTo>
                    <a:lnTo>
                      <a:pt x="2205" y="1984"/>
                    </a:lnTo>
                    <a:lnTo>
                      <a:pt x="2210" y="1986"/>
                    </a:lnTo>
                    <a:lnTo>
                      <a:pt x="2215" y="1991"/>
                    </a:lnTo>
                    <a:lnTo>
                      <a:pt x="2217" y="1998"/>
                    </a:lnTo>
                    <a:close/>
                    <a:moveTo>
                      <a:pt x="3541" y="2091"/>
                    </a:moveTo>
                    <a:lnTo>
                      <a:pt x="3560" y="2093"/>
                    </a:lnTo>
                    <a:lnTo>
                      <a:pt x="3574" y="2091"/>
                    </a:lnTo>
                    <a:lnTo>
                      <a:pt x="3588" y="2112"/>
                    </a:lnTo>
                    <a:lnTo>
                      <a:pt x="3595" y="2128"/>
                    </a:lnTo>
                    <a:lnTo>
                      <a:pt x="3602" y="2140"/>
                    </a:lnTo>
                    <a:lnTo>
                      <a:pt x="3605" y="2152"/>
                    </a:lnTo>
                    <a:lnTo>
                      <a:pt x="3609" y="2161"/>
                    </a:lnTo>
                    <a:lnTo>
                      <a:pt x="3609" y="2164"/>
                    </a:lnTo>
                    <a:lnTo>
                      <a:pt x="3600" y="2157"/>
                    </a:lnTo>
                    <a:lnTo>
                      <a:pt x="3595" y="2143"/>
                    </a:lnTo>
                    <a:lnTo>
                      <a:pt x="3591" y="2135"/>
                    </a:lnTo>
                    <a:lnTo>
                      <a:pt x="3588" y="2133"/>
                    </a:lnTo>
                    <a:lnTo>
                      <a:pt x="3586" y="2128"/>
                    </a:lnTo>
                    <a:lnTo>
                      <a:pt x="3579" y="2114"/>
                    </a:lnTo>
                    <a:lnTo>
                      <a:pt x="3579" y="2109"/>
                    </a:lnTo>
                    <a:lnTo>
                      <a:pt x="3576" y="2105"/>
                    </a:lnTo>
                    <a:lnTo>
                      <a:pt x="3574" y="2105"/>
                    </a:lnTo>
                    <a:lnTo>
                      <a:pt x="3569" y="2105"/>
                    </a:lnTo>
                    <a:lnTo>
                      <a:pt x="3569" y="2107"/>
                    </a:lnTo>
                    <a:lnTo>
                      <a:pt x="3569" y="2117"/>
                    </a:lnTo>
                    <a:lnTo>
                      <a:pt x="3574" y="2128"/>
                    </a:lnTo>
                    <a:lnTo>
                      <a:pt x="3588" y="2152"/>
                    </a:lnTo>
                    <a:lnTo>
                      <a:pt x="3598" y="2164"/>
                    </a:lnTo>
                    <a:lnTo>
                      <a:pt x="3600" y="2169"/>
                    </a:lnTo>
                    <a:lnTo>
                      <a:pt x="3602" y="2183"/>
                    </a:lnTo>
                    <a:lnTo>
                      <a:pt x="3598" y="2187"/>
                    </a:lnTo>
                    <a:lnTo>
                      <a:pt x="3605" y="2199"/>
                    </a:lnTo>
                    <a:lnTo>
                      <a:pt x="3605" y="2202"/>
                    </a:lnTo>
                    <a:lnTo>
                      <a:pt x="3602" y="2204"/>
                    </a:lnTo>
                    <a:lnTo>
                      <a:pt x="3591" y="2209"/>
                    </a:lnTo>
                    <a:lnTo>
                      <a:pt x="3579" y="2232"/>
                    </a:lnTo>
                    <a:lnTo>
                      <a:pt x="3567" y="2244"/>
                    </a:lnTo>
                    <a:lnTo>
                      <a:pt x="3560" y="2247"/>
                    </a:lnTo>
                    <a:lnTo>
                      <a:pt x="3557" y="2244"/>
                    </a:lnTo>
                    <a:lnTo>
                      <a:pt x="3555" y="2240"/>
                    </a:lnTo>
                    <a:lnTo>
                      <a:pt x="3553" y="2235"/>
                    </a:lnTo>
                    <a:lnTo>
                      <a:pt x="3550" y="2225"/>
                    </a:lnTo>
                    <a:lnTo>
                      <a:pt x="3555" y="2221"/>
                    </a:lnTo>
                    <a:lnTo>
                      <a:pt x="3560" y="2195"/>
                    </a:lnTo>
                    <a:lnTo>
                      <a:pt x="3560" y="2185"/>
                    </a:lnTo>
                    <a:lnTo>
                      <a:pt x="3550" y="2173"/>
                    </a:lnTo>
                    <a:lnTo>
                      <a:pt x="3546" y="2164"/>
                    </a:lnTo>
                    <a:lnTo>
                      <a:pt x="3541" y="2150"/>
                    </a:lnTo>
                    <a:lnTo>
                      <a:pt x="3536" y="2114"/>
                    </a:lnTo>
                    <a:lnTo>
                      <a:pt x="3534" y="2102"/>
                    </a:lnTo>
                    <a:lnTo>
                      <a:pt x="3529" y="2093"/>
                    </a:lnTo>
                    <a:lnTo>
                      <a:pt x="3527" y="2086"/>
                    </a:lnTo>
                    <a:lnTo>
                      <a:pt x="3522" y="2076"/>
                    </a:lnTo>
                    <a:lnTo>
                      <a:pt x="3520" y="2067"/>
                    </a:lnTo>
                    <a:lnTo>
                      <a:pt x="3520" y="2065"/>
                    </a:lnTo>
                    <a:lnTo>
                      <a:pt x="3527" y="2067"/>
                    </a:lnTo>
                    <a:lnTo>
                      <a:pt x="3536" y="2081"/>
                    </a:lnTo>
                    <a:lnTo>
                      <a:pt x="3541" y="2091"/>
                    </a:lnTo>
                    <a:close/>
                    <a:moveTo>
                      <a:pt x="3567" y="2079"/>
                    </a:moveTo>
                    <a:lnTo>
                      <a:pt x="3567" y="2083"/>
                    </a:lnTo>
                    <a:lnTo>
                      <a:pt x="3557" y="2083"/>
                    </a:lnTo>
                    <a:lnTo>
                      <a:pt x="3546" y="2079"/>
                    </a:lnTo>
                    <a:lnTo>
                      <a:pt x="3541" y="2072"/>
                    </a:lnTo>
                    <a:lnTo>
                      <a:pt x="3541" y="2069"/>
                    </a:lnTo>
                    <a:lnTo>
                      <a:pt x="3550" y="2065"/>
                    </a:lnTo>
                    <a:lnTo>
                      <a:pt x="3560" y="2072"/>
                    </a:lnTo>
                    <a:lnTo>
                      <a:pt x="3567" y="2079"/>
                    </a:lnTo>
                    <a:close/>
                    <a:moveTo>
                      <a:pt x="3461" y="2081"/>
                    </a:moveTo>
                    <a:lnTo>
                      <a:pt x="3472" y="2095"/>
                    </a:lnTo>
                    <a:lnTo>
                      <a:pt x="3472" y="2098"/>
                    </a:lnTo>
                    <a:lnTo>
                      <a:pt x="3470" y="2107"/>
                    </a:lnTo>
                    <a:lnTo>
                      <a:pt x="3465" y="2112"/>
                    </a:lnTo>
                    <a:lnTo>
                      <a:pt x="3468" y="2114"/>
                    </a:lnTo>
                    <a:lnTo>
                      <a:pt x="3470" y="2117"/>
                    </a:lnTo>
                    <a:lnTo>
                      <a:pt x="3475" y="2114"/>
                    </a:lnTo>
                    <a:lnTo>
                      <a:pt x="3484" y="2100"/>
                    </a:lnTo>
                    <a:lnTo>
                      <a:pt x="3489" y="2098"/>
                    </a:lnTo>
                    <a:lnTo>
                      <a:pt x="3491" y="2098"/>
                    </a:lnTo>
                    <a:lnTo>
                      <a:pt x="3505" y="2100"/>
                    </a:lnTo>
                    <a:lnTo>
                      <a:pt x="3517" y="2107"/>
                    </a:lnTo>
                    <a:lnTo>
                      <a:pt x="3520" y="2112"/>
                    </a:lnTo>
                    <a:lnTo>
                      <a:pt x="3522" y="2121"/>
                    </a:lnTo>
                    <a:lnTo>
                      <a:pt x="3520" y="2140"/>
                    </a:lnTo>
                    <a:lnTo>
                      <a:pt x="3510" y="2143"/>
                    </a:lnTo>
                    <a:lnTo>
                      <a:pt x="3505" y="2143"/>
                    </a:lnTo>
                    <a:lnTo>
                      <a:pt x="3501" y="2140"/>
                    </a:lnTo>
                    <a:lnTo>
                      <a:pt x="3494" y="2147"/>
                    </a:lnTo>
                    <a:lnTo>
                      <a:pt x="3501" y="2152"/>
                    </a:lnTo>
                    <a:lnTo>
                      <a:pt x="3520" y="2152"/>
                    </a:lnTo>
                    <a:lnTo>
                      <a:pt x="3527" y="2164"/>
                    </a:lnTo>
                    <a:lnTo>
                      <a:pt x="3529" y="2171"/>
                    </a:lnTo>
                    <a:lnTo>
                      <a:pt x="3527" y="2187"/>
                    </a:lnTo>
                    <a:lnTo>
                      <a:pt x="3515" y="2183"/>
                    </a:lnTo>
                    <a:lnTo>
                      <a:pt x="3503" y="2176"/>
                    </a:lnTo>
                    <a:lnTo>
                      <a:pt x="3482" y="2164"/>
                    </a:lnTo>
                    <a:lnTo>
                      <a:pt x="3477" y="2164"/>
                    </a:lnTo>
                    <a:lnTo>
                      <a:pt x="3472" y="2166"/>
                    </a:lnTo>
                    <a:lnTo>
                      <a:pt x="3472" y="2173"/>
                    </a:lnTo>
                    <a:lnTo>
                      <a:pt x="3472" y="2190"/>
                    </a:lnTo>
                    <a:lnTo>
                      <a:pt x="3468" y="2199"/>
                    </a:lnTo>
                    <a:lnTo>
                      <a:pt x="3451" y="2195"/>
                    </a:lnTo>
                    <a:lnTo>
                      <a:pt x="3444" y="2183"/>
                    </a:lnTo>
                    <a:lnTo>
                      <a:pt x="3437" y="2164"/>
                    </a:lnTo>
                    <a:lnTo>
                      <a:pt x="3413" y="2140"/>
                    </a:lnTo>
                    <a:lnTo>
                      <a:pt x="3409" y="2135"/>
                    </a:lnTo>
                    <a:lnTo>
                      <a:pt x="3399" y="2121"/>
                    </a:lnTo>
                    <a:lnTo>
                      <a:pt x="3401" y="2112"/>
                    </a:lnTo>
                    <a:lnTo>
                      <a:pt x="3404" y="2105"/>
                    </a:lnTo>
                    <a:lnTo>
                      <a:pt x="3406" y="2102"/>
                    </a:lnTo>
                    <a:lnTo>
                      <a:pt x="3413" y="2098"/>
                    </a:lnTo>
                    <a:lnTo>
                      <a:pt x="3416" y="2086"/>
                    </a:lnTo>
                    <a:lnTo>
                      <a:pt x="3423" y="2095"/>
                    </a:lnTo>
                    <a:lnTo>
                      <a:pt x="3430" y="2102"/>
                    </a:lnTo>
                    <a:lnTo>
                      <a:pt x="3430" y="2095"/>
                    </a:lnTo>
                    <a:lnTo>
                      <a:pt x="3435" y="2088"/>
                    </a:lnTo>
                    <a:lnTo>
                      <a:pt x="3442" y="2088"/>
                    </a:lnTo>
                    <a:lnTo>
                      <a:pt x="3444" y="2088"/>
                    </a:lnTo>
                    <a:lnTo>
                      <a:pt x="3449" y="2081"/>
                    </a:lnTo>
                    <a:lnTo>
                      <a:pt x="3456" y="2079"/>
                    </a:lnTo>
                    <a:lnTo>
                      <a:pt x="3461" y="2081"/>
                    </a:lnTo>
                    <a:close/>
                    <a:moveTo>
                      <a:pt x="2170" y="2069"/>
                    </a:moveTo>
                    <a:lnTo>
                      <a:pt x="2170" y="2076"/>
                    </a:lnTo>
                    <a:lnTo>
                      <a:pt x="2172" y="2076"/>
                    </a:lnTo>
                    <a:lnTo>
                      <a:pt x="2186" y="2069"/>
                    </a:lnTo>
                    <a:lnTo>
                      <a:pt x="2191" y="2067"/>
                    </a:lnTo>
                    <a:lnTo>
                      <a:pt x="2201" y="2069"/>
                    </a:lnTo>
                    <a:lnTo>
                      <a:pt x="2205" y="2074"/>
                    </a:lnTo>
                    <a:lnTo>
                      <a:pt x="2205" y="2076"/>
                    </a:lnTo>
                    <a:lnTo>
                      <a:pt x="2205" y="2079"/>
                    </a:lnTo>
                    <a:lnTo>
                      <a:pt x="2198" y="2086"/>
                    </a:lnTo>
                    <a:lnTo>
                      <a:pt x="2198" y="2091"/>
                    </a:lnTo>
                    <a:lnTo>
                      <a:pt x="2203" y="2098"/>
                    </a:lnTo>
                    <a:lnTo>
                      <a:pt x="2215" y="2105"/>
                    </a:lnTo>
                    <a:lnTo>
                      <a:pt x="2217" y="2107"/>
                    </a:lnTo>
                    <a:lnTo>
                      <a:pt x="2217" y="2109"/>
                    </a:lnTo>
                    <a:lnTo>
                      <a:pt x="2205" y="2121"/>
                    </a:lnTo>
                    <a:lnTo>
                      <a:pt x="2201" y="2124"/>
                    </a:lnTo>
                    <a:lnTo>
                      <a:pt x="2198" y="2126"/>
                    </a:lnTo>
                    <a:lnTo>
                      <a:pt x="2184" y="2121"/>
                    </a:lnTo>
                    <a:lnTo>
                      <a:pt x="2168" y="2114"/>
                    </a:lnTo>
                    <a:lnTo>
                      <a:pt x="2163" y="2112"/>
                    </a:lnTo>
                    <a:lnTo>
                      <a:pt x="2160" y="2112"/>
                    </a:lnTo>
                    <a:lnTo>
                      <a:pt x="2156" y="2117"/>
                    </a:lnTo>
                    <a:lnTo>
                      <a:pt x="2158" y="2119"/>
                    </a:lnTo>
                    <a:lnTo>
                      <a:pt x="2172" y="2121"/>
                    </a:lnTo>
                    <a:lnTo>
                      <a:pt x="2175" y="2128"/>
                    </a:lnTo>
                    <a:lnTo>
                      <a:pt x="2177" y="2133"/>
                    </a:lnTo>
                    <a:lnTo>
                      <a:pt x="2177" y="2138"/>
                    </a:lnTo>
                    <a:lnTo>
                      <a:pt x="2175" y="2138"/>
                    </a:lnTo>
                    <a:lnTo>
                      <a:pt x="2168" y="2140"/>
                    </a:lnTo>
                    <a:lnTo>
                      <a:pt x="2160" y="2138"/>
                    </a:lnTo>
                    <a:lnTo>
                      <a:pt x="2151" y="2143"/>
                    </a:lnTo>
                    <a:lnTo>
                      <a:pt x="2146" y="2147"/>
                    </a:lnTo>
                    <a:lnTo>
                      <a:pt x="2130" y="2147"/>
                    </a:lnTo>
                    <a:lnTo>
                      <a:pt x="2116" y="2154"/>
                    </a:lnTo>
                    <a:lnTo>
                      <a:pt x="2111" y="2157"/>
                    </a:lnTo>
                    <a:lnTo>
                      <a:pt x="2108" y="2161"/>
                    </a:lnTo>
                    <a:lnTo>
                      <a:pt x="2101" y="2164"/>
                    </a:lnTo>
                    <a:lnTo>
                      <a:pt x="2090" y="2166"/>
                    </a:lnTo>
                    <a:lnTo>
                      <a:pt x="2097" y="2171"/>
                    </a:lnTo>
                    <a:lnTo>
                      <a:pt x="2097" y="2173"/>
                    </a:lnTo>
                    <a:lnTo>
                      <a:pt x="2097" y="2176"/>
                    </a:lnTo>
                    <a:lnTo>
                      <a:pt x="2094" y="2180"/>
                    </a:lnTo>
                    <a:lnTo>
                      <a:pt x="2085" y="2192"/>
                    </a:lnTo>
                    <a:lnTo>
                      <a:pt x="2066" y="2202"/>
                    </a:lnTo>
                    <a:lnTo>
                      <a:pt x="2061" y="2199"/>
                    </a:lnTo>
                    <a:lnTo>
                      <a:pt x="2061" y="2199"/>
                    </a:lnTo>
                    <a:lnTo>
                      <a:pt x="2059" y="2197"/>
                    </a:lnTo>
                    <a:lnTo>
                      <a:pt x="2059" y="2195"/>
                    </a:lnTo>
                    <a:lnTo>
                      <a:pt x="2085" y="2173"/>
                    </a:lnTo>
                    <a:lnTo>
                      <a:pt x="2085" y="2173"/>
                    </a:lnTo>
                    <a:lnTo>
                      <a:pt x="2078" y="2171"/>
                    </a:lnTo>
                    <a:lnTo>
                      <a:pt x="2071" y="2164"/>
                    </a:lnTo>
                    <a:lnTo>
                      <a:pt x="2064" y="2166"/>
                    </a:lnTo>
                    <a:lnTo>
                      <a:pt x="2061" y="2166"/>
                    </a:lnTo>
                    <a:lnTo>
                      <a:pt x="2064" y="2161"/>
                    </a:lnTo>
                    <a:lnTo>
                      <a:pt x="2071" y="2154"/>
                    </a:lnTo>
                    <a:lnTo>
                      <a:pt x="2068" y="2152"/>
                    </a:lnTo>
                    <a:lnTo>
                      <a:pt x="2068" y="2150"/>
                    </a:lnTo>
                    <a:lnTo>
                      <a:pt x="2061" y="2150"/>
                    </a:lnTo>
                    <a:lnTo>
                      <a:pt x="2054" y="2147"/>
                    </a:lnTo>
                    <a:lnTo>
                      <a:pt x="2047" y="2147"/>
                    </a:lnTo>
                    <a:lnTo>
                      <a:pt x="2042" y="2150"/>
                    </a:lnTo>
                    <a:lnTo>
                      <a:pt x="2042" y="2152"/>
                    </a:lnTo>
                    <a:lnTo>
                      <a:pt x="2052" y="2152"/>
                    </a:lnTo>
                    <a:lnTo>
                      <a:pt x="2054" y="2154"/>
                    </a:lnTo>
                    <a:lnTo>
                      <a:pt x="2054" y="2159"/>
                    </a:lnTo>
                    <a:lnTo>
                      <a:pt x="2056" y="2161"/>
                    </a:lnTo>
                    <a:lnTo>
                      <a:pt x="2056" y="2166"/>
                    </a:lnTo>
                    <a:lnTo>
                      <a:pt x="2052" y="2173"/>
                    </a:lnTo>
                    <a:lnTo>
                      <a:pt x="2047" y="2178"/>
                    </a:lnTo>
                    <a:lnTo>
                      <a:pt x="2042" y="2176"/>
                    </a:lnTo>
                    <a:lnTo>
                      <a:pt x="2033" y="2159"/>
                    </a:lnTo>
                    <a:lnTo>
                      <a:pt x="2030" y="2133"/>
                    </a:lnTo>
                    <a:lnTo>
                      <a:pt x="2023" y="2114"/>
                    </a:lnTo>
                    <a:lnTo>
                      <a:pt x="2023" y="2109"/>
                    </a:lnTo>
                    <a:lnTo>
                      <a:pt x="2028" y="2100"/>
                    </a:lnTo>
                    <a:lnTo>
                      <a:pt x="2042" y="2086"/>
                    </a:lnTo>
                    <a:lnTo>
                      <a:pt x="2054" y="2083"/>
                    </a:lnTo>
                    <a:lnTo>
                      <a:pt x="2064" y="2079"/>
                    </a:lnTo>
                    <a:lnTo>
                      <a:pt x="2071" y="2076"/>
                    </a:lnTo>
                    <a:lnTo>
                      <a:pt x="2075" y="2079"/>
                    </a:lnTo>
                    <a:lnTo>
                      <a:pt x="2082" y="2081"/>
                    </a:lnTo>
                    <a:lnTo>
                      <a:pt x="2082" y="2088"/>
                    </a:lnTo>
                    <a:lnTo>
                      <a:pt x="2080" y="2091"/>
                    </a:lnTo>
                    <a:lnTo>
                      <a:pt x="2082" y="2093"/>
                    </a:lnTo>
                    <a:lnTo>
                      <a:pt x="2085" y="2098"/>
                    </a:lnTo>
                    <a:lnTo>
                      <a:pt x="2087" y="2109"/>
                    </a:lnTo>
                    <a:lnTo>
                      <a:pt x="2092" y="2124"/>
                    </a:lnTo>
                    <a:lnTo>
                      <a:pt x="2094" y="2128"/>
                    </a:lnTo>
                    <a:lnTo>
                      <a:pt x="2099" y="2131"/>
                    </a:lnTo>
                    <a:lnTo>
                      <a:pt x="2097" y="2121"/>
                    </a:lnTo>
                    <a:lnTo>
                      <a:pt x="2094" y="2112"/>
                    </a:lnTo>
                    <a:lnTo>
                      <a:pt x="2097" y="2088"/>
                    </a:lnTo>
                    <a:lnTo>
                      <a:pt x="2097" y="2083"/>
                    </a:lnTo>
                    <a:lnTo>
                      <a:pt x="2099" y="2083"/>
                    </a:lnTo>
                    <a:lnTo>
                      <a:pt x="2106" y="2083"/>
                    </a:lnTo>
                    <a:lnTo>
                      <a:pt x="2108" y="2081"/>
                    </a:lnTo>
                    <a:lnTo>
                      <a:pt x="2099" y="2072"/>
                    </a:lnTo>
                    <a:lnTo>
                      <a:pt x="2097" y="2067"/>
                    </a:lnTo>
                    <a:lnTo>
                      <a:pt x="2094" y="2060"/>
                    </a:lnTo>
                    <a:lnTo>
                      <a:pt x="2094" y="2057"/>
                    </a:lnTo>
                    <a:lnTo>
                      <a:pt x="2101" y="2053"/>
                    </a:lnTo>
                    <a:lnTo>
                      <a:pt x="2104" y="2050"/>
                    </a:lnTo>
                    <a:lnTo>
                      <a:pt x="2106" y="2050"/>
                    </a:lnTo>
                    <a:lnTo>
                      <a:pt x="2111" y="2053"/>
                    </a:lnTo>
                    <a:lnTo>
                      <a:pt x="2113" y="2055"/>
                    </a:lnTo>
                    <a:lnTo>
                      <a:pt x="2118" y="2069"/>
                    </a:lnTo>
                    <a:lnTo>
                      <a:pt x="2123" y="2074"/>
                    </a:lnTo>
                    <a:lnTo>
                      <a:pt x="2125" y="2074"/>
                    </a:lnTo>
                    <a:lnTo>
                      <a:pt x="2127" y="2072"/>
                    </a:lnTo>
                    <a:lnTo>
                      <a:pt x="2130" y="2069"/>
                    </a:lnTo>
                    <a:lnTo>
                      <a:pt x="2132" y="2067"/>
                    </a:lnTo>
                    <a:lnTo>
                      <a:pt x="2137" y="2065"/>
                    </a:lnTo>
                    <a:lnTo>
                      <a:pt x="2144" y="2069"/>
                    </a:lnTo>
                    <a:lnTo>
                      <a:pt x="2146" y="2069"/>
                    </a:lnTo>
                    <a:lnTo>
                      <a:pt x="2149" y="2065"/>
                    </a:lnTo>
                    <a:lnTo>
                      <a:pt x="2149" y="2060"/>
                    </a:lnTo>
                    <a:lnTo>
                      <a:pt x="2151" y="2057"/>
                    </a:lnTo>
                    <a:lnTo>
                      <a:pt x="2151" y="2053"/>
                    </a:lnTo>
                    <a:lnTo>
                      <a:pt x="2149" y="2046"/>
                    </a:lnTo>
                    <a:lnTo>
                      <a:pt x="2153" y="2046"/>
                    </a:lnTo>
                    <a:lnTo>
                      <a:pt x="2170" y="2053"/>
                    </a:lnTo>
                    <a:lnTo>
                      <a:pt x="2175" y="2057"/>
                    </a:lnTo>
                    <a:lnTo>
                      <a:pt x="2170" y="2069"/>
                    </a:lnTo>
                    <a:close/>
                    <a:moveTo>
                      <a:pt x="2146" y="2060"/>
                    </a:moveTo>
                    <a:lnTo>
                      <a:pt x="2144" y="2065"/>
                    </a:lnTo>
                    <a:lnTo>
                      <a:pt x="2142" y="2062"/>
                    </a:lnTo>
                    <a:lnTo>
                      <a:pt x="2137" y="2057"/>
                    </a:lnTo>
                    <a:lnTo>
                      <a:pt x="2130" y="2050"/>
                    </a:lnTo>
                    <a:lnTo>
                      <a:pt x="2127" y="2043"/>
                    </a:lnTo>
                    <a:lnTo>
                      <a:pt x="2127" y="2043"/>
                    </a:lnTo>
                    <a:lnTo>
                      <a:pt x="2130" y="2041"/>
                    </a:lnTo>
                    <a:lnTo>
                      <a:pt x="2139" y="2048"/>
                    </a:lnTo>
                    <a:lnTo>
                      <a:pt x="2144" y="2053"/>
                    </a:lnTo>
                    <a:lnTo>
                      <a:pt x="2146" y="2060"/>
                    </a:lnTo>
                    <a:close/>
                    <a:moveTo>
                      <a:pt x="3524" y="2206"/>
                    </a:moveTo>
                    <a:lnTo>
                      <a:pt x="3531" y="2221"/>
                    </a:lnTo>
                    <a:lnTo>
                      <a:pt x="3536" y="2232"/>
                    </a:lnTo>
                    <a:lnTo>
                      <a:pt x="3541" y="2247"/>
                    </a:lnTo>
                    <a:lnTo>
                      <a:pt x="3550" y="2275"/>
                    </a:lnTo>
                    <a:lnTo>
                      <a:pt x="3553" y="2287"/>
                    </a:lnTo>
                    <a:lnTo>
                      <a:pt x="3555" y="2294"/>
                    </a:lnTo>
                    <a:lnTo>
                      <a:pt x="3557" y="2310"/>
                    </a:lnTo>
                    <a:lnTo>
                      <a:pt x="3555" y="2313"/>
                    </a:lnTo>
                    <a:lnTo>
                      <a:pt x="3553" y="2315"/>
                    </a:lnTo>
                    <a:lnTo>
                      <a:pt x="3553" y="2320"/>
                    </a:lnTo>
                    <a:lnTo>
                      <a:pt x="3555" y="2334"/>
                    </a:lnTo>
                    <a:lnTo>
                      <a:pt x="3557" y="2351"/>
                    </a:lnTo>
                    <a:lnTo>
                      <a:pt x="3555" y="2362"/>
                    </a:lnTo>
                    <a:lnTo>
                      <a:pt x="3553" y="2365"/>
                    </a:lnTo>
                    <a:lnTo>
                      <a:pt x="3548" y="2360"/>
                    </a:lnTo>
                    <a:lnTo>
                      <a:pt x="3543" y="2355"/>
                    </a:lnTo>
                    <a:lnTo>
                      <a:pt x="3541" y="2348"/>
                    </a:lnTo>
                    <a:lnTo>
                      <a:pt x="3531" y="2332"/>
                    </a:lnTo>
                    <a:lnTo>
                      <a:pt x="3529" y="2322"/>
                    </a:lnTo>
                    <a:lnTo>
                      <a:pt x="3529" y="2315"/>
                    </a:lnTo>
                    <a:lnTo>
                      <a:pt x="3529" y="2310"/>
                    </a:lnTo>
                    <a:lnTo>
                      <a:pt x="3531" y="2308"/>
                    </a:lnTo>
                    <a:lnTo>
                      <a:pt x="3536" y="2301"/>
                    </a:lnTo>
                    <a:lnTo>
                      <a:pt x="3534" y="2299"/>
                    </a:lnTo>
                    <a:lnTo>
                      <a:pt x="3531" y="2301"/>
                    </a:lnTo>
                    <a:lnTo>
                      <a:pt x="3524" y="2303"/>
                    </a:lnTo>
                    <a:lnTo>
                      <a:pt x="3517" y="2296"/>
                    </a:lnTo>
                    <a:lnTo>
                      <a:pt x="3513" y="2294"/>
                    </a:lnTo>
                    <a:lnTo>
                      <a:pt x="3515" y="2284"/>
                    </a:lnTo>
                    <a:lnTo>
                      <a:pt x="3513" y="2280"/>
                    </a:lnTo>
                    <a:lnTo>
                      <a:pt x="3503" y="2284"/>
                    </a:lnTo>
                    <a:lnTo>
                      <a:pt x="3498" y="2282"/>
                    </a:lnTo>
                    <a:lnTo>
                      <a:pt x="3498" y="2277"/>
                    </a:lnTo>
                    <a:lnTo>
                      <a:pt x="3498" y="2270"/>
                    </a:lnTo>
                    <a:lnTo>
                      <a:pt x="3501" y="2266"/>
                    </a:lnTo>
                    <a:lnTo>
                      <a:pt x="3508" y="2251"/>
                    </a:lnTo>
                    <a:lnTo>
                      <a:pt x="3508" y="2249"/>
                    </a:lnTo>
                    <a:lnTo>
                      <a:pt x="3503" y="2249"/>
                    </a:lnTo>
                    <a:lnTo>
                      <a:pt x="3496" y="2244"/>
                    </a:lnTo>
                    <a:lnTo>
                      <a:pt x="3494" y="2230"/>
                    </a:lnTo>
                    <a:lnTo>
                      <a:pt x="3487" y="2221"/>
                    </a:lnTo>
                    <a:lnTo>
                      <a:pt x="3484" y="2223"/>
                    </a:lnTo>
                    <a:lnTo>
                      <a:pt x="3477" y="2247"/>
                    </a:lnTo>
                    <a:lnTo>
                      <a:pt x="3472" y="2251"/>
                    </a:lnTo>
                    <a:lnTo>
                      <a:pt x="3461" y="2256"/>
                    </a:lnTo>
                    <a:lnTo>
                      <a:pt x="3463" y="2249"/>
                    </a:lnTo>
                    <a:lnTo>
                      <a:pt x="3465" y="2244"/>
                    </a:lnTo>
                    <a:lnTo>
                      <a:pt x="3461" y="2225"/>
                    </a:lnTo>
                    <a:lnTo>
                      <a:pt x="3458" y="2218"/>
                    </a:lnTo>
                    <a:lnTo>
                      <a:pt x="3463" y="2213"/>
                    </a:lnTo>
                    <a:lnTo>
                      <a:pt x="3470" y="2211"/>
                    </a:lnTo>
                    <a:lnTo>
                      <a:pt x="3475" y="2206"/>
                    </a:lnTo>
                    <a:lnTo>
                      <a:pt x="3477" y="2202"/>
                    </a:lnTo>
                    <a:lnTo>
                      <a:pt x="3477" y="2197"/>
                    </a:lnTo>
                    <a:lnTo>
                      <a:pt x="3484" y="2183"/>
                    </a:lnTo>
                    <a:lnTo>
                      <a:pt x="3487" y="2180"/>
                    </a:lnTo>
                    <a:lnTo>
                      <a:pt x="3494" y="2180"/>
                    </a:lnTo>
                    <a:lnTo>
                      <a:pt x="3510" y="2195"/>
                    </a:lnTo>
                    <a:lnTo>
                      <a:pt x="3517" y="2197"/>
                    </a:lnTo>
                    <a:lnTo>
                      <a:pt x="3524" y="2206"/>
                    </a:lnTo>
                    <a:close/>
                    <a:moveTo>
                      <a:pt x="877" y="1835"/>
                    </a:moveTo>
                    <a:lnTo>
                      <a:pt x="867" y="1840"/>
                    </a:lnTo>
                    <a:lnTo>
                      <a:pt x="863" y="1835"/>
                    </a:lnTo>
                    <a:lnTo>
                      <a:pt x="860" y="1830"/>
                    </a:lnTo>
                    <a:lnTo>
                      <a:pt x="863" y="1828"/>
                    </a:lnTo>
                    <a:lnTo>
                      <a:pt x="884" y="1830"/>
                    </a:lnTo>
                    <a:lnTo>
                      <a:pt x="877" y="1835"/>
                    </a:lnTo>
                    <a:close/>
                    <a:moveTo>
                      <a:pt x="2146" y="2164"/>
                    </a:moveTo>
                    <a:lnTo>
                      <a:pt x="2137" y="2169"/>
                    </a:lnTo>
                    <a:lnTo>
                      <a:pt x="2134" y="2166"/>
                    </a:lnTo>
                    <a:lnTo>
                      <a:pt x="2127" y="2176"/>
                    </a:lnTo>
                    <a:lnTo>
                      <a:pt x="2123" y="2178"/>
                    </a:lnTo>
                    <a:lnTo>
                      <a:pt x="2118" y="2171"/>
                    </a:lnTo>
                    <a:lnTo>
                      <a:pt x="2120" y="2159"/>
                    </a:lnTo>
                    <a:lnTo>
                      <a:pt x="2127" y="2152"/>
                    </a:lnTo>
                    <a:lnTo>
                      <a:pt x="2153" y="2159"/>
                    </a:lnTo>
                    <a:lnTo>
                      <a:pt x="2156" y="2161"/>
                    </a:lnTo>
                    <a:lnTo>
                      <a:pt x="2156" y="2164"/>
                    </a:lnTo>
                    <a:lnTo>
                      <a:pt x="2153" y="2164"/>
                    </a:lnTo>
                    <a:lnTo>
                      <a:pt x="2146" y="2164"/>
                    </a:lnTo>
                    <a:close/>
                    <a:moveTo>
                      <a:pt x="3650" y="2247"/>
                    </a:moveTo>
                    <a:lnTo>
                      <a:pt x="3654" y="2251"/>
                    </a:lnTo>
                    <a:lnTo>
                      <a:pt x="3657" y="2247"/>
                    </a:lnTo>
                    <a:lnTo>
                      <a:pt x="3661" y="2247"/>
                    </a:lnTo>
                    <a:lnTo>
                      <a:pt x="3671" y="2251"/>
                    </a:lnTo>
                    <a:lnTo>
                      <a:pt x="3678" y="2256"/>
                    </a:lnTo>
                    <a:lnTo>
                      <a:pt x="3683" y="2263"/>
                    </a:lnTo>
                    <a:lnTo>
                      <a:pt x="3683" y="2268"/>
                    </a:lnTo>
                    <a:lnTo>
                      <a:pt x="3683" y="2277"/>
                    </a:lnTo>
                    <a:lnTo>
                      <a:pt x="3683" y="2287"/>
                    </a:lnTo>
                    <a:lnTo>
                      <a:pt x="3683" y="2292"/>
                    </a:lnTo>
                    <a:lnTo>
                      <a:pt x="3683" y="2296"/>
                    </a:lnTo>
                    <a:lnTo>
                      <a:pt x="3680" y="2299"/>
                    </a:lnTo>
                    <a:lnTo>
                      <a:pt x="3678" y="2301"/>
                    </a:lnTo>
                    <a:lnTo>
                      <a:pt x="3669" y="2292"/>
                    </a:lnTo>
                    <a:lnTo>
                      <a:pt x="3659" y="2277"/>
                    </a:lnTo>
                    <a:lnTo>
                      <a:pt x="3654" y="2273"/>
                    </a:lnTo>
                    <a:lnTo>
                      <a:pt x="3652" y="2273"/>
                    </a:lnTo>
                    <a:lnTo>
                      <a:pt x="3654" y="2277"/>
                    </a:lnTo>
                    <a:lnTo>
                      <a:pt x="3661" y="2287"/>
                    </a:lnTo>
                    <a:lnTo>
                      <a:pt x="3661" y="2292"/>
                    </a:lnTo>
                    <a:lnTo>
                      <a:pt x="3666" y="2296"/>
                    </a:lnTo>
                    <a:lnTo>
                      <a:pt x="3669" y="2301"/>
                    </a:lnTo>
                    <a:lnTo>
                      <a:pt x="3671" y="2308"/>
                    </a:lnTo>
                    <a:lnTo>
                      <a:pt x="3671" y="2313"/>
                    </a:lnTo>
                    <a:lnTo>
                      <a:pt x="3669" y="2318"/>
                    </a:lnTo>
                    <a:lnTo>
                      <a:pt x="3669" y="2322"/>
                    </a:lnTo>
                    <a:lnTo>
                      <a:pt x="3666" y="2322"/>
                    </a:lnTo>
                    <a:lnTo>
                      <a:pt x="3652" y="2322"/>
                    </a:lnTo>
                    <a:lnTo>
                      <a:pt x="3645" y="2327"/>
                    </a:lnTo>
                    <a:lnTo>
                      <a:pt x="3635" y="2325"/>
                    </a:lnTo>
                    <a:lnTo>
                      <a:pt x="3633" y="2322"/>
                    </a:lnTo>
                    <a:lnTo>
                      <a:pt x="3631" y="2318"/>
                    </a:lnTo>
                    <a:lnTo>
                      <a:pt x="3631" y="2306"/>
                    </a:lnTo>
                    <a:lnTo>
                      <a:pt x="3626" y="2292"/>
                    </a:lnTo>
                    <a:lnTo>
                      <a:pt x="3626" y="2277"/>
                    </a:lnTo>
                    <a:lnTo>
                      <a:pt x="3619" y="2268"/>
                    </a:lnTo>
                    <a:lnTo>
                      <a:pt x="3614" y="2261"/>
                    </a:lnTo>
                    <a:lnTo>
                      <a:pt x="3607" y="2256"/>
                    </a:lnTo>
                    <a:lnTo>
                      <a:pt x="3602" y="2249"/>
                    </a:lnTo>
                    <a:lnTo>
                      <a:pt x="3602" y="2244"/>
                    </a:lnTo>
                    <a:lnTo>
                      <a:pt x="3609" y="2242"/>
                    </a:lnTo>
                    <a:lnTo>
                      <a:pt x="3621" y="2242"/>
                    </a:lnTo>
                    <a:lnTo>
                      <a:pt x="3650" y="2247"/>
                    </a:lnTo>
                    <a:close/>
                    <a:moveTo>
                      <a:pt x="3602" y="2273"/>
                    </a:moveTo>
                    <a:lnTo>
                      <a:pt x="3607" y="2282"/>
                    </a:lnTo>
                    <a:lnTo>
                      <a:pt x="3614" y="2282"/>
                    </a:lnTo>
                    <a:lnTo>
                      <a:pt x="3619" y="2289"/>
                    </a:lnTo>
                    <a:lnTo>
                      <a:pt x="3624" y="2299"/>
                    </a:lnTo>
                    <a:lnTo>
                      <a:pt x="3621" y="2306"/>
                    </a:lnTo>
                    <a:lnTo>
                      <a:pt x="3619" y="2306"/>
                    </a:lnTo>
                    <a:lnTo>
                      <a:pt x="3614" y="2308"/>
                    </a:lnTo>
                    <a:lnTo>
                      <a:pt x="3614" y="2322"/>
                    </a:lnTo>
                    <a:lnTo>
                      <a:pt x="3614" y="2336"/>
                    </a:lnTo>
                    <a:lnTo>
                      <a:pt x="3614" y="2351"/>
                    </a:lnTo>
                    <a:lnTo>
                      <a:pt x="3612" y="2365"/>
                    </a:lnTo>
                    <a:lnTo>
                      <a:pt x="3612" y="2372"/>
                    </a:lnTo>
                    <a:lnTo>
                      <a:pt x="3609" y="2377"/>
                    </a:lnTo>
                    <a:lnTo>
                      <a:pt x="3607" y="2377"/>
                    </a:lnTo>
                    <a:lnTo>
                      <a:pt x="3605" y="2374"/>
                    </a:lnTo>
                    <a:lnTo>
                      <a:pt x="3602" y="2372"/>
                    </a:lnTo>
                    <a:lnTo>
                      <a:pt x="3598" y="2381"/>
                    </a:lnTo>
                    <a:lnTo>
                      <a:pt x="3593" y="2381"/>
                    </a:lnTo>
                    <a:lnTo>
                      <a:pt x="3588" y="2365"/>
                    </a:lnTo>
                    <a:lnTo>
                      <a:pt x="3591" y="2334"/>
                    </a:lnTo>
                    <a:lnTo>
                      <a:pt x="3598" y="2327"/>
                    </a:lnTo>
                    <a:lnTo>
                      <a:pt x="3593" y="2320"/>
                    </a:lnTo>
                    <a:lnTo>
                      <a:pt x="3581" y="2310"/>
                    </a:lnTo>
                    <a:lnTo>
                      <a:pt x="3581" y="2306"/>
                    </a:lnTo>
                    <a:lnTo>
                      <a:pt x="3574" y="2292"/>
                    </a:lnTo>
                    <a:lnTo>
                      <a:pt x="3572" y="2287"/>
                    </a:lnTo>
                    <a:lnTo>
                      <a:pt x="3574" y="2275"/>
                    </a:lnTo>
                    <a:lnTo>
                      <a:pt x="3581" y="2263"/>
                    </a:lnTo>
                    <a:lnTo>
                      <a:pt x="3591" y="2261"/>
                    </a:lnTo>
                    <a:lnTo>
                      <a:pt x="3598" y="2266"/>
                    </a:lnTo>
                    <a:lnTo>
                      <a:pt x="3602" y="2270"/>
                    </a:lnTo>
                    <a:lnTo>
                      <a:pt x="3602" y="2273"/>
                    </a:lnTo>
                    <a:close/>
                    <a:moveTo>
                      <a:pt x="3702" y="2310"/>
                    </a:moveTo>
                    <a:lnTo>
                      <a:pt x="3699" y="2313"/>
                    </a:lnTo>
                    <a:lnTo>
                      <a:pt x="3690" y="2315"/>
                    </a:lnTo>
                    <a:lnTo>
                      <a:pt x="3687" y="2313"/>
                    </a:lnTo>
                    <a:lnTo>
                      <a:pt x="3685" y="2306"/>
                    </a:lnTo>
                    <a:lnTo>
                      <a:pt x="3685" y="2301"/>
                    </a:lnTo>
                    <a:lnTo>
                      <a:pt x="3687" y="2296"/>
                    </a:lnTo>
                    <a:lnTo>
                      <a:pt x="3690" y="2289"/>
                    </a:lnTo>
                    <a:lnTo>
                      <a:pt x="3692" y="2275"/>
                    </a:lnTo>
                    <a:lnTo>
                      <a:pt x="3706" y="2289"/>
                    </a:lnTo>
                    <a:lnTo>
                      <a:pt x="3711" y="2296"/>
                    </a:lnTo>
                    <a:lnTo>
                      <a:pt x="3713" y="2303"/>
                    </a:lnTo>
                    <a:lnTo>
                      <a:pt x="3709" y="2308"/>
                    </a:lnTo>
                    <a:lnTo>
                      <a:pt x="3704" y="2308"/>
                    </a:lnTo>
                    <a:lnTo>
                      <a:pt x="3702" y="2310"/>
                    </a:lnTo>
                    <a:close/>
                    <a:moveTo>
                      <a:pt x="882" y="1920"/>
                    </a:moveTo>
                    <a:lnTo>
                      <a:pt x="889" y="1925"/>
                    </a:lnTo>
                    <a:lnTo>
                      <a:pt x="896" y="1925"/>
                    </a:lnTo>
                    <a:lnTo>
                      <a:pt x="901" y="1930"/>
                    </a:lnTo>
                    <a:lnTo>
                      <a:pt x="901" y="1932"/>
                    </a:lnTo>
                    <a:lnTo>
                      <a:pt x="889" y="1937"/>
                    </a:lnTo>
                    <a:lnTo>
                      <a:pt x="886" y="1934"/>
                    </a:lnTo>
                    <a:lnTo>
                      <a:pt x="879" y="1923"/>
                    </a:lnTo>
                    <a:lnTo>
                      <a:pt x="882" y="1920"/>
                    </a:lnTo>
                    <a:close/>
                    <a:moveTo>
                      <a:pt x="2042" y="2235"/>
                    </a:moveTo>
                    <a:lnTo>
                      <a:pt x="2038" y="2235"/>
                    </a:lnTo>
                    <a:lnTo>
                      <a:pt x="2033" y="2230"/>
                    </a:lnTo>
                    <a:lnTo>
                      <a:pt x="2035" y="2225"/>
                    </a:lnTo>
                    <a:lnTo>
                      <a:pt x="2045" y="2221"/>
                    </a:lnTo>
                    <a:lnTo>
                      <a:pt x="2052" y="2223"/>
                    </a:lnTo>
                    <a:lnTo>
                      <a:pt x="2052" y="2228"/>
                    </a:lnTo>
                    <a:lnTo>
                      <a:pt x="2052" y="2230"/>
                    </a:lnTo>
                    <a:lnTo>
                      <a:pt x="2049" y="2232"/>
                    </a:lnTo>
                    <a:lnTo>
                      <a:pt x="2047" y="2232"/>
                    </a:lnTo>
                    <a:lnTo>
                      <a:pt x="2042" y="2235"/>
                    </a:lnTo>
                    <a:close/>
                    <a:moveTo>
                      <a:pt x="2004" y="2240"/>
                    </a:moveTo>
                    <a:lnTo>
                      <a:pt x="1997" y="2242"/>
                    </a:lnTo>
                    <a:lnTo>
                      <a:pt x="1997" y="2240"/>
                    </a:lnTo>
                    <a:lnTo>
                      <a:pt x="1997" y="2237"/>
                    </a:lnTo>
                    <a:lnTo>
                      <a:pt x="2000" y="2232"/>
                    </a:lnTo>
                    <a:lnTo>
                      <a:pt x="2002" y="2230"/>
                    </a:lnTo>
                    <a:lnTo>
                      <a:pt x="2012" y="2223"/>
                    </a:lnTo>
                    <a:lnTo>
                      <a:pt x="2021" y="2218"/>
                    </a:lnTo>
                    <a:lnTo>
                      <a:pt x="2026" y="2221"/>
                    </a:lnTo>
                    <a:lnTo>
                      <a:pt x="2026" y="2223"/>
                    </a:lnTo>
                    <a:lnTo>
                      <a:pt x="2019" y="2230"/>
                    </a:lnTo>
                    <a:lnTo>
                      <a:pt x="2004" y="2240"/>
                    </a:lnTo>
                    <a:close/>
                    <a:moveTo>
                      <a:pt x="3754" y="2367"/>
                    </a:moveTo>
                    <a:lnTo>
                      <a:pt x="3756" y="2388"/>
                    </a:lnTo>
                    <a:lnTo>
                      <a:pt x="3751" y="2388"/>
                    </a:lnTo>
                    <a:lnTo>
                      <a:pt x="3749" y="2388"/>
                    </a:lnTo>
                    <a:lnTo>
                      <a:pt x="3742" y="2393"/>
                    </a:lnTo>
                    <a:lnTo>
                      <a:pt x="3737" y="2391"/>
                    </a:lnTo>
                    <a:lnTo>
                      <a:pt x="3732" y="2388"/>
                    </a:lnTo>
                    <a:lnTo>
                      <a:pt x="3732" y="2386"/>
                    </a:lnTo>
                    <a:lnTo>
                      <a:pt x="3732" y="2379"/>
                    </a:lnTo>
                    <a:lnTo>
                      <a:pt x="3730" y="2374"/>
                    </a:lnTo>
                    <a:lnTo>
                      <a:pt x="3718" y="2374"/>
                    </a:lnTo>
                    <a:lnTo>
                      <a:pt x="3713" y="2374"/>
                    </a:lnTo>
                    <a:lnTo>
                      <a:pt x="3709" y="2367"/>
                    </a:lnTo>
                    <a:lnTo>
                      <a:pt x="3709" y="2358"/>
                    </a:lnTo>
                    <a:lnTo>
                      <a:pt x="3711" y="2353"/>
                    </a:lnTo>
                    <a:lnTo>
                      <a:pt x="3716" y="2351"/>
                    </a:lnTo>
                    <a:lnTo>
                      <a:pt x="3721" y="2339"/>
                    </a:lnTo>
                    <a:lnTo>
                      <a:pt x="3723" y="2336"/>
                    </a:lnTo>
                    <a:lnTo>
                      <a:pt x="3730" y="2313"/>
                    </a:lnTo>
                    <a:lnTo>
                      <a:pt x="3735" y="2315"/>
                    </a:lnTo>
                    <a:lnTo>
                      <a:pt x="3744" y="2327"/>
                    </a:lnTo>
                    <a:lnTo>
                      <a:pt x="3756" y="2346"/>
                    </a:lnTo>
                    <a:lnTo>
                      <a:pt x="3754" y="2367"/>
                    </a:lnTo>
                    <a:close/>
                    <a:moveTo>
                      <a:pt x="3702" y="2351"/>
                    </a:moveTo>
                    <a:lnTo>
                      <a:pt x="3697" y="2351"/>
                    </a:lnTo>
                    <a:lnTo>
                      <a:pt x="3692" y="2351"/>
                    </a:lnTo>
                    <a:lnTo>
                      <a:pt x="3680" y="2339"/>
                    </a:lnTo>
                    <a:lnTo>
                      <a:pt x="3680" y="2336"/>
                    </a:lnTo>
                    <a:lnTo>
                      <a:pt x="3680" y="2332"/>
                    </a:lnTo>
                    <a:lnTo>
                      <a:pt x="3687" y="2325"/>
                    </a:lnTo>
                    <a:lnTo>
                      <a:pt x="3690" y="2322"/>
                    </a:lnTo>
                    <a:lnTo>
                      <a:pt x="3704" y="2322"/>
                    </a:lnTo>
                    <a:lnTo>
                      <a:pt x="3711" y="2325"/>
                    </a:lnTo>
                    <a:lnTo>
                      <a:pt x="3711" y="2327"/>
                    </a:lnTo>
                    <a:lnTo>
                      <a:pt x="3711" y="2329"/>
                    </a:lnTo>
                    <a:lnTo>
                      <a:pt x="3711" y="2334"/>
                    </a:lnTo>
                    <a:lnTo>
                      <a:pt x="3709" y="2336"/>
                    </a:lnTo>
                    <a:lnTo>
                      <a:pt x="3711" y="2341"/>
                    </a:lnTo>
                    <a:lnTo>
                      <a:pt x="3709" y="2344"/>
                    </a:lnTo>
                    <a:lnTo>
                      <a:pt x="3702" y="2351"/>
                    </a:lnTo>
                    <a:close/>
                    <a:moveTo>
                      <a:pt x="3640" y="2341"/>
                    </a:moveTo>
                    <a:lnTo>
                      <a:pt x="3654" y="2344"/>
                    </a:lnTo>
                    <a:lnTo>
                      <a:pt x="3669" y="2344"/>
                    </a:lnTo>
                    <a:lnTo>
                      <a:pt x="3673" y="2348"/>
                    </a:lnTo>
                    <a:lnTo>
                      <a:pt x="3676" y="2353"/>
                    </a:lnTo>
                    <a:lnTo>
                      <a:pt x="3678" y="2360"/>
                    </a:lnTo>
                    <a:lnTo>
                      <a:pt x="3680" y="2365"/>
                    </a:lnTo>
                    <a:lnTo>
                      <a:pt x="3680" y="2370"/>
                    </a:lnTo>
                    <a:lnTo>
                      <a:pt x="3678" y="2372"/>
                    </a:lnTo>
                    <a:lnTo>
                      <a:pt x="3678" y="2374"/>
                    </a:lnTo>
                    <a:lnTo>
                      <a:pt x="3706" y="2386"/>
                    </a:lnTo>
                    <a:lnTo>
                      <a:pt x="3718" y="2398"/>
                    </a:lnTo>
                    <a:lnTo>
                      <a:pt x="3725" y="2405"/>
                    </a:lnTo>
                    <a:lnTo>
                      <a:pt x="3728" y="2412"/>
                    </a:lnTo>
                    <a:lnTo>
                      <a:pt x="3735" y="2426"/>
                    </a:lnTo>
                    <a:lnTo>
                      <a:pt x="3747" y="2443"/>
                    </a:lnTo>
                    <a:lnTo>
                      <a:pt x="3754" y="2450"/>
                    </a:lnTo>
                    <a:lnTo>
                      <a:pt x="3756" y="2455"/>
                    </a:lnTo>
                    <a:lnTo>
                      <a:pt x="3756" y="2455"/>
                    </a:lnTo>
                    <a:lnTo>
                      <a:pt x="3747" y="2450"/>
                    </a:lnTo>
                    <a:lnTo>
                      <a:pt x="3730" y="2440"/>
                    </a:lnTo>
                    <a:lnTo>
                      <a:pt x="3728" y="2440"/>
                    </a:lnTo>
                    <a:lnTo>
                      <a:pt x="3728" y="2448"/>
                    </a:lnTo>
                    <a:lnTo>
                      <a:pt x="3725" y="2452"/>
                    </a:lnTo>
                    <a:lnTo>
                      <a:pt x="3721" y="2457"/>
                    </a:lnTo>
                    <a:lnTo>
                      <a:pt x="3725" y="2459"/>
                    </a:lnTo>
                    <a:lnTo>
                      <a:pt x="3737" y="2455"/>
                    </a:lnTo>
                    <a:lnTo>
                      <a:pt x="3749" y="2466"/>
                    </a:lnTo>
                    <a:lnTo>
                      <a:pt x="3754" y="2469"/>
                    </a:lnTo>
                    <a:lnTo>
                      <a:pt x="3761" y="2476"/>
                    </a:lnTo>
                    <a:lnTo>
                      <a:pt x="3761" y="2478"/>
                    </a:lnTo>
                    <a:lnTo>
                      <a:pt x="3758" y="2485"/>
                    </a:lnTo>
                    <a:lnTo>
                      <a:pt x="3756" y="2488"/>
                    </a:lnTo>
                    <a:lnTo>
                      <a:pt x="3756" y="2490"/>
                    </a:lnTo>
                    <a:lnTo>
                      <a:pt x="3761" y="2490"/>
                    </a:lnTo>
                    <a:lnTo>
                      <a:pt x="3773" y="2488"/>
                    </a:lnTo>
                    <a:lnTo>
                      <a:pt x="3775" y="2490"/>
                    </a:lnTo>
                    <a:lnTo>
                      <a:pt x="3775" y="2514"/>
                    </a:lnTo>
                    <a:lnTo>
                      <a:pt x="3777" y="2523"/>
                    </a:lnTo>
                    <a:lnTo>
                      <a:pt x="3777" y="2528"/>
                    </a:lnTo>
                    <a:lnTo>
                      <a:pt x="3777" y="2533"/>
                    </a:lnTo>
                    <a:lnTo>
                      <a:pt x="3777" y="2537"/>
                    </a:lnTo>
                    <a:lnTo>
                      <a:pt x="3780" y="2542"/>
                    </a:lnTo>
                    <a:lnTo>
                      <a:pt x="3780" y="2547"/>
                    </a:lnTo>
                    <a:lnTo>
                      <a:pt x="3777" y="2559"/>
                    </a:lnTo>
                    <a:lnTo>
                      <a:pt x="3775" y="2559"/>
                    </a:lnTo>
                    <a:lnTo>
                      <a:pt x="3768" y="2561"/>
                    </a:lnTo>
                    <a:lnTo>
                      <a:pt x="3763" y="2556"/>
                    </a:lnTo>
                    <a:lnTo>
                      <a:pt x="3756" y="2549"/>
                    </a:lnTo>
                    <a:lnTo>
                      <a:pt x="3749" y="2535"/>
                    </a:lnTo>
                    <a:lnTo>
                      <a:pt x="3747" y="2533"/>
                    </a:lnTo>
                    <a:lnTo>
                      <a:pt x="3739" y="2530"/>
                    </a:lnTo>
                    <a:lnTo>
                      <a:pt x="3737" y="2530"/>
                    </a:lnTo>
                    <a:lnTo>
                      <a:pt x="3732" y="2530"/>
                    </a:lnTo>
                    <a:lnTo>
                      <a:pt x="3728" y="2523"/>
                    </a:lnTo>
                    <a:lnTo>
                      <a:pt x="3728" y="2516"/>
                    </a:lnTo>
                    <a:lnTo>
                      <a:pt x="3725" y="2509"/>
                    </a:lnTo>
                    <a:lnTo>
                      <a:pt x="3725" y="2504"/>
                    </a:lnTo>
                    <a:lnTo>
                      <a:pt x="3721" y="2504"/>
                    </a:lnTo>
                    <a:lnTo>
                      <a:pt x="3718" y="2507"/>
                    </a:lnTo>
                    <a:lnTo>
                      <a:pt x="3721" y="2514"/>
                    </a:lnTo>
                    <a:lnTo>
                      <a:pt x="3721" y="2521"/>
                    </a:lnTo>
                    <a:lnTo>
                      <a:pt x="3713" y="2519"/>
                    </a:lnTo>
                    <a:lnTo>
                      <a:pt x="3702" y="2500"/>
                    </a:lnTo>
                    <a:lnTo>
                      <a:pt x="3690" y="2483"/>
                    </a:lnTo>
                    <a:lnTo>
                      <a:pt x="3683" y="2481"/>
                    </a:lnTo>
                    <a:lnTo>
                      <a:pt x="3685" y="2476"/>
                    </a:lnTo>
                    <a:lnTo>
                      <a:pt x="3690" y="2474"/>
                    </a:lnTo>
                    <a:lnTo>
                      <a:pt x="3695" y="2474"/>
                    </a:lnTo>
                    <a:lnTo>
                      <a:pt x="3697" y="2471"/>
                    </a:lnTo>
                    <a:lnTo>
                      <a:pt x="3685" y="2457"/>
                    </a:lnTo>
                    <a:lnTo>
                      <a:pt x="3685" y="2452"/>
                    </a:lnTo>
                    <a:lnTo>
                      <a:pt x="3687" y="2443"/>
                    </a:lnTo>
                    <a:lnTo>
                      <a:pt x="3683" y="2440"/>
                    </a:lnTo>
                    <a:lnTo>
                      <a:pt x="3671" y="2443"/>
                    </a:lnTo>
                    <a:lnTo>
                      <a:pt x="3666" y="2443"/>
                    </a:lnTo>
                    <a:lnTo>
                      <a:pt x="3664" y="2436"/>
                    </a:lnTo>
                    <a:lnTo>
                      <a:pt x="3661" y="2431"/>
                    </a:lnTo>
                    <a:lnTo>
                      <a:pt x="3650" y="2431"/>
                    </a:lnTo>
                    <a:lnTo>
                      <a:pt x="3647" y="2433"/>
                    </a:lnTo>
                    <a:lnTo>
                      <a:pt x="3638" y="2424"/>
                    </a:lnTo>
                    <a:lnTo>
                      <a:pt x="3635" y="2419"/>
                    </a:lnTo>
                    <a:lnTo>
                      <a:pt x="3635" y="2417"/>
                    </a:lnTo>
                    <a:lnTo>
                      <a:pt x="3643" y="2412"/>
                    </a:lnTo>
                    <a:lnTo>
                      <a:pt x="3647" y="2412"/>
                    </a:lnTo>
                    <a:lnTo>
                      <a:pt x="3654" y="2417"/>
                    </a:lnTo>
                    <a:lnTo>
                      <a:pt x="3657" y="2417"/>
                    </a:lnTo>
                    <a:lnTo>
                      <a:pt x="3664" y="2410"/>
                    </a:lnTo>
                    <a:lnTo>
                      <a:pt x="3664" y="2405"/>
                    </a:lnTo>
                    <a:lnTo>
                      <a:pt x="3669" y="2398"/>
                    </a:lnTo>
                    <a:lnTo>
                      <a:pt x="3669" y="2393"/>
                    </a:lnTo>
                    <a:lnTo>
                      <a:pt x="3664" y="2386"/>
                    </a:lnTo>
                    <a:lnTo>
                      <a:pt x="3657" y="2384"/>
                    </a:lnTo>
                    <a:lnTo>
                      <a:pt x="3645" y="2388"/>
                    </a:lnTo>
                    <a:lnTo>
                      <a:pt x="3633" y="2398"/>
                    </a:lnTo>
                    <a:lnTo>
                      <a:pt x="3628" y="2396"/>
                    </a:lnTo>
                    <a:lnTo>
                      <a:pt x="3628" y="2391"/>
                    </a:lnTo>
                    <a:lnTo>
                      <a:pt x="3640" y="2377"/>
                    </a:lnTo>
                    <a:lnTo>
                      <a:pt x="3645" y="2370"/>
                    </a:lnTo>
                    <a:lnTo>
                      <a:pt x="3643" y="2365"/>
                    </a:lnTo>
                    <a:lnTo>
                      <a:pt x="3638" y="2360"/>
                    </a:lnTo>
                    <a:lnTo>
                      <a:pt x="3638" y="2346"/>
                    </a:lnTo>
                    <a:lnTo>
                      <a:pt x="3640" y="2341"/>
                    </a:lnTo>
                    <a:close/>
                    <a:moveTo>
                      <a:pt x="3851" y="2445"/>
                    </a:moveTo>
                    <a:lnTo>
                      <a:pt x="3851" y="2459"/>
                    </a:lnTo>
                    <a:lnTo>
                      <a:pt x="3846" y="2476"/>
                    </a:lnTo>
                    <a:lnTo>
                      <a:pt x="3839" y="2485"/>
                    </a:lnTo>
                    <a:lnTo>
                      <a:pt x="3832" y="2485"/>
                    </a:lnTo>
                    <a:lnTo>
                      <a:pt x="3827" y="2478"/>
                    </a:lnTo>
                    <a:lnTo>
                      <a:pt x="3822" y="2478"/>
                    </a:lnTo>
                    <a:lnTo>
                      <a:pt x="3817" y="2478"/>
                    </a:lnTo>
                    <a:lnTo>
                      <a:pt x="3815" y="2471"/>
                    </a:lnTo>
                    <a:lnTo>
                      <a:pt x="3817" y="2464"/>
                    </a:lnTo>
                    <a:lnTo>
                      <a:pt x="3815" y="2459"/>
                    </a:lnTo>
                    <a:lnTo>
                      <a:pt x="3813" y="2464"/>
                    </a:lnTo>
                    <a:lnTo>
                      <a:pt x="3810" y="2469"/>
                    </a:lnTo>
                    <a:lnTo>
                      <a:pt x="3801" y="2476"/>
                    </a:lnTo>
                    <a:lnTo>
                      <a:pt x="3796" y="2488"/>
                    </a:lnTo>
                    <a:lnTo>
                      <a:pt x="3794" y="2495"/>
                    </a:lnTo>
                    <a:lnTo>
                      <a:pt x="3789" y="2488"/>
                    </a:lnTo>
                    <a:lnTo>
                      <a:pt x="3784" y="2469"/>
                    </a:lnTo>
                    <a:lnTo>
                      <a:pt x="3784" y="2462"/>
                    </a:lnTo>
                    <a:lnTo>
                      <a:pt x="3789" y="2448"/>
                    </a:lnTo>
                    <a:lnTo>
                      <a:pt x="3796" y="2436"/>
                    </a:lnTo>
                    <a:lnTo>
                      <a:pt x="3796" y="2403"/>
                    </a:lnTo>
                    <a:lnTo>
                      <a:pt x="3822" y="2381"/>
                    </a:lnTo>
                    <a:lnTo>
                      <a:pt x="3825" y="2384"/>
                    </a:lnTo>
                    <a:lnTo>
                      <a:pt x="3836" y="2396"/>
                    </a:lnTo>
                    <a:lnTo>
                      <a:pt x="3846" y="2412"/>
                    </a:lnTo>
                    <a:lnTo>
                      <a:pt x="3851" y="2419"/>
                    </a:lnTo>
                    <a:lnTo>
                      <a:pt x="3851" y="2433"/>
                    </a:lnTo>
                    <a:lnTo>
                      <a:pt x="3851" y="2445"/>
                    </a:lnTo>
                    <a:close/>
                    <a:moveTo>
                      <a:pt x="1922" y="2313"/>
                    </a:moveTo>
                    <a:lnTo>
                      <a:pt x="1917" y="2315"/>
                    </a:lnTo>
                    <a:lnTo>
                      <a:pt x="1912" y="2315"/>
                    </a:lnTo>
                    <a:lnTo>
                      <a:pt x="1908" y="2313"/>
                    </a:lnTo>
                    <a:lnTo>
                      <a:pt x="1908" y="2308"/>
                    </a:lnTo>
                    <a:lnTo>
                      <a:pt x="1919" y="2299"/>
                    </a:lnTo>
                    <a:lnTo>
                      <a:pt x="1922" y="2296"/>
                    </a:lnTo>
                    <a:lnTo>
                      <a:pt x="1924" y="2299"/>
                    </a:lnTo>
                    <a:lnTo>
                      <a:pt x="1924" y="2303"/>
                    </a:lnTo>
                    <a:lnTo>
                      <a:pt x="1922" y="2313"/>
                    </a:lnTo>
                    <a:close/>
                    <a:moveTo>
                      <a:pt x="3666" y="2452"/>
                    </a:moveTo>
                    <a:lnTo>
                      <a:pt x="3669" y="2455"/>
                    </a:lnTo>
                    <a:lnTo>
                      <a:pt x="3669" y="2457"/>
                    </a:lnTo>
                    <a:lnTo>
                      <a:pt x="3659" y="2469"/>
                    </a:lnTo>
                    <a:lnTo>
                      <a:pt x="3659" y="2469"/>
                    </a:lnTo>
                    <a:lnTo>
                      <a:pt x="3657" y="2476"/>
                    </a:lnTo>
                    <a:lnTo>
                      <a:pt x="3654" y="2478"/>
                    </a:lnTo>
                    <a:lnTo>
                      <a:pt x="3650" y="2483"/>
                    </a:lnTo>
                    <a:lnTo>
                      <a:pt x="3643" y="2493"/>
                    </a:lnTo>
                    <a:lnTo>
                      <a:pt x="3643" y="2471"/>
                    </a:lnTo>
                    <a:lnTo>
                      <a:pt x="3633" y="2459"/>
                    </a:lnTo>
                    <a:lnTo>
                      <a:pt x="3640" y="2455"/>
                    </a:lnTo>
                    <a:lnTo>
                      <a:pt x="3647" y="2455"/>
                    </a:lnTo>
                    <a:lnTo>
                      <a:pt x="3654" y="2455"/>
                    </a:lnTo>
                    <a:lnTo>
                      <a:pt x="3664" y="2450"/>
                    </a:lnTo>
                    <a:lnTo>
                      <a:pt x="3666" y="2452"/>
                    </a:lnTo>
                    <a:close/>
                    <a:moveTo>
                      <a:pt x="1510" y="2296"/>
                    </a:moveTo>
                    <a:lnTo>
                      <a:pt x="1513" y="2299"/>
                    </a:lnTo>
                    <a:lnTo>
                      <a:pt x="1515" y="2296"/>
                    </a:lnTo>
                    <a:lnTo>
                      <a:pt x="1522" y="2292"/>
                    </a:lnTo>
                    <a:lnTo>
                      <a:pt x="1522" y="2292"/>
                    </a:lnTo>
                    <a:lnTo>
                      <a:pt x="1522" y="2294"/>
                    </a:lnTo>
                    <a:lnTo>
                      <a:pt x="1518" y="2301"/>
                    </a:lnTo>
                    <a:lnTo>
                      <a:pt x="1520" y="2310"/>
                    </a:lnTo>
                    <a:lnTo>
                      <a:pt x="1522" y="2318"/>
                    </a:lnTo>
                    <a:lnTo>
                      <a:pt x="1522" y="2318"/>
                    </a:lnTo>
                    <a:lnTo>
                      <a:pt x="1513" y="2320"/>
                    </a:lnTo>
                    <a:lnTo>
                      <a:pt x="1506" y="2315"/>
                    </a:lnTo>
                    <a:lnTo>
                      <a:pt x="1501" y="2315"/>
                    </a:lnTo>
                    <a:lnTo>
                      <a:pt x="1496" y="2318"/>
                    </a:lnTo>
                    <a:lnTo>
                      <a:pt x="1496" y="2313"/>
                    </a:lnTo>
                    <a:lnTo>
                      <a:pt x="1499" y="2294"/>
                    </a:lnTo>
                    <a:lnTo>
                      <a:pt x="1499" y="2292"/>
                    </a:lnTo>
                    <a:lnTo>
                      <a:pt x="1506" y="2287"/>
                    </a:lnTo>
                    <a:lnTo>
                      <a:pt x="1510" y="2284"/>
                    </a:lnTo>
                    <a:lnTo>
                      <a:pt x="1513" y="2287"/>
                    </a:lnTo>
                    <a:lnTo>
                      <a:pt x="1515" y="2289"/>
                    </a:lnTo>
                    <a:lnTo>
                      <a:pt x="1513" y="2292"/>
                    </a:lnTo>
                    <a:lnTo>
                      <a:pt x="1510" y="2296"/>
                    </a:lnTo>
                    <a:close/>
                    <a:moveTo>
                      <a:pt x="1539" y="2301"/>
                    </a:moveTo>
                    <a:lnTo>
                      <a:pt x="1536" y="2310"/>
                    </a:lnTo>
                    <a:lnTo>
                      <a:pt x="1527" y="2301"/>
                    </a:lnTo>
                    <a:lnTo>
                      <a:pt x="1525" y="2299"/>
                    </a:lnTo>
                    <a:lnTo>
                      <a:pt x="1527" y="2296"/>
                    </a:lnTo>
                    <a:lnTo>
                      <a:pt x="1536" y="2296"/>
                    </a:lnTo>
                    <a:lnTo>
                      <a:pt x="1539" y="2301"/>
                    </a:lnTo>
                    <a:close/>
                    <a:moveTo>
                      <a:pt x="3709" y="2540"/>
                    </a:moveTo>
                    <a:lnTo>
                      <a:pt x="3711" y="2542"/>
                    </a:lnTo>
                    <a:lnTo>
                      <a:pt x="3711" y="2540"/>
                    </a:lnTo>
                    <a:lnTo>
                      <a:pt x="3716" y="2535"/>
                    </a:lnTo>
                    <a:lnTo>
                      <a:pt x="3721" y="2535"/>
                    </a:lnTo>
                    <a:lnTo>
                      <a:pt x="3725" y="2537"/>
                    </a:lnTo>
                    <a:lnTo>
                      <a:pt x="3728" y="2537"/>
                    </a:lnTo>
                    <a:lnTo>
                      <a:pt x="3728" y="2545"/>
                    </a:lnTo>
                    <a:lnTo>
                      <a:pt x="3728" y="2556"/>
                    </a:lnTo>
                    <a:lnTo>
                      <a:pt x="3725" y="2561"/>
                    </a:lnTo>
                    <a:lnTo>
                      <a:pt x="3723" y="2568"/>
                    </a:lnTo>
                    <a:lnTo>
                      <a:pt x="3713" y="2566"/>
                    </a:lnTo>
                    <a:lnTo>
                      <a:pt x="3706" y="2559"/>
                    </a:lnTo>
                    <a:lnTo>
                      <a:pt x="3697" y="2545"/>
                    </a:lnTo>
                    <a:lnTo>
                      <a:pt x="3690" y="2537"/>
                    </a:lnTo>
                    <a:lnTo>
                      <a:pt x="3690" y="2533"/>
                    </a:lnTo>
                    <a:lnTo>
                      <a:pt x="3687" y="2530"/>
                    </a:lnTo>
                    <a:lnTo>
                      <a:pt x="3678" y="2514"/>
                    </a:lnTo>
                    <a:lnTo>
                      <a:pt x="3673" y="2502"/>
                    </a:lnTo>
                    <a:lnTo>
                      <a:pt x="3669" y="2502"/>
                    </a:lnTo>
                    <a:lnTo>
                      <a:pt x="3661" y="2497"/>
                    </a:lnTo>
                    <a:lnTo>
                      <a:pt x="3657" y="2493"/>
                    </a:lnTo>
                    <a:lnTo>
                      <a:pt x="3659" y="2485"/>
                    </a:lnTo>
                    <a:lnTo>
                      <a:pt x="3669" y="2481"/>
                    </a:lnTo>
                    <a:lnTo>
                      <a:pt x="3685" y="2497"/>
                    </a:lnTo>
                    <a:lnTo>
                      <a:pt x="3690" y="2502"/>
                    </a:lnTo>
                    <a:lnTo>
                      <a:pt x="3695" y="2509"/>
                    </a:lnTo>
                    <a:lnTo>
                      <a:pt x="3697" y="2521"/>
                    </a:lnTo>
                    <a:lnTo>
                      <a:pt x="3699" y="2526"/>
                    </a:lnTo>
                    <a:lnTo>
                      <a:pt x="3709" y="2540"/>
                    </a:lnTo>
                    <a:close/>
                    <a:moveTo>
                      <a:pt x="1567" y="2336"/>
                    </a:moveTo>
                    <a:lnTo>
                      <a:pt x="1562" y="2339"/>
                    </a:lnTo>
                    <a:lnTo>
                      <a:pt x="1560" y="2344"/>
                    </a:lnTo>
                    <a:lnTo>
                      <a:pt x="1555" y="2344"/>
                    </a:lnTo>
                    <a:lnTo>
                      <a:pt x="1553" y="2346"/>
                    </a:lnTo>
                    <a:lnTo>
                      <a:pt x="1539" y="2358"/>
                    </a:lnTo>
                    <a:lnTo>
                      <a:pt x="1534" y="2358"/>
                    </a:lnTo>
                    <a:lnTo>
                      <a:pt x="1541" y="2348"/>
                    </a:lnTo>
                    <a:lnTo>
                      <a:pt x="1544" y="2344"/>
                    </a:lnTo>
                    <a:lnTo>
                      <a:pt x="1544" y="2341"/>
                    </a:lnTo>
                    <a:lnTo>
                      <a:pt x="1544" y="2332"/>
                    </a:lnTo>
                    <a:lnTo>
                      <a:pt x="1548" y="2334"/>
                    </a:lnTo>
                    <a:lnTo>
                      <a:pt x="1551" y="2332"/>
                    </a:lnTo>
                    <a:lnTo>
                      <a:pt x="1558" y="2325"/>
                    </a:lnTo>
                    <a:lnTo>
                      <a:pt x="1562" y="2327"/>
                    </a:lnTo>
                    <a:lnTo>
                      <a:pt x="1570" y="2318"/>
                    </a:lnTo>
                    <a:lnTo>
                      <a:pt x="1572" y="2318"/>
                    </a:lnTo>
                    <a:lnTo>
                      <a:pt x="1572" y="2320"/>
                    </a:lnTo>
                    <a:lnTo>
                      <a:pt x="1570" y="2325"/>
                    </a:lnTo>
                    <a:lnTo>
                      <a:pt x="1572" y="2332"/>
                    </a:lnTo>
                    <a:lnTo>
                      <a:pt x="1570" y="2336"/>
                    </a:lnTo>
                    <a:lnTo>
                      <a:pt x="1567" y="2336"/>
                    </a:lnTo>
                    <a:close/>
                    <a:moveTo>
                      <a:pt x="3827" y="2504"/>
                    </a:moveTo>
                    <a:lnTo>
                      <a:pt x="3836" y="2521"/>
                    </a:lnTo>
                    <a:lnTo>
                      <a:pt x="3839" y="2528"/>
                    </a:lnTo>
                    <a:lnTo>
                      <a:pt x="3829" y="2530"/>
                    </a:lnTo>
                    <a:lnTo>
                      <a:pt x="3825" y="2530"/>
                    </a:lnTo>
                    <a:lnTo>
                      <a:pt x="3820" y="2528"/>
                    </a:lnTo>
                    <a:lnTo>
                      <a:pt x="3820" y="2526"/>
                    </a:lnTo>
                    <a:lnTo>
                      <a:pt x="3822" y="2516"/>
                    </a:lnTo>
                    <a:lnTo>
                      <a:pt x="3817" y="2511"/>
                    </a:lnTo>
                    <a:lnTo>
                      <a:pt x="3813" y="2509"/>
                    </a:lnTo>
                    <a:lnTo>
                      <a:pt x="3808" y="2514"/>
                    </a:lnTo>
                    <a:lnTo>
                      <a:pt x="3808" y="2504"/>
                    </a:lnTo>
                    <a:lnTo>
                      <a:pt x="3810" y="2497"/>
                    </a:lnTo>
                    <a:lnTo>
                      <a:pt x="3808" y="2490"/>
                    </a:lnTo>
                    <a:lnTo>
                      <a:pt x="3806" y="2483"/>
                    </a:lnTo>
                    <a:lnTo>
                      <a:pt x="3808" y="2481"/>
                    </a:lnTo>
                    <a:lnTo>
                      <a:pt x="3810" y="2481"/>
                    </a:lnTo>
                    <a:lnTo>
                      <a:pt x="3820" y="2485"/>
                    </a:lnTo>
                    <a:lnTo>
                      <a:pt x="3827" y="2504"/>
                    </a:lnTo>
                    <a:close/>
                    <a:moveTo>
                      <a:pt x="1596" y="2341"/>
                    </a:moveTo>
                    <a:lnTo>
                      <a:pt x="1593" y="2351"/>
                    </a:lnTo>
                    <a:lnTo>
                      <a:pt x="1591" y="2353"/>
                    </a:lnTo>
                    <a:lnTo>
                      <a:pt x="1591" y="2348"/>
                    </a:lnTo>
                    <a:lnTo>
                      <a:pt x="1586" y="2351"/>
                    </a:lnTo>
                    <a:lnTo>
                      <a:pt x="1584" y="2348"/>
                    </a:lnTo>
                    <a:lnTo>
                      <a:pt x="1586" y="2346"/>
                    </a:lnTo>
                    <a:lnTo>
                      <a:pt x="1586" y="2341"/>
                    </a:lnTo>
                    <a:lnTo>
                      <a:pt x="1588" y="2344"/>
                    </a:lnTo>
                    <a:lnTo>
                      <a:pt x="1591" y="2336"/>
                    </a:lnTo>
                    <a:lnTo>
                      <a:pt x="1591" y="2334"/>
                    </a:lnTo>
                    <a:lnTo>
                      <a:pt x="1593" y="2329"/>
                    </a:lnTo>
                    <a:lnTo>
                      <a:pt x="1596" y="2329"/>
                    </a:lnTo>
                    <a:lnTo>
                      <a:pt x="1596" y="2341"/>
                    </a:lnTo>
                    <a:close/>
                    <a:moveTo>
                      <a:pt x="1603" y="2367"/>
                    </a:moveTo>
                    <a:lnTo>
                      <a:pt x="1600" y="2367"/>
                    </a:lnTo>
                    <a:lnTo>
                      <a:pt x="1598" y="2365"/>
                    </a:lnTo>
                    <a:lnTo>
                      <a:pt x="1598" y="2358"/>
                    </a:lnTo>
                    <a:lnTo>
                      <a:pt x="1598" y="2353"/>
                    </a:lnTo>
                    <a:lnTo>
                      <a:pt x="1603" y="2358"/>
                    </a:lnTo>
                    <a:lnTo>
                      <a:pt x="1603" y="2365"/>
                    </a:lnTo>
                    <a:lnTo>
                      <a:pt x="1603" y="2367"/>
                    </a:lnTo>
                    <a:close/>
                    <a:moveTo>
                      <a:pt x="1284" y="2287"/>
                    </a:moveTo>
                    <a:lnTo>
                      <a:pt x="1286" y="2310"/>
                    </a:lnTo>
                    <a:lnTo>
                      <a:pt x="1288" y="2315"/>
                    </a:lnTo>
                    <a:lnTo>
                      <a:pt x="1291" y="2320"/>
                    </a:lnTo>
                    <a:lnTo>
                      <a:pt x="1298" y="2325"/>
                    </a:lnTo>
                    <a:lnTo>
                      <a:pt x="1300" y="2329"/>
                    </a:lnTo>
                    <a:lnTo>
                      <a:pt x="1302" y="2334"/>
                    </a:lnTo>
                    <a:lnTo>
                      <a:pt x="1302" y="2336"/>
                    </a:lnTo>
                    <a:lnTo>
                      <a:pt x="1284" y="2322"/>
                    </a:lnTo>
                    <a:lnTo>
                      <a:pt x="1267" y="2332"/>
                    </a:lnTo>
                    <a:lnTo>
                      <a:pt x="1262" y="2332"/>
                    </a:lnTo>
                    <a:lnTo>
                      <a:pt x="1224" y="2322"/>
                    </a:lnTo>
                    <a:lnTo>
                      <a:pt x="1215" y="2322"/>
                    </a:lnTo>
                    <a:lnTo>
                      <a:pt x="1210" y="2325"/>
                    </a:lnTo>
                    <a:lnTo>
                      <a:pt x="1198" y="2334"/>
                    </a:lnTo>
                    <a:lnTo>
                      <a:pt x="1191" y="2339"/>
                    </a:lnTo>
                    <a:lnTo>
                      <a:pt x="1187" y="2339"/>
                    </a:lnTo>
                    <a:lnTo>
                      <a:pt x="1177" y="2339"/>
                    </a:lnTo>
                    <a:lnTo>
                      <a:pt x="1165" y="2336"/>
                    </a:lnTo>
                    <a:lnTo>
                      <a:pt x="1158" y="2332"/>
                    </a:lnTo>
                    <a:lnTo>
                      <a:pt x="1156" y="2325"/>
                    </a:lnTo>
                    <a:lnTo>
                      <a:pt x="1158" y="2313"/>
                    </a:lnTo>
                    <a:lnTo>
                      <a:pt x="1158" y="2310"/>
                    </a:lnTo>
                    <a:lnTo>
                      <a:pt x="1161" y="2306"/>
                    </a:lnTo>
                    <a:lnTo>
                      <a:pt x="1172" y="2301"/>
                    </a:lnTo>
                    <a:lnTo>
                      <a:pt x="1177" y="2299"/>
                    </a:lnTo>
                    <a:lnTo>
                      <a:pt x="1198" y="2277"/>
                    </a:lnTo>
                    <a:lnTo>
                      <a:pt x="1203" y="2275"/>
                    </a:lnTo>
                    <a:lnTo>
                      <a:pt x="1208" y="2275"/>
                    </a:lnTo>
                    <a:lnTo>
                      <a:pt x="1220" y="2280"/>
                    </a:lnTo>
                    <a:lnTo>
                      <a:pt x="1232" y="2275"/>
                    </a:lnTo>
                    <a:lnTo>
                      <a:pt x="1255" y="2270"/>
                    </a:lnTo>
                    <a:lnTo>
                      <a:pt x="1260" y="2270"/>
                    </a:lnTo>
                    <a:lnTo>
                      <a:pt x="1276" y="2275"/>
                    </a:lnTo>
                    <a:lnTo>
                      <a:pt x="1279" y="2277"/>
                    </a:lnTo>
                    <a:lnTo>
                      <a:pt x="1281" y="2282"/>
                    </a:lnTo>
                    <a:lnTo>
                      <a:pt x="1284" y="2287"/>
                    </a:lnTo>
                    <a:close/>
                    <a:moveTo>
                      <a:pt x="1371" y="2329"/>
                    </a:moveTo>
                    <a:lnTo>
                      <a:pt x="1369" y="2329"/>
                    </a:lnTo>
                    <a:lnTo>
                      <a:pt x="1364" y="2325"/>
                    </a:lnTo>
                    <a:lnTo>
                      <a:pt x="1364" y="2320"/>
                    </a:lnTo>
                    <a:lnTo>
                      <a:pt x="1362" y="2315"/>
                    </a:lnTo>
                    <a:lnTo>
                      <a:pt x="1376" y="2310"/>
                    </a:lnTo>
                    <a:lnTo>
                      <a:pt x="1378" y="2310"/>
                    </a:lnTo>
                    <a:lnTo>
                      <a:pt x="1378" y="2315"/>
                    </a:lnTo>
                    <a:lnTo>
                      <a:pt x="1378" y="2320"/>
                    </a:lnTo>
                    <a:lnTo>
                      <a:pt x="1373" y="2327"/>
                    </a:lnTo>
                    <a:lnTo>
                      <a:pt x="1371" y="2329"/>
                    </a:lnTo>
                    <a:close/>
                    <a:moveTo>
                      <a:pt x="1336" y="2384"/>
                    </a:moveTo>
                    <a:lnTo>
                      <a:pt x="1326" y="2384"/>
                    </a:lnTo>
                    <a:lnTo>
                      <a:pt x="1321" y="2379"/>
                    </a:lnTo>
                    <a:lnTo>
                      <a:pt x="1317" y="2372"/>
                    </a:lnTo>
                    <a:lnTo>
                      <a:pt x="1317" y="2365"/>
                    </a:lnTo>
                    <a:lnTo>
                      <a:pt x="1331" y="2374"/>
                    </a:lnTo>
                    <a:lnTo>
                      <a:pt x="1333" y="2377"/>
                    </a:lnTo>
                    <a:lnTo>
                      <a:pt x="1336" y="2384"/>
                    </a:lnTo>
                    <a:close/>
                    <a:moveTo>
                      <a:pt x="1090" y="2353"/>
                    </a:moveTo>
                    <a:lnTo>
                      <a:pt x="1087" y="2353"/>
                    </a:lnTo>
                    <a:lnTo>
                      <a:pt x="1087" y="2351"/>
                    </a:lnTo>
                    <a:lnTo>
                      <a:pt x="1087" y="2346"/>
                    </a:lnTo>
                    <a:lnTo>
                      <a:pt x="1087" y="2336"/>
                    </a:lnTo>
                    <a:lnTo>
                      <a:pt x="1094" y="2334"/>
                    </a:lnTo>
                    <a:lnTo>
                      <a:pt x="1097" y="2334"/>
                    </a:lnTo>
                    <a:lnTo>
                      <a:pt x="1097" y="2336"/>
                    </a:lnTo>
                    <a:lnTo>
                      <a:pt x="1099" y="2344"/>
                    </a:lnTo>
                    <a:lnTo>
                      <a:pt x="1101" y="2346"/>
                    </a:lnTo>
                    <a:lnTo>
                      <a:pt x="1104" y="2348"/>
                    </a:lnTo>
                    <a:lnTo>
                      <a:pt x="1099" y="2348"/>
                    </a:lnTo>
                    <a:lnTo>
                      <a:pt x="1090" y="2353"/>
                    </a:lnTo>
                    <a:close/>
                    <a:moveTo>
                      <a:pt x="1066" y="2355"/>
                    </a:moveTo>
                    <a:lnTo>
                      <a:pt x="1061" y="2358"/>
                    </a:lnTo>
                    <a:lnTo>
                      <a:pt x="1059" y="2355"/>
                    </a:lnTo>
                    <a:lnTo>
                      <a:pt x="1059" y="2355"/>
                    </a:lnTo>
                    <a:lnTo>
                      <a:pt x="1049" y="2353"/>
                    </a:lnTo>
                    <a:lnTo>
                      <a:pt x="1049" y="2353"/>
                    </a:lnTo>
                    <a:lnTo>
                      <a:pt x="1047" y="2344"/>
                    </a:lnTo>
                    <a:lnTo>
                      <a:pt x="1047" y="2339"/>
                    </a:lnTo>
                    <a:lnTo>
                      <a:pt x="1049" y="2336"/>
                    </a:lnTo>
                    <a:lnTo>
                      <a:pt x="1054" y="2334"/>
                    </a:lnTo>
                    <a:lnTo>
                      <a:pt x="1061" y="2334"/>
                    </a:lnTo>
                    <a:lnTo>
                      <a:pt x="1068" y="2336"/>
                    </a:lnTo>
                    <a:lnTo>
                      <a:pt x="1075" y="2346"/>
                    </a:lnTo>
                    <a:lnTo>
                      <a:pt x="1078" y="2353"/>
                    </a:lnTo>
                    <a:lnTo>
                      <a:pt x="1078" y="2355"/>
                    </a:lnTo>
                    <a:lnTo>
                      <a:pt x="1073" y="2355"/>
                    </a:lnTo>
                    <a:lnTo>
                      <a:pt x="1066" y="2355"/>
                    </a:lnTo>
                    <a:close/>
                    <a:moveTo>
                      <a:pt x="1000" y="2360"/>
                    </a:moveTo>
                    <a:lnTo>
                      <a:pt x="1000" y="2367"/>
                    </a:lnTo>
                    <a:lnTo>
                      <a:pt x="1007" y="2365"/>
                    </a:lnTo>
                    <a:lnTo>
                      <a:pt x="1014" y="2360"/>
                    </a:lnTo>
                    <a:lnTo>
                      <a:pt x="1019" y="2355"/>
                    </a:lnTo>
                    <a:lnTo>
                      <a:pt x="1021" y="2353"/>
                    </a:lnTo>
                    <a:lnTo>
                      <a:pt x="1023" y="2358"/>
                    </a:lnTo>
                    <a:lnTo>
                      <a:pt x="1031" y="2365"/>
                    </a:lnTo>
                    <a:lnTo>
                      <a:pt x="1021" y="2370"/>
                    </a:lnTo>
                    <a:lnTo>
                      <a:pt x="1005" y="2377"/>
                    </a:lnTo>
                    <a:lnTo>
                      <a:pt x="997" y="2384"/>
                    </a:lnTo>
                    <a:lnTo>
                      <a:pt x="995" y="2388"/>
                    </a:lnTo>
                    <a:lnTo>
                      <a:pt x="1009" y="2388"/>
                    </a:lnTo>
                    <a:lnTo>
                      <a:pt x="1012" y="2391"/>
                    </a:lnTo>
                    <a:lnTo>
                      <a:pt x="1014" y="2393"/>
                    </a:lnTo>
                    <a:lnTo>
                      <a:pt x="1009" y="2396"/>
                    </a:lnTo>
                    <a:lnTo>
                      <a:pt x="1002" y="2396"/>
                    </a:lnTo>
                    <a:lnTo>
                      <a:pt x="995" y="2400"/>
                    </a:lnTo>
                    <a:lnTo>
                      <a:pt x="976" y="2405"/>
                    </a:lnTo>
                    <a:lnTo>
                      <a:pt x="969" y="2412"/>
                    </a:lnTo>
                    <a:lnTo>
                      <a:pt x="962" y="2412"/>
                    </a:lnTo>
                    <a:lnTo>
                      <a:pt x="953" y="2410"/>
                    </a:lnTo>
                    <a:lnTo>
                      <a:pt x="936" y="2412"/>
                    </a:lnTo>
                    <a:lnTo>
                      <a:pt x="927" y="2412"/>
                    </a:lnTo>
                    <a:lnTo>
                      <a:pt x="922" y="2414"/>
                    </a:lnTo>
                    <a:lnTo>
                      <a:pt x="919" y="2414"/>
                    </a:lnTo>
                    <a:lnTo>
                      <a:pt x="915" y="2414"/>
                    </a:lnTo>
                    <a:lnTo>
                      <a:pt x="912" y="2414"/>
                    </a:lnTo>
                    <a:lnTo>
                      <a:pt x="905" y="2419"/>
                    </a:lnTo>
                    <a:lnTo>
                      <a:pt x="903" y="2419"/>
                    </a:lnTo>
                    <a:lnTo>
                      <a:pt x="896" y="2417"/>
                    </a:lnTo>
                    <a:lnTo>
                      <a:pt x="893" y="2419"/>
                    </a:lnTo>
                    <a:lnTo>
                      <a:pt x="889" y="2417"/>
                    </a:lnTo>
                    <a:lnTo>
                      <a:pt x="882" y="2410"/>
                    </a:lnTo>
                    <a:lnTo>
                      <a:pt x="882" y="2405"/>
                    </a:lnTo>
                    <a:lnTo>
                      <a:pt x="891" y="2403"/>
                    </a:lnTo>
                    <a:lnTo>
                      <a:pt x="898" y="2403"/>
                    </a:lnTo>
                    <a:lnTo>
                      <a:pt x="905" y="2403"/>
                    </a:lnTo>
                    <a:lnTo>
                      <a:pt x="917" y="2400"/>
                    </a:lnTo>
                    <a:lnTo>
                      <a:pt x="936" y="2398"/>
                    </a:lnTo>
                    <a:lnTo>
                      <a:pt x="943" y="2396"/>
                    </a:lnTo>
                    <a:lnTo>
                      <a:pt x="950" y="2381"/>
                    </a:lnTo>
                    <a:lnTo>
                      <a:pt x="955" y="2381"/>
                    </a:lnTo>
                    <a:lnTo>
                      <a:pt x="960" y="2377"/>
                    </a:lnTo>
                    <a:lnTo>
                      <a:pt x="969" y="2379"/>
                    </a:lnTo>
                    <a:lnTo>
                      <a:pt x="971" y="2386"/>
                    </a:lnTo>
                    <a:lnTo>
                      <a:pt x="971" y="2388"/>
                    </a:lnTo>
                    <a:lnTo>
                      <a:pt x="974" y="2388"/>
                    </a:lnTo>
                    <a:lnTo>
                      <a:pt x="976" y="2384"/>
                    </a:lnTo>
                    <a:lnTo>
                      <a:pt x="981" y="2381"/>
                    </a:lnTo>
                    <a:lnTo>
                      <a:pt x="979" y="2377"/>
                    </a:lnTo>
                    <a:lnTo>
                      <a:pt x="971" y="2372"/>
                    </a:lnTo>
                    <a:lnTo>
                      <a:pt x="967" y="2367"/>
                    </a:lnTo>
                    <a:lnTo>
                      <a:pt x="962" y="2367"/>
                    </a:lnTo>
                    <a:lnTo>
                      <a:pt x="960" y="2362"/>
                    </a:lnTo>
                    <a:lnTo>
                      <a:pt x="957" y="2358"/>
                    </a:lnTo>
                    <a:lnTo>
                      <a:pt x="957" y="2355"/>
                    </a:lnTo>
                    <a:lnTo>
                      <a:pt x="960" y="2351"/>
                    </a:lnTo>
                    <a:lnTo>
                      <a:pt x="962" y="2346"/>
                    </a:lnTo>
                    <a:lnTo>
                      <a:pt x="967" y="2344"/>
                    </a:lnTo>
                    <a:lnTo>
                      <a:pt x="974" y="2341"/>
                    </a:lnTo>
                    <a:lnTo>
                      <a:pt x="983" y="2344"/>
                    </a:lnTo>
                    <a:lnTo>
                      <a:pt x="993" y="2344"/>
                    </a:lnTo>
                    <a:lnTo>
                      <a:pt x="1000" y="2344"/>
                    </a:lnTo>
                    <a:lnTo>
                      <a:pt x="1002" y="2346"/>
                    </a:lnTo>
                    <a:lnTo>
                      <a:pt x="1000" y="2360"/>
                    </a:lnTo>
                    <a:close/>
                    <a:moveTo>
                      <a:pt x="1023" y="2393"/>
                    </a:moveTo>
                    <a:lnTo>
                      <a:pt x="1021" y="2393"/>
                    </a:lnTo>
                    <a:lnTo>
                      <a:pt x="1021" y="2388"/>
                    </a:lnTo>
                    <a:lnTo>
                      <a:pt x="1021" y="2386"/>
                    </a:lnTo>
                    <a:lnTo>
                      <a:pt x="1023" y="2384"/>
                    </a:lnTo>
                    <a:lnTo>
                      <a:pt x="1028" y="2379"/>
                    </a:lnTo>
                    <a:lnTo>
                      <a:pt x="1033" y="2379"/>
                    </a:lnTo>
                    <a:lnTo>
                      <a:pt x="1035" y="2379"/>
                    </a:lnTo>
                    <a:lnTo>
                      <a:pt x="1035" y="2381"/>
                    </a:lnTo>
                    <a:lnTo>
                      <a:pt x="1031" y="2386"/>
                    </a:lnTo>
                    <a:lnTo>
                      <a:pt x="1026" y="2388"/>
                    </a:lnTo>
                    <a:lnTo>
                      <a:pt x="1023" y="2393"/>
                    </a:lnTo>
                    <a:close/>
                    <a:moveTo>
                      <a:pt x="870" y="2398"/>
                    </a:moveTo>
                    <a:lnTo>
                      <a:pt x="841" y="2405"/>
                    </a:lnTo>
                    <a:lnTo>
                      <a:pt x="830" y="2412"/>
                    </a:lnTo>
                    <a:lnTo>
                      <a:pt x="820" y="2419"/>
                    </a:lnTo>
                    <a:lnTo>
                      <a:pt x="815" y="2424"/>
                    </a:lnTo>
                    <a:lnTo>
                      <a:pt x="811" y="2424"/>
                    </a:lnTo>
                    <a:lnTo>
                      <a:pt x="806" y="2424"/>
                    </a:lnTo>
                    <a:lnTo>
                      <a:pt x="797" y="2429"/>
                    </a:lnTo>
                    <a:lnTo>
                      <a:pt x="792" y="2429"/>
                    </a:lnTo>
                    <a:lnTo>
                      <a:pt x="761" y="2436"/>
                    </a:lnTo>
                    <a:lnTo>
                      <a:pt x="759" y="2436"/>
                    </a:lnTo>
                    <a:lnTo>
                      <a:pt x="761" y="2431"/>
                    </a:lnTo>
                    <a:lnTo>
                      <a:pt x="773" y="2429"/>
                    </a:lnTo>
                    <a:lnTo>
                      <a:pt x="778" y="2426"/>
                    </a:lnTo>
                    <a:lnTo>
                      <a:pt x="787" y="2419"/>
                    </a:lnTo>
                    <a:lnTo>
                      <a:pt x="792" y="2417"/>
                    </a:lnTo>
                    <a:lnTo>
                      <a:pt x="794" y="2412"/>
                    </a:lnTo>
                    <a:lnTo>
                      <a:pt x="799" y="2403"/>
                    </a:lnTo>
                    <a:lnTo>
                      <a:pt x="801" y="2400"/>
                    </a:lnTo>
                    <a:lnTo>
                      <a:pt x="808" y="2396"/>
                    </a:lnTo>
                    <a:lnTo>
                      <a:pt x="813" y="2393"/>
                    </a:lnTo>
                    <a:lnTo>
                      <a:pt x="818" y="2393"/>
                    </a:lnTo>
                    <a:lnTo>
                      <a:pt x="830" y="2398"/>
                    </a:lnTo>
                    <a:lnTo>
                      <a:pt x="834" y="2396"/>
                    </a:lnTo>
                    <a:lnTo>
                      <a:pt x="837" y="2393"/>
                    </a:lnTo>
                    <a:lnTo>
                      <a:pt x="834" y="2391"/>
                    </a:lnTo>
                    <a:lnTo>
                      <a:pt x="837" y="2386"/>
                    </a:lnTo>
                    <a:lnTo>
                      <a:pt x="839" y="2379"/>
                    </a:lnTo>
                    <a:lnTo>
                      <a:pt x="844" y="2374"/>
                    </a:lnTo>
                    <a:lnTo>
                      <a:pt x="851" y="2370"/>
                    </a:lnTo>
                    <a:lnTo>
                      <a:pt x="860" y="2367"/>
                    </a:lnTo>
                    <a:lnTo>
                      <a:pt x="870" y="2367"/>
                    </a:lnTo>
                    <a:lnTo>
                      <a:pt x="877" y="2370"/>
                    </a:lnTo>
                    <a:lnTo>
                      <a:pt x="889" y="2381"/>
                    </a:lnTo>
                    <a:lnTo>
                      <a:pt x="889" y="2384"/>
                    </a:lnTo>
                    <a:lnTo>
                      <a:pt x="884" y="2391"/>
                    </a:lnTo>
                    <a:lnTo>
                      <a:pt x="879" y="2396"/>
                    </a:lnTo>
                    <a:lnTo>
                      <a:pt x="870" y="2398"/>
                    </a:lnTo>
                    <a:close/>
                    <a:moveTo>
                      <a:pt x="711" y="2417"/>
                    </a:moveTo>
                    <a:lnTo>
                      <a:pt x="709" y="2422"/>
                    </a:lnTo>
                    <a:lnTo>
                      <a:pt x="707" y="2424"/>
                    </a:lnTo>
                    <a:lnTo>
                      <a:pt x="697" y="2417"/>
                    </a:lnTo>
                    <a:lnTo>
                      <a:pt x="688" y="2414"/>
                    </a:lnTo>
                    <a:lnTo>
                      <a:pt x="688" y="2412"/>
                    </a:lnTo>
                    <a:lnTo>
                      <a:pt x="690" y="2410"/>
                    </a:lnTo>
                    <a:lnTo>
                      <a:pt x="704" y="2410"/>
                    </a:lnTo>
                    <a:lnTo>
                      <a:pt x="709" y="2412"/>
                    </a:lnTo>
                    <a:lnTo>
                      <a:pt x="711" y="2414"/>
                    </a:lnTo>
                    <a:lnTo>
                      <a:pt x="711" y="2417"/>
                    </a:lnTo>
                    <a:close/>
                    <a:moveTo>
                      <a:pt x="619" y="2424"/>
                    </a:moveTo>
                    <a:lnTo>
                      <a:pt x="612" y="2426"/>
                    </a:lnTo>
                    <a:lnTo>
                      <a:pt x="612" y="2424"/>
                    </a:lnTo>
                    <a:lnTo>
                      <a:pt x="612" y="2417"/>
                    </a:lnTo>
                    <a:lnTo>
                      <a:pt x="617" y="2414"/>
                    </a:lnTo>
                    <a:lnTo>
                      <a:pt x="629" y="2410"/>
                    </a:lnTo>
                    <a:lnTo>
                      <a:pt x="633" y="2412"/>
                    </a:lnTo>
                    <a:lnTo>
                      <a:pt x="633" y="2417"/>
                    </a:lnTo>
                    <a:lnTo>
                      <a:pt x="633" y="2419"/>
                    </a:lnTo>
                    <a:lnTo>
                      <a:pt x="629" y="2422"/>
                    </a:lnTo>
                    <a:lnTo>
                      <a:pt x="626" y="2424"/>
                    </a:lnTo>
                    <a:lnTo>
                      <a:pt x="622" y="2422"/>
                    </a:lnTo>
                    <a:lnTo>
                      <a:pt x="619" y="2424"/>
                    </a:lnTo>
                    <a:close/>
                    <a:moveTo>
                      <a:pt x="284" y="2374"/>
                    </a:moveTo>
                    <a:lnTo>
                      <a:pt x="239" y="2360"/>
                    </a:lnTo>
                    <a:lnTo>
                      <a:pt x="234" y="2355"/>
                    </a:lnTo>
                    <a:lnTo>
                      <a:pt x="241" y="2355"/>
                    </a:lnTo>
                    <a:lnTo>
                      <a:pt x="248" y="2358"/>
                    </a:lnTo>
                    <a:lnTo>
                      <a:pt x="267" y="2358"/>
                    </a:lnTo>
                    <a:lnTo>
                      <a:pt x="288" y="2360"/>
                    </a:lnTo>
                    <a:lnTo>
                      <a:pt x="307" y="2360"/>
                    </a:lnTo>
                    <a:lnTo>
                      <a:pt x="321" y="2362"/>
                    </a:lnTo>
                    <a:lnTo>
                      <a:pt x="329" y="2358"/>
                    </a:lnTo>
                    <a:lnTo>
                      <a:pt x="317" y="2348"/>
                    </a:lnTo>
                    <a:lnTo>
                      <a:pt x="317" y="2346"/>
                    </a:lnTo>
                    <a:lnTo>
                      <a:pt x="324" y="2344"/>
                    </a:lnTo>
                    <a:lnTo>
                      <a:pt x="329" y="2341"/>
                    </a:lnTo>
                    <a:lnTo>
                      <a:pt x="343" y="2341"/>
                    </a:lnTo>
                    <a:lnTo>
                      <a:pt x="350" y="2351"/>
                    </a:lnTo>
                    <a:lnTo>
                      <a:pt x="350" y="2355"/>
                    </a:lnTo>
                    <a:lnTo>
                      <a:pt x="347" y="2362"/>
                    </a:lnTo>
                    <a:lnTo>
                      <a:pt x="343" y="2367"/>
                    </a:lnTo>
                    <a:lnTo>
                      <a:pt x="333" y="2365"/>
                    </a:lnTo>
                    <a:lnTo>
                      <a:pt x="331" y="2367"/>
                    </a:lnTo>
                    <a:lnTo>
                      <a:pt x="331" y="2379"/>
                    </a:lnTo>
                    <a:lnTo>
                      <a:pt x="312" y="2379"/>
                    </a:lnTo>
                    <a:lnTo>
                      <a:pt x="284" y="2374"/>
                    </a:lnTo>
                    <a:close/>
                    <a:moveTo>
                      <a:pt x="468" y="2412"/>
                    </a:moveTo>
                    <a:lnTo>
                      <a:pt x="461" y="2412"/>
                    </a:lnTo>
                    <a:lnTo>
                      <a:pt x="456" y="2407"/>
                    </a:lnTo>
                    <a:lnTo>
                      <a:pt x="461" y="2403"/>
                    </a:lnTo>
                    <a:lnTo>
                      <a:pt x="466" y="2400"/>
                    </a:lnTo>
                    <a:lnTo>
                      <a:pt x="473" y="2398"/>
                    </a:lnTo>
                    <a:lnTo>
                      <a:pt x="480" y="2403"/>
                    </a:lnTo>
                    <a:lnTo>
                      <a:pt x="482" y="2410"/>
                    </a:lnTo>
                    <a:lnTo>
                      <a:pt x="468" y="2412"/>
                    </a:lnTo>
                    <a:close/>
                    <a:moveTo>
                      <a:pt x="376" y="2396"/>
                    </a:moveTo>
                    <a:lnTo>
                      <a:pt x="390" y="2407"/>
                    </a:lnTo>
                    <a:lnTo>
                      <a:pt x="409" y="2414"/>
                    </a:lnTo>
                    <a:lnTo>
                      <a:pt x="416" y="2419"/>
                    </a:lnTo>
                    <a:lnTo>
                      <a:pt x="414" y="2419"/>
                    </a:lnTo>
                    <a:lnTo>
                      <a:pt x="402" y="2417"/>
                    </a:lnTo>
                    <a:lnTo>
                      <a:pt x="397" y="2414"/>
                    </a:lnTo>
                    <a:lnTo>
                      <a:pt x="385" y="2412"/>
                    </a:lnTo>
                    <a:lnTo>
                      <a:pt x="378" y="2410"/>
                    </a:lnTo>
                    <a:lnTo>
                      <a:pt x="362" y="2403"/>
                    </a:lnTo>
                    <a:lnTo>
                      <a:pt x="350" y="2398"/>
                    </a:lnTo>
                    <a:lnTo>
                      <a:pt x="345" y="2396"/>
                    </a:lnTo>
                    <a:lnTo>
                      <a:pt x="343" y="2393"/>
                    </a:lnTo>
                    <a:lnTo>
                      <a:pt x="340" y="2386"/>
                    </a:lnTo>
                    <a:lnTo>
                      <a:pt x="340" y="2384"/>
                    </a:lnTo>
                    <a:lnTo>
                      <a:pt x="345" y="2384"/>
                    </a:lnTo>
                    <a:lnTo>
                      <a:pt x="355" y="2393"/>
                    </a:lnTo>
                    <a:lnTo>
                      <a:pt x="357" y="2391"/>
                    </a:lnTo>
                    <a:lnTo>
                      <a:pt x="369" y="2391"/>
                    </a:lnTo>
                    <a:lnTo>
                      <a:pt x="376" y="2396"/>
                    </a:lnTo>
                    <a:close/>
                    <a:moveTo>
                      <a:pt x="177" y="2334"/>
                    </a:moveTo>
                    <a:lnTo>
                      <a:pt x="173" y="2336"/>
                    </a:lnTo>
                    <a:lnTo>
                      <a:pt x="168" y="2329"/>
                    </a:lnTo>
                    <a:lnTo>
                      <a:pt x="165" y="2325"/>
                    </a:lnTo>
                    <a:lnTo>
                      <a:pt x="168" y="2322"/>
                    </a:lnTo>
                    <a:lnTo>
                      <a:pt x="170" y="2318"/>
                    </a:lnTo>
                    <a:lnTo>
                      <a:pt x="177" y="2320"/>
                    </a:lnTo>
                    <a:lnTo>
                      <a:pt x="180" y="2322"/>
                    </a:lnTo>
                    <a:lnTo>
                      <a:pt x="182" y="2329"/>
                    </a:lnTo>
                    <a:lnTo>
                      <a:pt x="182" y="2332"/>
                    </a:lnTo>
                    <a:lnTo>
                      <a:pt x="177" y="2334"/>
                    </a:lnTo>
                    <a:close/>
                    <a:moveTo>
                      <a:pt x="125" y="2332"/>
                    </a:moveTo>
                    <a:lnTo>
                      <a:pt x="123" y="2336"/>
                    </a:lnTo>
                    <a:lnTo>
                      <a:pt x="132" y="2339"/>
                    </a:lnTo>
                    <a:lnTo>
                      <a:pt x="135" y="2341"/>
                    </a:lnTo>
                    <a:lnTo>
                      <a:pt x="130" y="2351"/>
                    </a:lnTo>
                    <a:lnTo>
                      <a:pt x="128" y="2353"/>
                    </a:lnTo>
                    <a:lnTo>
                      <a:pt x="128" y="2353"/>
                    </a:lnTo>
                    <a:lnTo>
                      <a:pt x="125" y="2348"/>
                    </a:lnTo>
                    <a:lnTo>
                      <a:pt x="118" y="2351"/>
                    </a:lnTo>
                    <a:lnTo>
                      <a:pt x="97" y="2355"/>
                    </a:lnTo>
                    <a:lnTo>
                      <a:pt x="95" y="2346"/>
                    </a:lnTo>
                    <a:lnTo>
                      <a:pt x="83" y="2351"/>
                    </a:lnTo>
                    <a:lnTo>
                      <a:pt x="99" y="2332"/>
                    </a:lnTo>
                    <a:lnTo>
                      <a:pt x="109" y="2332"/>
                    </a:lnTo>
                    <a:lnTo>
                      <a:pt x="111" y="2329"/>
                    </a:lnTo>
                    <a:lnTo>
                      <a:pt x="113" y="2322"/>
                    </a:lnTo>
                    <a:lnTo>
                      <a:pt x="123" y="2313"/>
                    </a:lnTo>
                    <a:lnTo>
                      <a:pt x="130" y="2318"/>
                    </a:lnTo>
                    <a:lnTo>
                      <a:pt x="132" y="2322"/>
                    </a:lnTo>
                    <a:lnTo>
                      <a:pt x="130" y="2327"/>
                    </a:lnTo>
                    <a:lnTo>
                      <a:pt x="125" y="2332"/>
                    </a:lnTo>
                    <a:close/>
                    <a:moveTo>
                      <a:pt x="73" y="2332"/>
                    </a:moveTo>
                    <a:lnTo>
                      <a:pt x="71" y="2332"/>
                    </a:lnTo>
                    <a:lnTo>
                      <a:pt x="66" y="2332"/>
                    </a:lnTo>
                    <a:lnTo>
                      <a:pt x="54" y="2325"/>
                    </a:lnTo>
                    <a:lnTo>
                      <a:pt x="47" y="2322"/>
                    </a:lnTo>
                    <a:lnTo>
                      <a:pt x="38" y="2320"/>
                    </a:lnTo>
                    <a:lnTo>
                      <a:pt x="31" y="2318"/>
                    </a:lnTo>
                    <a:lnTo>
                      <a:pt x="33" y="2315"/>
                    </a:lnTo>
                    <a:lnTo>
                      <a:pt x="33" y="2313"/>
                    </a:lnTo>
                    <a:lnTo>
                      <a:pt x="61" y="2318"/>
                    </a:lnTo>
                    <a:lnTo>
                      <a:pt x="71" y="2315"/>
                    </a:lnTo>
                    <a:lnTo>
                      <a:pt x="76" y="2313"/>
                    </a:lnTo>
                    <a:lnTo>
                      <a:pt x="83" y="2306"/>
                    </a:lnTo>
                    <a:lnTo>
                      <a:pt x="87" y="2306"/>
                    </a:lnTo>
                    <a:lnTo>
                      <a:pt x="87" y="2306"/>
                    </a:lnTo>
                    <a:lnTo>
                      <a:pt x="90" y="2310"/>
                    </a:lnTo>
                    <a:lnTo>
                      <a:pt x="87" y="2315"/>
                    </a:lnTo>
                    <a:lnTo>
                      <a:pt x="83" y="2318"/>
                    </a:lnTo>
                    <a:lnTo>
                      <a:pt x="80" y="2320"/>
                    </a:lnTo>
                    <a:lnTo>
                      <a:pt x="73" y="2332"/>
                    </a:lnTo>
                    <a:close/>
                    <a:moveTo>
                      <a:pt x="12" y="2313"/>
                    </a:moveTo>
                    <a:lnTo>
                      <a:pt x="9" y="2318"/>
                    </a:lnTo>
                    <a:lnTo>
                      <a:pt x="7" y="2318"/>
                    </a:lnTo>
                    <a:lnTo>
                      <a:pt x="0" y="2306"/>
                    </a:lnTo>
                    <a:lnTo>
                      <a:pt x="0" y="2301"/>
                    </a:lnTo>
                    <a:lnTo>
                      <a:pt x="7" y="2301"/>
                    </a:lnTo>
                    <a:lnTo>
                      <a:pt x="9" y="2299"/>
                    </a:lnTo>
                    <a:lnTo>
                      <a:pt x="12" y="2296"/>
                    </a:lnTo>
                    <a:lnTo>
                      <a:pt x="9" y="2289"/>
                    </a:lnTo>
                    <a:lnTo>
                      <a:pt x="2" y="2280"/>
                    </a:lnTo>
                    <a:lnTo>
                      <a:pt x="2" y="2275"/>
                    </a:lnTo>
                    <a:lnTo>
                      <a:pt x="5" y="2273"/>
                    </a:lnTo>
                    <a:lnTo>
                      <a:pt x="9" y="2273"/>
                    </a:lnTo>
                    <a:lnTo>
                      <a:pt x="21" y="2277"/>
                    </a:lnTo>
                    <a:lnTo>
                      <a:pt x="26" y="2289"/>
                    </a:lnTo>
                    <a:lnTo>
                      <a:pt x="31" y="2294"/>
                    </a:lnTo>
                    <a:lnTo>
                      <a:pt x="40" y="2301"/>
                    </a:lnTo>
                    <a:lnTo>
                      <a:pt x="33" y="2301"/>
                    </a:lnTo>
                    <a:lnTo>
                      <a:pt x="28" y="2301"/>
                    </a:lnTo>
                    <a:lnTo>
                      <a:pt x="19" y="2310"/>
                    </a:lnTo>
                    <a:lnTo>
                      <a:pt x="12" y="2313"/>
                    </a:lnTo>
                    <a:close/>
                    <a:moveTo>
                      <a:pt x="168" y="2358"/>
                    </a:moveTo>
                    <a:lnTo>
                      <a:pt x="158" y="2358"/>
                    </a:lnTo>
                    <a:lnTo>
                      <a:pt x="154" y="2348"/>
                    </a:lnTo>
                    <a:lnTo>
                      <a:pt x="156" y="2341"/>
                    </a:lnTo>
                    <a:lnTo>
                      <a:pt x="163" y="2351"/>
                    </a:lnTo>
                    <a:lnTo>
                      <a:pt x="168" y="2358"/>
                    </a:lnTo>
                    <a:close/>
                    <a:moveTo>
                      <a:pt x="144" y="2351"/>
                    </a:moveTo>
                    <a:lnTo>
                      <a:pt x="137" y="2355"/>
                    </a:lnTo>
                    <a:lnTo>
                      <a:pt x="135" y="2351"/>
                    </a:lnTo>
                    <a:lnTo>
                      <a:pt x="137" y="2341"/>
                    </a:lnTo>
                    <a:lnTo>
                      <a:pt x="142" y="2339"/>
                    </a:lnTo>
                    <a:lnTo>
                      <a:pt x="147" y="2351"/>
                    </a:lnTo>
                    <a:lnTo>
                      <a:pt x="144" y="235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986" name="Freeform 40">
                <a:extLst>
                  <a:ext uri="{FF2B5EF4-FFF2-40B4-BE49-F238E27FC236}">
                    <a16:creationId xmlns:a16="http://schemas.microsoft.com/office/drawing/2014/main" id="{D93B9737-CF89-30CB-A125-3E104BF688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56" y="2059"/>
                <a:ext cx="652" cy="1050"/>
              </a:xfrm>
              <a:custGeom>
                <a:avLst/>
                <a:gdLst>
                  <a:gd name="T0" fmla="*/ 461 w 652"/>
                  <a:gd name="T1" fmla="*/ 53 h 1050"/>
                  <a:gd name="T2" fmla="*/ 485 w 652"/>
                  <a:gd name="T3" fmla="*/ 131 h 1050"/>
                  <a:gd name="T4" fmla="*/ 508 w 652"/>
                  <a:gd name="T5" fmla="*/ 209 h 1050"/>
                  <a:gd name="T6" fmla="*/ 529 w 652"/>
                  <a:gd name="T7" fmla="*/ 289 h 1050"/>
                  <a:gd name="T8" fmla="*/ 553 w 652"/>
                  <a:gd name="T9" fmla="*/ 367 h 1050"/>
                  <a:gd name="T10" fmla="*/ 574 w 652"/>
                  <a:gd name="T11" fmla="*/ 431 h 1050"/>
                  <a:gd name="T12" fmla="*/ 624 w 652"/>
                  <a:gd name="T13" fmla="*/ 528 h 1050"/>
                  <a:gd name="T14" fmla="*/ 636 w 652"/>
                  <a:gd name="T15" fmla="*/ 554 h 1050"/>
                  <a:gd name="T16" fmla="*/ 619 w 652"/>
                  <a:gd name="T17" fmla="*/ 585 h 1050"/>
                  <a:gd name="T18" fmla="*/ 610 w 652"/>
                  <a:gd name="T19" fmla="*/ 644 h 1050"/>
                  <a:gd name="T20" fmla="*/ 626 w 652"/>
                  <a:gd name="T21" fmla="*/ 693 h 1050"/>
                  <a:gd name="T22" fmla="*/ 641 w 652"/>
                  <a:gd name="T23" fmla="*/ 802 h 1050"/>
                  <a:gd name="T24" fmla="*/ 537 w 652"/>
                  <a:gd name="T25" fmla="*/ 840 h 1050"/>
                  <a:gd name="T26" fmla="*/ 359 w 652"/>
                  <a:gd name="T27" fmla="*/ 859 h 1050"/>
                  <a:gd name="T28" fmla="*/ 184 w 652"/>
                  <a:gd name="T29" fmla="*/ 875 h 1050"/>
                  <a:gd name="T30" fmla="*/ 194 w 652"/>
                  <a:gd name="T31" fmla="*/ 918 h 1050"/>
                  <a:gd name="T32" fmla="*/ 222 w 652"/>
                  <a:gd name="T33" fmla="*/ 970 h 1050"/>
                  <a:gd name="T34" fmla="*/ 217 w 652"/>
                  <a:gd name="T35" fmla="*/ 998 h 1050"/>
                  <a:gd name="T36" fmla="*/ 194 w 652"/>
                  <a:gd name="T37" fmla="*/ 1031 h 1050"/>
                  <a:gd name="T38" fmla="*/ 142 w 652"/>
                  <a:gd name="T39" fmla="*/ 1039 h 1050"/>
                  <a:gd name="T40" fmla="*/ 147 w 652"/>
                  <a:gd name="T41" fmla="*/ 1005 h 1050"/>
                  <a:gd name="T42" fmla="*/ 132 w 652"/>
                  <a:gd name="T43" fmla="*/ 975 h 1050"/>
                  <a:gd name="T44" fmla="*/ 111 w 652"/>
                  <a:gd name="T45" fmla="*/ 951 h 1050"/>
                  <a:gd name="T46" fmla="*/ 97 w 652"/>
                  <a:gd name="T47" fmla="*/ 1020 h 1050"/>
                  <a:gd name="T48" fmla="*/ 50 w 652"/>
                  <a:gd name="T49" fmla="*/ 1022 h 1050"/>
                  <a:gd name="T50" fmla="*/ 33 w 652"/>
                  <a:gd name="T51" fmla="*/ 899 h 1050"/>
                  <a:gd name="T52" fmla="*/ 17 w 652"/>
                  <a:gd name="T53" fmla="*/ 781 h 1050"/>
                  <a:gd name="T54" fmla="*/ 7 w 652"/>
                  <a:gd name="T55" fmla="*/ 663 h 1050"/>
                  <a:gd name="T56" fmla="*/ 12 w 652"/>
                  <a:gd name="T57" fmla="*/ 544 h 1050"/>
                  <a:gd name="T58" fmla="*/ 14 w 652"/>
                  <a:gd name="T59" fmla="*/ 428 h 1050"/>
                  <a:gd name="T60" fmla="*/ 17 w 652"/>
                  <a:gd name="T61" fmla="*/ 310 h 1050"/>
                  <a:gd name="T62" fmla="*/ 19 w 652"/>
                  <a:gd name="T63" fmla="*/ 192 h 1050"/>
                  <a:gd name="T64" fmla="*/ 24 w 652"/>
                  <a:gd name="T65" fmla="*/ 74 h 1050"/>
                  <a:gd name="T66" fmla="*/ 24 w 652"/>
                  <a:gd name="T67" fmla="*/ 57 h 1050"/>
                  <a:gd name="T68" fmla="*/ 0 w 652"/>
                  <a:gd name="T69" fmla="*/ 38 h 1050"/>
                  <a:gd name="T70" fmla="*/ 59 w 652"/>
                  <a:gd name="T71" fmla="*/ 34 h 1050"/>
                  <a:gd name="T72" fmla="*/ 142 w 652"/>
                  <a:gd name="T73" fmla="*/ 29 h 1050"/>
                  <a:gd name="T74" fmla="*/ 225 w 652"/>
                  <a:gd name="T75" fmla="*/ 22 h 1050"/>
                  <a:gd name="T76" fmla="*/ 307 w 652"/>
                  <a:gd name="T77" fmla="*/ 12 h 1050"/>
                  <a:gd name="T78" fmla="*/ 390 w 652"/>
                  <a:gd name="T79" fmla="*/ 5 h 1050"/>
                  <a:gd name="T80" fmla="*/ 111 w 652"/>
                  <a:gd name="T81" fmla="*/ 1041 h 1050"/>
                  <a:gd name="T82" fmla="*/ 66 w 652"/>
                  <a:gd name="T83" fmla="*/ 1048 h 1050"/>
                  <a:gd name="T84" fmla="*/ 111 w 652"/>
                  <a:gd name="T85" fmla="*/ 1041 h 10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52" h="1050">
                    <a:moveTo>
                      <a:pt x="447" y="0"/>
                    </a:moveTo>
                    <a:lnTo>
                      <a:pt x="454" y="26"/>
                    </a:lnTo>
                    <a:lnTo>
                      <a:pt x="461" y="53"/>
                    </a:lnTo>
                    <a:lnTo>
                      <a:pt x="468" y="79"/>
                    </a:lnTo>
                    <a:lnTo>
                      <a:pt x="475" y="105"/>
                    </a:lnTo>
                    <a:lnTo>
                      <a:pt x="485" y="131"/>
                    </a:lnTo>
                    <a:lnTo>
                      <a:pt x="492" y="157"/>
                    </a:lnTo>
                    <a:lnTo>
                      <a:pt x="499" y="183"/>
                    </a:lnTo>
                    <a:lnTo>
                      <a:pt x="508" y="209"/>
                    </a:lnTo>
                    <a:lnTo>
                      <a:pt x="515" y="235"/>
                    </a:lnTo>
                    <a:lnTo>
                      <a:pt x="522" y="261"/>
                    </a:lnTo>
                    <a:lnTo>
                      <a:pt x="529" y="289"/>
                    </a:lnTo>
                    <a:lnTo>
                      <a:pt x="539" y="315"/>
                    </a:lnTo>
                    <a:lnTo>
                      <a:pt x="546" y="341"/>
                    </a:lnTo>
                    <a:lnTo>
                      <a:pt x="553" y="367"/>
                    </a:lnTo>
                    <a:lnTo>
                      <a:pt x="563" y="393"/>
                    </a:lnTo>
                    <a:lnTo>
                      <a:pt x="570" y="419"/>
                    </a:lnTo>
                    <a:lnTo>
                      <a:pt x="574" y="431"/>
                    </a:lnTo>
                    <a:lnTo>
                      <a:pt x="581" y="450"/>
                    </a:lnTo>
                    <a:lnTo>
                      <a:pt x="615" y="504"/>
                    </a:lnTo>
                    <a:lnTo>
                      <a:pt x="624" y="528"/>
                    </a:lnTo>
                    <a:lnTo>
                      <a:pt x="622" y="540"/>
                    </a:lnTo>
                    <a:lnTo>
                      <a:pt x="626" y="547"/>
                    </a:lnTo>
                    <a:lnTo>
                      <a:pt x="636" y="554"/>
                    </a:lnTo>
                    <a:lnTo>
                      <a:pt x="636" y="561"/>
                    </a:lnTo>
                    <a:lnTo>
                      <a:pt x="626" y="573"/>
                    </a:lnTo>
                    <a:lnTo>
                      <a:pt x="619" y="585"/>
                    </a:lnTo>
                    <a:lnTo>
                      <a:pt x="617" y="606"/>
                    </a:lnTo>
                    <a:lnTo>
                      <a:pt x="617" y="606"/>
                    </a:lnTo>
                    <a:lnTo>
                      <a:pt x="610" y="644"/>
                    </a:lnTo>
                    <a:lnTo>
                      <a:pt x="612" y="665"/>
                    </a:lnTo>
                    <a:lnTo>
                      <a:pt x="626" y="693"/>
                    </a:lnTo>
                    <a:lnTo>
                      <a:pt x="626" y="693"/>
                    </a:lnTo>
                    <a:lnTo>
                      <a:pt x="631" y="705"/>
                    </a:lnTo>
                    <a:lnTo>
                      <a:pt x="631" y="764"/>
                    </a:lnTo>
                    <a:lnTo>
                      <a:pt x="641" y="802"/>
                    </a:lnTo>
                    <a:lnTo>
                      <a:pt x="652" y="826"/>
                    </a:lnTo>
                    <a:lnTo>
                      <a:pt x="596" y="833"/>
                    </a:lnTo>
                    <a:lnTo>
                      <a:pt x="537" y="840"/>
                    </a:lnTo>
                    <a:lnTo>
                      <a:pt x="477" y="845"/>
                    </a:lnTo>
                    <a:lnTo>
                      <a:pt x="418" y="852"/>
                    </a:lnTo>
                    <a:lnTo>
                      <a:pt x="359" y="859"/>
                    </a:lnTo>
                    <a:lnTo>
                      <a:pt x="303" y="864"/>
                    </a:lnTo>
                    <a:lnTo>
                      <a:pt x="243" y="871"/>
                    </a:lnTo>
                    <a:lnTo>
                      <a:pt x="184" y="875"/>
                    </a:lnTo>
                    <a:lnTo>
                      <a:pt x="182" y="892"/>
                    </a:lnTo>
                    <a:lnTo>
                      <a:pt x="187" y="906"/>
                    </a:lnTo>
                    <a:lnTo>
                      <a:pt x="194" y="918"/>
                    </a:lnTo>
                    <a:lnTo>
                      <a:pt x="222" y="942"/>
                    </a:lnTo>
                    <a:lnTo>
                      <a:pt x="225" y="949"/>
                    </a:lnTo>
                    <a:lnTo>
                      <a:pt x="222" y="970"/>
                    </a:lnTo>
                    <a:lnTo>
                      <a:pt x="225" y="984"/>
                    </a:lnTo>
                    <a:lnTo>
                      <a:pt x="222" y="991"/>
                    </a:lnTo>
                    <a:lnTo>
                      <a:pt x="217" y="998"/>
                    </a:lnTo>
                    <a:lnTo>
                      <a:pt x="215" y="1005"/>
                    </a:lnTo>
                    <a:lnTo>
                      <a:pt x="210" y="1008"/>
                    </a:lnTo>
                    <a:lnTo>
                      <a:pt x="194" y="1031"/>
                    </a:lnTo>
                    <a:lnTo>
                      <a:pt x="123" y="1046"/>
                    </a:lnTo>
                    <a:lnTo>
                      <a:pt x="128" y="1041"/>
                    </a:lnTo>
                    <a:lnTo>
                      <a:pt x="142" y="1039"/>
                    </a:lnTo>
                    <a:lnTo>
                      <a:pt x="163" y="1029"/>
                    </a:lnTo>
                    <a:lnTo>
                      <a:pt x="156" y="1017"/>
                    </a:lnTo>
                    <a:lnTo>
                      <a:pt x="147" y="1005"/>
                    </a:lnTo>
                    <a:lnTo>
                      <a:pt x="139" y="1005"/>
                    </a:lnTo>
                    <a:lnTo>
                      <a:pt x="135" y="998"/>
                    </a:lnTo>
                    <a:lnTo>
                      <a:pt x="132" y="975"/>
                    </a:lnTo>
                    <a:lnTo>
                      <a:pt x="128" y="960"/>
                    </a:lnTo>
                    <a:lnTo>
                      <a:pt x="113" y="946"/>
                    </a:lnTo>
                    <a:lnTo>
                      <a:pt x="111" y="951"/>
                    </a:lnTo>
                    <a:lnTo>
                      <a:pt x="104" y="975"/>
                    </a:lnTo>
                    <a:lnTo>
                      <a:pt x="99" y="1008"/>
                    </a:lnTo>
                    <a:lnTo>
                      <a:pt x="97" y="1020"/>
                    </a:lnTo>
                    <a:lnTo>
                      <a:pt x="76" y="1022"/>
                    </a:lnTo>
                    <a:lnTo>
                      <a:pt x="59" y="1020"/>
                    </a:lnTo>
                    <a:lnTo>
                      <a:pt x="50" y="1022"/>
                    </a:lnTo>
                    <a:lnTo>
                      <a:pt x="43" y="979"/>
                    </a:lnTo>
                    <a:lnTo>
                      <a:pt x="38" y="939"/>
                    </a:lnTo>
                    <a:lnTo>
                      <a:pt x="33" y="899"/>
                    </a:lnTo>
                    <a:lnTo>
                      <a:pt x="28" y="861"/>
                    </a:lnTo>
                    <a:lnTo>
                      <a:pt x="21" y="821"/>
                    </a:lnTo>
                    <a:lnTo>
                      <a:pt x="17" y="781"/>
                    </a:lnTo>
                    <a:lnTo>
                      <a:pt x="12" y="741"/>
                    </a:lnTo>
                    <a:lnTo>
                      <a:pt x="7" y="703"/>
                    </a:lnTo>
                    <a:lnTo>
                      <a:pt x="7" y="663"/>
                    </a:lnTo>
                    <a:lnTo>
                      <a:pt x="9" y="625"/>
                    </a:lnTo>
                    <a:lnTo>
                      <a:pt x="9" y="585"/>
                    </a:lnTo>
                    <a:lnTo>
                      <a:pt x="12" y="544"/>
                    </a:lnTo>
                    <a:lnTo>
                      <a:pt x="12" y="506"/>
                    </a:lnTo>
                    <a:lnTo>
                      <a:pt x="14" y="466"/>
                    </a:lnTo>
                    <a:lnTo>
                      <a:pt x="14" y="428"/>
                    </a:lnTo>
                    <a:lnTo>
                      <a:pt x="14" y="388"/>
                    </a:lnTo>
                    <a:lnTo>
                      <a:pt x="17" y="348"/>
                    </a:lnTo>
                    <a:lnTo>
                      <a:pt x="17" y="310"/>
                    </a:lnTo>
                    <a:lnTo>
                      <a:pt x="19" y="270"/>
                    </a:lnTo>
                    <a:lnTo>
                      <a:pt x="19" y="232"/>
                    </a:lnTo>
                    <a:lnTo>
                      <a:pt x="19" y="192"/>
                    </a:lnTo>
                    <a:lnTo>
                      <a:pt x="21" y="154"/>
                    </a:lnTo>
                    <a:lnTo>
                      <a:pt x="21" y="114"/>
                    </a:lnTo>
                    <a:lnTo>
                      <a:pt x="24" y="74"/>
                    </a:lnTo>
                    <a:lnTo>
                      <a:pt x="24" y="64"/>
                    </a:lnTo>
                    <a:lnTo>
                      <a:pt x="24" y="62"/>
                    </a:lnTo>
                    <a:lnTo>
                      <a:pt x="24" y="57"/>
                    </a:lnTo>
                    <a:lnTo>
                      <a:pt x="7" y="43"/>
                    </a:lnTo>
                    <a:lnTo>
                      <a:pt x="2" y="41"/>
                    </a:lnTo>
                    <a:lnTo>
                      <a:pt x="0" y="38"/>
                    </a:lnTo>
                    <a:lnTo>
                      <a:pt x="2" y="38"/>
                    </a:lnTo>
                    <a:lnTo>
                      <a:pt x="31" y="36"/>
                    </a:lnTo>
                    <a:lnTo>
                      <a:pt x="59" y="34"/>
                    </a:lnTo>
                    <a:lnTo>
                      <a:pt x="85" y="31"/>
                    </a:lnTo>
                    <a:lnTo>
                      <a:pt x="113" y="31"/>
                    </a:lnTo>
                    <a:lnTo>
                      <a:pt x="142" y="29"/>
                    </a:lnTo>
                    <a:lnTo>
                      <a:pt x="170" y="26"/>
                    </a:lnTo>
                    <a:lnTo>
                      <a:pt x="196" y="24"/>
                    </a:lnTo>
                    <a:lnTo>
                      <a:pt x="225" y="22"/>
                    </a:lnTo>
                    <a:lnTo>
                      <a:pt x="253" y="17"/>
                    </a:lnTo>
                    <a:lnTo>
                      <a:pt x="279" y="15"/>
                    </a:lnTo>
                    <a:lnTo>
                      <a:pt x="307" y="12"/>
                    </a:lnTo>
                    <a:lnTo>
                      <a:pt x="336" y="10"/>
                    </a:lnTo>
                    <a:lnTo>
                      <a:pt x="364" y="8"/>
                    </a:lnTo>
                    <a:lnTo>
                      <a:pt x="390" y="5"/>
                    </a:lnTo>
                    <a:lnTo>
                      <a:pt x="418" y="3"/>
                    </a:lnTo>
                    <a:lnTo>
                      <a:pt x="447" y="0"/>
                    </a:lnTo>
                    <a:close/>
                    <a:moveTo>
                      <a:pt x="111" y="1041"/>
                    </a:moveTo>
                    <a:lnTo>
                      <a:pt x="95" y="1048"/>
                    </a:lnTo>
                    <a:lnTo>
                      <a:pt x="71" y="1050"/>
                    </a:lnTo>
                    <a:lnTo>
                      <a:pt x="66" y="1048"/>
                    </a:lnTo>
                    <a:lnTo>
                      <a:pt x="76" y="1046"/>
                    </a:lnTo>
                    <a:lnTo>
                      <a:pt x="104" y="1039"/>
                    </a:lnTo>
                    <a:lnTo>
                      <a:pt x="111" y="104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987" name="Freeform 43">
                <a:extLst>
                  <a:ext uri="{FF2B5EF4-FFF2-40B4-BE49-F238E27FC236}">
                    <a16:creationId xmlns:a16="http://schemas.microsoft.com/office/drawing/2014/main" id="{35BF6D17-5357-2D98-CECE-FCD777B99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3" y="1814"/>
                <a:ext cx="844" cy="763"/>
              </a:xfrm>
              <a:custGeom>
                <a:avLst/>
                <a:gdLst>
                  <a:gd name="T0" fmla="*/ 844 w 844"/>
                  <a:gd name="T1" fmla="*/ 111 h 763"/>
                  <a:gd name="T2" fmla="*/ 836 w 844"/>
                  <a:gd name="T3" fmla="*/ 120 h 763"/>
                  <a:gd name="T4" fmla="*/ 832 w 844"/>
                  <a:gd name="T5" fmla="*/ 130 h 763"/>
                  <a:gd name="T6" fmla="*/ 829 w 844"/>
                  <a:gd name="T7" fmla="*/ 141 h 763"/>
                  <a:gd name="T8" fmla="*/ 808 w 844"/>
                  <a:gd name="T9" fmla="*/ 189 h 763"/>
                  <a:gd name="T10" fmla="*/ 780 w 844"/>
                  <a:gd name="T11" fmla="*/ 248 h 763"/>
                  <a:gd name="T12" fmla="*/ 758 w 844"/>
                  <a:gd name="T13" fmla="*/ 307 h 763"/>
                  <a:gd name="T14" fmla="*/ 754 w 844"/>
                  <a:gd name="T15" fmla="*/ 324 h 763"/>
                  <a:gd name="T16" fmla="*/ 735 w 844"/>
                  <a:gd name="T17" fmla="*/ 350 h 763"/>
                  <a:gd name="T18" fmla="*/ 721 w 844"/>
                  <a:gd name="T19" fmla="*/ 373 h 763"/>
                  <a:gd name="T20" fmla="*/ 709 w 844"/>
                  <a:gd name="T21" fmla="*/ 423 h 763"/>
                  <a:gd name="T22" fmla="*/ 680 w 844"/>
                  <a:gd name="T23" fmla="*/ 456 h 763"/>
                  <a:gd name="T24" fmla="*/ 657 w 844"/>
                  <a:gd name="T25" fmla="*/ 494 h 763"/>
                  <a:gd name="T26" fmla="*/ 657 w 844"/>
                  <a:gd name="T27" fmla="*/ 522 h 763"/>
                  <a:gd name="T28" fmla="*/ 633 w 844"/>
                  <a:gd name="T29" fmla="*/ 536 h 763"/>
                  <a:gd name="T30" fmla="*/ 638 w 844"/>
                  <a:gd name="T31" fmla="*/ 555 h 763"/>
                  <a:gd name="T32" fmla="*/ 628 w 844"/>
                  <a:gd name="T33" fmla="*/ 584 h 763"/>
                  <a:gd name="T34" fmla="*/ 617 w 844"/>
                  <a:gd name="T35" fmla="*/ 610 h 763"/>
                  <a:gd name="T36" fmla="*/ 612 w 844"/>
                  <a:gd name="T37" fmla="*/ 631 h 763"/>
                  <a:gd name="T38" fmla="*/ 624 w 844"/>
                  <a:gd name="T39" fmla="*/ 655 h 763"/>
                  <a:gd name="T40" fmla="*/ 631 w 844"/>
                  <a:gd name="T41" fmla="*/ 695 h 763"/>
                  <a:gd name="T42" fmla="*/ 626 w 844"/>
                  <a:gd name="T43" fmla="*/ 742 h 763"/>
                  <a:gd name="T44" fmla="*/ 529 w 844"/>
                  <a:gd name="T45" fmla="*/ 747 h 763"/>
                  <a:gd name="T46" fmla="*/ 432 w 844"/>
                  <a:gd name="T47" fmla="*/ 751 h 763"/>
                  <a:gd name="T48" fmla="*/ 338 w 844"/>
                  <a:gd name="T49" fmla="*/ 756 h 763"/>
                  <a:gd name="T50" fmla="*/ 241 w 844"/>
                  <a:gd name="T51" fmla="*/ 759 h 763"/>
                  <a:gd name="T52" fmla="*/ 146 w 844"/>
                  <a:gd name="T53" fmla="*/ 761 h 763"/>
                  <a:gd name="T54" fmla="*/ 111 w 844"/>
                  <a:gd name="T55" fmla="*/ 707 h 763"/>
                  <a:gd name="T56" fmla="*/ 101 w 844"/>
                  <a:gd name="T57" fmla="*/ 643 h 763"/>
                  <a:gd name="T58" fmla="*/ 66 w 844"/>
                  <a:gd name="T59" fmla="*/ 643 h 763"/>
                  <a:gd name="T60" fmla="*/ 52 w 844"/>
                  <a:gd name="T61" fmla="*/ 647 h 763"/>
                  <a:gd name="T62" fmla="*/ 33 w 844"/>
                  <a:gd name="T63" fmla="*/ 631 h 763"/>
                  <a:gd name="T64" fmla="*/ 33 w 844"/>
                  <a:gd name="T65" fmla="*/ 562 h 763"/>
                  <a:gd name="T66" fmla="*/ 33 w 844"/>
                  <a:gd name="T67" fmla="*/ 491 h 763"/>
                  <a:gd name="T68" fmla="*/ 33 w 844"/>
                  <a:gd name="T69" fmla="*/ 423 h 763"/>
                  <a:gd name="T70" fmla="*/ 33 w 844"/>
                  <a:gd name="T71" fmla="*/ 354 h 763"/>
                  <a:gd name="T72" fmla="*/ 35 w 844"/>
                  <a:gd name="T73" fmla="*/ 286 h 763"/>
                  <a:gd name="T74" fmla="*/ 26 w 844"/>
                  <a:gd name="T75" fmla="*/ 205 h 763"/>
                  <a:gd name="T76" fmla="*/ 11 w 844"/>
                  <a:gd name="T77" fmla="*/ 118 h 763"/>
                  <a:gd name="T78" fmla="*/ 0 w 844"/>
                  <a:gd name="T79" fmla="*/ 30 h 763"/>
                  <a:gd name="T80" fmla="*/ 141 w 844"/>
                  <a:gd name="T81" fmla="*/ 28 h 763"/>
                  <a:gd name="T82" fmla="*/ 283 w 844"/>
                  <a:gd name="T83" fmla="*/ 23 h 763"/>
                  <a:gd name="T84" fmla="*/ 425 w 844"/>
                  <a:gd name="T85" fmla="*/ 18 h 763"/>
                  <a:gd name="T86" fmla="*/ 567 w 844"/>
                  <a:gd name="T87" fmla="*/ 11 h 763"/>
                  <a:gd name="T88" fmla="*/ 709 w 844"/>
                  <a:gd name="T89" fmla="*/ 2 h 763"/>
                  <a:gd name="T90" fmla="*/ 773 w 844"/>
                  <a:gd name="T91" fmla="*/ 26 h 763"/>
                  <a:gd name="T92" fmla="*/ 761 w 844"/>
                  <a:gd name="T93" fmla="*/ 59 h 763"/>
                  <a:gd name="T94" fmla="*/ 737 w 844"/>
                  <a:gd name="T95" fmla="*/ 85 h 763"/>
                  <a:gd name="T96" fmla="*/ 782 w 844"/>
                  <a:gd name="T97" fmla="*/ 104 h 7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4" h="763">
                    <a:moveTo>
                      <a:pt x="841" y="99"/>
                    </a:moveTo>
                    <a:lnTo>
                      <a:pt x="839" y="104"/>
                    </a:lnTo>
                    <a:lnTo>
                      <a:pt x="844" y="111"/>
                    </a:lnTo>
                    <a:lnTo>
                      <a:pt x="844" y="115"/>
                    </a:lnTo>
                    <a:lnTo>
                      <a:pt x="841" y="120"/>
                    </a:lnTo>
                    <a:lnTo>
                      <a:pt x="836" y="120"/>
                    </a:lnTo>
                    <a:lnTo>
                      <a:pt x="832" y="123"/>
                    </a:lnTo>
                    <a:lnTo>
                      <a:pt x="832" y="127"/>
                    </a:lnTo>
                    <a:lnTo>
                      <a:pt x="832" y="130"/>
                    </a:lnTo>
                    <a:lnTo>
                      <a:pt x="832" y="132"/>
                    </a:lnTo>
                    <a:lnTo>
                      <a:pt x="832" y="137"/>
                    </a:lnTo>
                    <a:lnTo>
                      <a:pt x="829" y="141"/>
                    </a:lnTo>
                    <a:lnTo>
                      <a:pt x="810" y="153"/>
                    </a:lnTo>
                    <a:lnTo>
                      <a:pt x="803" y="170"/>
                    </a:lnTo>
                    <a:lnTo>
                      <a:pt x="808" y="189"/>
                    </a:lnTo>
                    <a:lnTo>
                      <a:pt x="803" y="208"/>
                    </a:lnTo>
                    <a:lnTo>
                      <a:pt x="787" y="227"/>
                    </a:lnTo>
                    <a:lnTo>
                      <a:pt x="780" y="248"/>
                    </a:lnTo>
                    <a:lnTo>
                      <a:pt x="784" y="271"/>
                    </a:lnTo>
                    <a:lnTo>
                      <a:pt x="777" y="290"/>
                    </a:lnTo>
                    <a:lnTo>
                      <a:pt x="758" y="307"/>
                    </a:lnTo>
                    <a:lnTo>
                      <a:pt x="754" y="316"/>
                    </a:lnTo>
                    <a:lnTo>
                      <a:pt x="754" y="316"/>
                    </a:lnTo>
                    <a:lnTo>
                      <a:pt x="754" y="324"/>
                    </a:lnTo>
                    <a:lnTo>
                      <a:pt x="756" y="328"/>
                    </a:lnTo>
                    <a:lnTo>
                      <a:pt x="749" y="338"/>
                    </a:lnTo>
                    <a:lnTo>
                      <a:pt x="735" y="350"/>
                    </a:lnTo>
                    <a:lnTo>
                      <a:pt x="725" y="359"/>
                    </a:lnTo>
                    <a:lnTo>
                      <a:pt x="725" y="368"/>
                    </a:lnTo>
                    <a:lnTo>
                      <a:pt x="721" y="373"/>
                    </a:lnTo>
                    <a:lnTo>
                      <a:pt x="714" y="376"/>
                    </a:lnTo>
                    <a:lnTo>
                      <a:pt x="711" y="390"/>
                    </a:lnTo>
                    <a:lnTo>
                      <a:pt x="709" y="423"/>
                    </a:lnTo>
                    <a:lnTo>
                      <a:pt x="702" y="444"/>
                    </a:lnTo>
                    <a:lnTo>
                      <a:pt x="688" y="449"/>
                    </a:lnTo>
                    <a:lnTo>
                      <a:pt x="680" y="456"/>
                    </a:lnTo>
                    <a:lnTo>
                      <a:pt x="680" y="468"/>
                    </a:lnTo>
                    <a:lnTo>
                      <a:pt x="671" y="480"/>
                    </a:lnTo>
                    <a:lnTo>
                      <a:pt x="657" y="494"/>
                    </a:lnTo>
                    <a:lnTo>
                      <a:pt x="652" y="506"/>
                    </a:lnTo>
                    <a:lnTo>
                      <a:pt x="657" y="517"/>
                    </a:lnTo>
                    <a:lnTo>
                      <a:pt x="657" y="522"/>
                    </a:lnTo>
                    <a:lnTo>
                      <a:pt x="652" y="527"/>
                    </a:lnTo>
                    <a:lnTo>
                      <a:pt x="636" y="534"/>
                    </a:lnTo>
                    <a:lnTo>
                      <a:pt x="633" y="536"/>
                    </a:lnTo>
                    <a:lnTo>
                      <a:pt x="631" y="541"/>
                    </a:lnTo>
                    <a:lnTo>
                      <a:pt x="633" y="546"/>
                    </a:lnTo>
                    <a:lnTo>
                      <a:pt x="638" y="555"/>
                    </a:lnTo>
                    <a:lnTo>
                      <a:pt x="636" y="572"/>
                    </a:lnTo>
                    <a:lnTo>
                      <a:pt x="631" y="577"/>
                    </a:lnTo>
                    <a:lnTo>
                      <a:pt x="628" y="584"/>
                    </a:lnTo>
                    <a:lnTo>
                      <a:pt x="614" y="595"/>
                    </a:lnTo>
                    <a:lnTo>
                      <a:pt x="610" y="605"/>
                    </a:lnTo>
                    <a:lnTo>
                      <a:pt x="617" y="610"/>
                    </a:lnTo>
                    <a:lnTo>
                      <a:pt x="617" y="617"/>
                    </a:lnTo>
                    <a:lnTo>
                      <a:pt x="610" y="624"/>
                    </a:lnTo>
                    <a:lnTo>
                      <a:pt x="612" y="631"/>
                    </a:lnTo>
                    <a:lnTo>
                      <a:pt x="614" y="636"/>
                    </a:lnTo>
                    <a:lnTo>
                      <a:pt x="621" y="640"/>
                    </a:lnTo>
                    <a:lnTo>
                      <a:pt x="624" y="655"/>
                    </a:lnTo>
                    <a:lnTo>
                      <a:pt x="619" y="671"/>
                    </a:lnTo>
                    <a:lnTo>
                      <a:pt x="621" y="683"/>
                    </a:lnTo>
                    <a:lnTo>
                      <a:pt x="631" y="695"/>
                    </a:lnTo>
                    <a:lnTo>
                      <a:pt x="633" y="699"/>
                    </a:lnTo>
                    <a:lnTo>
                      <a:pt x="626" y="737"/>
                    </a:lnTo>
                    <a:lnTo>
                      <a:pt x="626" y="742"/>
                    </a:lnTo>
                    <a:lnTo>
                      <a:pt x="593" y="744"/>
                    </a:lnTo>
                    <a:lnTo>
                      <a:pt x="560" y="747"/>
                    </a:lnTo>
                    <a:lnTo>
                      <a:pt x="529" y="747"/>
                    </a:lnTo>
                    <a:lnTo>
                      <a:pt x="496" y="749"/>
                    </a:lnTo>
                    <a:lnTo>
                      <a:pt x="465" y="751"/>
                    </a:lnTo>
                    <a:lnTo>
                      <a:pt x="432" y="751"/>
                    </a:lnTo>
                    <a:lnTo>
                      <a:pt x="401" y="754"/>
                    </a:lnTo>
                    <a:lnTo>
                      <a:pt x="368" y="754"/>
                    </a:lnTo>
                    <a:lnTo>
                      <a:pt x="338" y="756"/>
                    </a:lnTo>
                    <a:lnTo>
                      <a:pt x="305" y="756"/>
                    </a:lnTo>
                    <a:lnTo>
                      <a:pt x="274" y="759"/>
                    </a:lnTo>
                    <a:lnTo>
                      <a:pt x="241" y="759"/>
                    </a:lnTo>
                    <a:lnTo>
                      <a:pt x="210" y="761"/>
                    </a:lnTo>
                    <a:lnTo>
                      <a:pt x="177" y="761"/>
                    </a:lnTo>
                    <a:lnTo>
                      <a:pt x="146" y="761"/>
                    </a:lnTo>
                    <a:lnTo>
                      <a:pt x="113" y="763"/>
                    </a:lnTo>
                    <a:lnTo>
                      <a:pt x="113" y="735"/>
                    </a:lnTo>
                    <a:lnTo>
                      <a:pt x="111" y="707"/>
                    </a:lnTo>
                    <a:lnTo>
                      <a:pt x="111" y="676"/>
                    </a:lnTo>
                    <a:lnTo>
                      <a:pt x="111" y="647"/>
                    </a:lnTo>
                    <a:lnTo>
                      <a:pt x="101" y="643"/>
                    </a:lnTo>
                    <a:lnTo>
                      <a:pt x="85" y="643"/>
                    </a:lnTo>
                    <a:lnTo>
                      <a:pt x="75" y="643"/>
                    </a:lnTo>
                    <a:lnTo>
                      <a:pt x="66" y="643"/>
                    </a:lnTo>
                    <a:lnTo>
                      <a:pt x="59" y="647"/>
                    </a:lnTo>
                    <a:lnTo>
                      <a:pt x="54" y="647"/>
                    </a:lnTo>
                    <a:lnTo>
                      <a:pt x="52" y="647"/>
                    </a:lnTo>
                    <a:lnTo>
                      <a:pt x="49" y="643"/>
                    </a:lnTo>
                    <a:lnTo>
                      <a:pt x="42" y="640"/>
                    </a:lnTo>
                    <a:lnTo>
                      <a:pt x="33" y="631"/>
                    </a:lnTo>
                    <a:lnTo>
                      <a:pt x="33" y="607"/>
                    </a:lnTo>
                    <a:lnTo>
                      <a:pt x="33" y="584"/>
                    </a:lnTo>
                    <a:lnTo>
                      <a:pt x="33" y="562"/>
                    </a:lnTo>
                    <a:lnTo>
                      <a:pt x="33" y="539"/>
                    </a:lnTo>
                    <a:lnTo>
                      <a:pt x="33" y="515"/>
                    </a:lnTo>
                    <a:lnTo>
                      <a:pt x="33" y="491"/>
                    </a:lnTo>
                    <a:lnTo>
                      <a:pt x="33" y="470"/>
                    </a:lnTo>
                    <a:lnTo>
                      <a:pt x="33" y="446"/>
                    </a:lnTo>
                    <a:lnTo>
                      <a:pt x="33" y="423"/>
                    </a:lnTo>
                    <a:lnTo>
                      <a:pt x="33" y="402"/>
                    </a:lnTo>
                    <a:lnTo>
                      <a:pt x="33" y="378"/>
                    </a:lnTo>
                    <a:lnTo>
                      <a:pt x="33" y="354"/>
                    </a:lnTo>
                    <a:lnTo>
                      <a:pt x="33" y="333"/>
                    </a:lnTo>
                    <a:lnTo>
                      <a:pt x="35" y="309"/>
                    </a:lnTo>
                    <a:lnTo>
                      <a:pt x="35" y="286"/>
                    </a:lnTo>
                    <a:lnTo>
                      <a:pt x="35" y="264"/>
                    </a:lnTo>
                    <a:lnTo>
                      <a:pt x="30" y="234"/>
                    </a:lnTo>
                    <a:lnTo>
                      <a:pt x="26" y="205"/>
                    </a:lnTo>
                    <a:lnTo>
                      <a:pt x="21" y="177"/>
                    </a:lnTo>
                    <a:lnTo>
                      <a:pt x="16" y="146"/>
                    </a:lnTo>
                    <a:lnTo>
                      <a:pt x="11" y="118"/>
                    </a:lnTo>
                    <a:lnTo>
                      <a:pt x="9" y="87"/>
                    </a:lnTo>
                    <a:lnTo>
                      <a:pt x="4" y="59"/>
                    </a:lnTo>
                    <a:lnTo>
                      <a:pt x="0" y="30"/>
                    </a:lnTo>
                    <a:lnTo>
                      <a:pt x="47" y="28"/>
                    </a:lnTo>
                    <a:lnTo>
                      <a:pt x="94" y="28"/>
                    </a:lnTo>
                    <a:lnTo>
                      <a:pt x="141" y="28"/>
                    </a:lnTo>
                    <a:lnTo>
                      <a:pt x="189" y="26"/>
                    </a:lnTo>
                    <a:lnTo>
                      <a:pt x="236" y="23"/>
                    </a:lnTo>
                    <a:lnTo>
                      <a:pt x="283" y="23"/>
                    </a:lnTo>
                    <a:lnTo>
                      <a:pt x="331" y="21"/>
                    </a:lnTo>
                    <a:lnTo>
                      <a:pt x="378" y="18"/>
                    </a:lnTo>
                    <a:lnTo>
                      <a:pt x="425" y="18"/>
                    </a:lnTo>
                    <a:lnTo>
                      <a:pt x="472" y="16"/>
                    </a:lnTo>
                    <a:lnTo>
                      <a:pt x="520" y="14"/>
                    </a:lnTo>
                    <a:lnTo>
                      <a:pt x="567" y="11"/>
                    </a:lnTo>
                    <a:lnTo>
                      <a:pt x="614" y="9"/>
                    </a:lnTo>
                    <a:lnTo>
                      <a:pt x="662" y="7"/>
                    </a:lnTo>
                    <a:lnTo>
                      <a:pt x="709" y="2"/>
                    </a:lnTo>
                    <a:lnTo>
                      <a:pt x="756" y="0"/>
                    </a:lnTo>
                    <a:lnTo>
                      <a:pt x="763" y="16"/>
                    </a:lnTo>
                    <a:lnTo>
                      <a:pt x="773" y="26"/>
                    </a:lnTo>
                    <a:lnTo>
                      <a:pt x="775" y="33"/>
                    </a:lnTo>
                    <a:lnTo>
                      <a:pt x="773" y="42"/>
                    </a:lnTo>
                    <a:lnTo>
                      <a:pt x="761" y="59"/>
                    </a:lnTo>
                    <a:lnTo>
                      <a:pt x="751" y="68"/>
                    </a:lnTo>
                    <a:lnTo>
                      <a:pt x="744" y="78"/>
                    </a:lnTo>
                    <a:lnTo>
                      <a:pt x="737" y="85"/>
                    </a:lnTo>
                    <a:lnTo>
                      <a:pt x="725" y="108"/>
                    </a:lnTo>
                    <a:lnTo>
                      <a:pt x="754" y="106"/>
                    </a:lnTo>
                    <a:lnTo>
                      <a:pt x="782" y="104"/>
                    </a:lnTo>
                    <a:lnTo>
                      <a:pt x="808" y="101"/>
                    </a:lnTo>
                    <a:lnTo>
                      <a:pt x="841" y="9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988" name="Freeform 45">
                <a:extLst>
                  <a:ext uri="{FF2B5EF4-FFF2-40B4-BE49-F238E27FC236}">
                    <a16:creationId xmlns:a16="http://schemas.microsoft.com/office/drawing/2014/main" id="{43439F56-B6A8-2D5E-7A96-66E5A7015E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2" y="1438"/>
                <a:ext cx="1155" cy="1328"/>
              </a:xfrm>
              <a:custGeom>
                <a:avLst/>
                <a:gdLst>
                  <a:gd name="T0" fmla="*/ 1144 w 1155"/>
                  <a:gd name="T1" fmla="*/ 220 h 1328"/>
                  <a:gd name="T2" fmla="*/ 1122 w 1155"/>
                  <a:gd name="T3" fmla="*/ 366 h 1328"/>
                  <a:gd name="T4" fmla="*/ 1101 w 1155"/>
                  <a:gd name="T5" fmla="*/ 513 h 1328"/>
                  <a:gd name="T6" fmla="*/ 1080 w 1155"/>
                  <a:gd name="T7" fmla="*/ 662 h 1328"/>
                  <a:gd name="T8" fmla="*/ 1058 w 1155"/>
                  <a:gd name="T9" fmla="*/ 811 h 1328"/>
                  <a:gd name="T10" fmla="*/ 1037 w 1155"/>
                  <a:gd name="T11" fmla="*/ 957 h 1328"/>
                  <a:gd name="T12" fmla="*/ 1016 w 1155"/>
                  <a:gd name="T13" fmla="*/ 1106 h 1328"/>
                  <a:gd name="T14" fmla="*/ 995 w 1155"/>
                  <a:gd name="T15" fmla="*/ 1255 h 1328"/>
                  <a:gd name="T16" fmla="*/ 943 w 1155"/>
                  <a:gd name="T17" fmla="*/ 1324 h 1328"/>
                  <a:gd name="T18" fmla="*/ 815 w 1155"/>
                  <a:gd name="T19" fmla="*/ 1305 h 1328"/>
                  <a:gd name="T20" fmla="*/ 687 w 1155"/>
                  <a:gd name="T21" fmla="*/ 1284 h 1328"/>
                  <a:gd name="T22" fmla="*/ 546 w 1155"/>
                  <a:gd name="T23" fmla="*/ 1229 h 1328"/>
                  <a:gd name="T24" fmla="*/ 387 w 1155"/>
                  <a:gd name="T25" fmla="*/ 1137 h 1328"/>
                  <a:gd name="T26" fmla="*/ 231 w 1155"/>
                  <a:gd name="T27" fmla="*/ 1042 h 1328"/>
                  <a:gd name="T28" fmla="*/ 75 w 1155"/>
                  <a:gd name="T29" fmla="*/ 948 h 1328"/>
                  <a:gd name="T30" fmla="*/ 9 w 1155"/>
                  <a:gd name="T31" fmla="*/ 891 h 1328"/>
                  <a:gd name="T32" fmla="*/ 28 w 1155"/>
                  <a:gd name="T33" fmla="*/ 860 h 1328"/>
                  <a:gd name="T34" fmla="*/ 54 w 1155"/>
                  <a:gd name="T35" fmla="*/ 863 h 1328"/>
                  <a:gd name="T36" fmla="*/ 75 w 1155"/>
                  <a:gd name="T37" fmla="*/ 844 h 1328"/>
                  <a:gd name="T38" fmla="*/ 80 w 1155"/>
                  <a:gd name="T39" fmla="*/ 815 h 1328"/>
                  <a:gd name="T40" fmla="*/ 56 w 1155"/>
                  <a:gd name="T41" fmla="*/ 792 h 1328"/>
                  <a:gd name="T42" fmla="*/ 54 w 1155"/>
                  <a:gd name="T43" fmla="*/ 735 h 1328"/>
                  <a:gd name="T44" fmla="*/ 70 w 1155"/>
                  <a:gd name="T45" fmla="*/ 716 h 1328"/>
                  <a:gd name="T46" fmla="*/ 92 w 1155"/>
                  <a:gd name="T47" fmla="*/ 700 h 1328"/>
                  <a:gd name="T48" fmla="*/ 108 w 1155"/>
                  <a:gd name="T49" fmla="*/ 669 h 1328"/>
                  <a:gd name="T50" fmla="*/ 115 w 1155"/>
                  <a:gd name="T51" fmla="*/ 624 h 1328"/>
                  <a:gd name="T52" fmla="*/ 156 w 1155"/>
                  <a:gd name="T53" fmla="*/ 581 h 1328"/>
                  <a:gd name="T54" fmla="*/ 198 w 1155"/>
                  <a:gd name="T55" fmla="*/ 558 h 1328"/>
                  <a:gd name="T56" fmla="*/ 198 w 1155"/>
                  <a:gd name="T57" fmla="*/ 553 h 1328"/>
                  <a:gd name="T58" fmla="*/ 172 w 1155"/>
                  <a:gd name="T59" fmla="*/ 522 h 1328"/>
                  <a:gd name="T60" fmla="*/ 165 w 1155"/>
                  <a:gd name="T61" fmla="*/ 499 h 1328"/>
                  <a:gd name="T62" fmla="*/ 163 w 1155"/>
                  <a:gd name="T63" fmla="*/ 487 h 1328"/>
                  <a:gd name="T64" fmla="*/ 141 w 1155"/>
                  <a:gd name="T65" fmla="*/ 413 h 1328"/>
                  <a:gd name="T66" fmla="*/ 146 w 1155"/>
                  <a:gd name="T67" fmla="*/ 394 h 1328"/>
                  <a:gd name="T68" fmla="*/ 158 w 1155"/>
                  <a:gd name="T69" fmla="*/ 295 h 1328"/>
                  <a:gd name="T70" fmla="*/ 167 w 1155"/>
                  <a:gd name="T71" fmla="*/ 262 h 1328"/>
                  <a:gd name="T72" fmla="*/ 165 w 1155"/>
                  <a:gd name="T73" fmla="*/ 241 h 1328"/>
                  <a:gd name="T74" fmla="*/ 172 w 1155"/>
                  <a:gd name="T75" fmla="*/ 203 h 1328"/>
                  <a:gd name="T76" fmla="*/ 167 w 1155"/>
                  <a:gd name="T77" fmla="*/ 182 h 1328"/>
                  <a:gd name="T78" fmla="*/ 184 w 1155"/>
                  <a:gd name="T79" fmla="*/ 160 h 1328"/>
                  <a:gd name="T80" fmla="*/ 212 w 1155"/>
                  <a:gd name="T81" fmla="*/ 160 h 1328"/>
                  <a:gd name="T82" fmla="*/ 241 w 1155"/>
                  <a:gd name="T83" fmla="*/ 175 h 1328"/>
                  <a:gd name="T84" fmla="*/ 252 w 1155"/>
                  <a:gd name="T85" fmla="*/ 196 h 1328"/>
                  <a:gd name="T86" fmla="*/ 274 w 1155"/>
                  <a:gd name="T87" fmla="*/ 189 h 1328"/>
                  <a:gd name="T88" fmla="*/ 290 w 1155"/>
                  <a:gd name="T89" fmla="*/ 170 h 1328"/>
                  <a:gd name="T90" fmla="*/ 326 w 1155"/>
                  <a:gd name="T91" fmla="*/ 0 h 1328"/>
                  <a:gd name="T92" fmla="*/ 427 w 1155"/>
                  <a:gd name="T93" fmla="*/ 21 h 1328"/>
                  <a:gd name="T94" fmla="*/ 531 w 1155"/>
                  <a:gd name="T95" fmla="*/ 42 h 1328"/>
                  <a:gd name="T96" fmla="*/ 635 w 1155"/>
                  <a:gd name="T97" fmla="*/ 61 h 1328"/>
                  <a:gd name="T98" fmla="*/ 739 w 1155"/>
                  <a:gd name="T99" fmla="*/ 78 h 1328"/>
                  <a:gd name="T100" fmla="*/ 843 w 1155"/>
                  <a:gd name="T101" fmla="*/ 97 h 1328"/>
                  <a:gd name="T102" fmla="*/ 947 w 1155"/>
                  <a:gd name="T103" fmla="*/ 113 h 1328"/>
                  <a:gd name="T104" fmla="*/ 1051 w 1155"/>
                  <a:gd name="T105" fmla="*/ 130 h 1328"/>
                  <a:gd name="T106" fmla="*/ 1155 w 1155"/>
                  <a:gd name="T107" fmla="*/ 144 h 1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55" h="1328">
                    <a:moveTo>
                      <a:pt x="1155" y="144"/>
                    </a:moveTo>
                    <a:lnTo>
                      <a:pt x="1144" y="220"/>
                    </a:lnTo>
                    <a:lnTo>
                      <a:pt x="1134" y="293"/>
                    </a:lnTo>
                    <a:lnTo>
                      <a:pt x="1122" y="366"/>
                    </a:lnTo>
                    <a:lnTo>
                      <a:pt x="1110" y="439"/>
                    </a:lnTo>
                    <a:lnTo>
                      <a:pt x="1101" y="513"/>
                    </a:lnTo>
                    <a:lnTo>
                      <a:pt x="1089" y="588"/>
                    </a:lnTo>
                    <a:lnTo>
                      <a:pt x="1080" y="662"/>
                    </a:lnTo>
                    <a:lnTo>
                      <a:pt x="1068" y="735"/>
                    </a:lnTo>
                    <a:lnTo>
                      <a:pt x="1058" y="811"/>
                    </a:lnTo>
                    <a:lnTo>
                      <a:pt x="1047" y="884"/>
                    </a:lnTo>
                    <a:lnTo>
                      <a:pt x="1037" y="957"/>
                    </a:lnTo>
                    <a:lnTo>
                      <a:pt x="1025" y="1031"/>
                    </a:lnTo>
                    <a:lnTo>
                      <a:pt x="1016" y="1106"/>
                    </a:lnTo>
                    <a:lnTo>
                      <a:pt x="1004" y="1180"/>
                    </a:lnTo>
                    <a:lnTo>
                      <a:pt x="995" y="1255"/>
                    </a:lnTo>
                    <a:lnTo>
                      <a:pt x="983" y="1328"/>
                    </a:lnTo>
                    <a:lnTo>
                      <a:pt x="943" y="1324"/>
                    </a:lnTo>
                    <a:lnTo>
                      <a:pt x="879" y="1314"/>
                    </a:lnTo>
                    <a:lnTo>
                      <a:pt x="815" y="1305"/>
                    </a:lnTo>
                    <a:lnTo>
                      <a:pt x="751" y="1293"/>
                    </a:lnTo>
                    <a:lnTo>
                      <a:pt x="687" y="1284"/>
                    </a:lnTo>
                    <a:lnTo>
                      <a:pt x="626" y="1274"/>
                    </a:lnTo>
                    <a:lnTo>
                      <a:pt x="546" y="1229"/>
                    </a:lnTo>
                    <a:lnTo>
                      <a:pt x="465" y="1182"/>
                    </a:lnTo>
                    <a:lnTo>
                      <a:pt x="387" y="1137"/>
                    </a:lnTo>
                    <a:lnTo>
                      <a:pt x="309" y="1090"/>
                    </a:lnTo>
                    <a:lnTo>
                      <a:pt x="231" y="1042"/>
                    </a:lnTo>
                    <a:lnTo>
                      <a:pt x="153" y="995"/>
                    </a:lnTo>
                    <a:lnTo>
                      <a:pt x="75" y="948"/>
                    </a:lnTo>
                    <a:lnTo>
                      <a:pt x="0" y="900"/>
                    </a:lnTo>
                    <a:lnTo>
                      <a:pt x="9" y="891"/>
                    </a:lnTo>
                    <a:lnTo>
                      <a:pt x="28" y="863"/>
                    </a:lnTo>
                    <a:lnTo>
                      <a:pt x="28" y="860"/>
                    </a:lnTo>
                    <a:lnTo>
                      <a:pt x="28" y="860"/>
                    </a:lnTo>
                    <a:lnTo>
                      <a:pt x="54" y="863"/>
                    </a:lnTo>
                    <a:lnTo>
                      <a:pt x="66" y="858"/>
                    </a:lnTo>
                    <a:lnTo>
                      <a:pt x="75" y="844"/>
                    </a:lnTo>
                    <a:lnTo>
                      <a:pt x="80" y="830"/>
                    </a:lnTo>
                    <a:lnTo>
                      <a:pt x="80" y="815"/>
                    </a:lnTo>
                    <a:lnTo>
                      <a:pt x="70" y="801"/>
                    </a:lnTo>
                    <a:lnTo>
                      <a:pt x="56" y="792"/>
                    </a:lnTo>
                    <a:lnTo>
                      <a:pt x="52" y="768"/>
                    </a:lnTo>
                    <a:lnTo>
                      <a:pt x="54" y="735"/>
                    </a:lnTo>
                    <a:lnTo>
                      <a:pt x="61" y="718"/>
                    </a:lnTo>
                    <a:lnTo>
                      <a:pt x="70" y="716"/>
                    </a:lnTo>
                    <a:lnTo>
                      <a:pt x="80" y="711"/>
                    </a:lnTo>
                    <a:lnTo>
                      <a:pt x="92" y="700"/>
                    </a:lnTo>
                    <a:lnTo>
                      <a:pt x="101" y="685"/>
                    </a:lnTo>
                    <a:lnTo>
                      <a:pt x="108" y="669"/>
                    </a:lnTo>
                    <a:lnTo>
                      <a:pt x="113" y="650"/>
                    </a:lnTo>
                    <a:lnTo>
                      <a:pt x="115" y="624"/>
                    </a:lnTo>
                    <a:lnTo>
                      <a:pt x="137" y="598"/>
                    </a:lnTo>
                    <a:lnTo>
                      <a:pt x="156" y="581"/>
                    </a:lnTo>
                    <a:lnTo>
                      <a:pt x="189" y="565"/>
                    </a:lnTo>
                    <a:lnTo>
                      <a:pt x="198" y="558"/>
                    </a:lnTo>
                    <a:lnTo>
                      <a:pt x="198" y="553"/>
                    </a:lnTo>
                    <a:lnTo>
                      <a:pt x="198" y="553"/>
                    </a:lnTo>
                    <a:lnTo>
                      <a:pt x="196" y="543"/>
                    </a:lnTo>
                    <a:lnTo>
                      <a:pt x="172" y="522"/>
                    </a:lnTo>
                    <a:lnTo>
                      <a:pt x="165" y="508"/>
                    </a:lnTo>
                    <a:lnTo>
                      <a:pt x="165" y="499"/>
                    </a:lnTo>
                    <a:lnTo>
                      <a:pt x="165" y="496"/>
                    </a:lnTo>
                    <a:lnTo>
                      <a:pt x="163" y="487"/>
                    </a:lnTo>
                    <a:lnTo>
                      <a:pt x="146" y="439"/>
                    </a:lnTo>
                    <a:lnTo>
                      <a:pt x="141" y="413"/>
                    </a:lnTo>
                    <a:lnTo>
                      <a:pt x="144" y="397"/>
                    </a:lnTo>
                    <a:lnTo>
                      <a:pt x="146" y="394"/>
                    </a:lnTo>
                    <a:lnTo>
                      <a:pt x="163" y="321"/>
                    </a:lnTo>
                    <a:lnTo>
                      <a:pt x="158" y="295"/>
                    </a:lnTo>
                    <a:lnTo>
                      <a:pt x="160" y="281"/>
                    </a:lnTo>
                    <a:lnTo>
                      <a:pt x="167" y="262"/>
                    </a:lnTo>
                    <a:lnTo>
                      <a:pt x="167" y="253"/>
                    </a:lnTo>
                    <a:lnTo>
                      <a:pt x="165" y="241"/>
                    </a:lnTo>
                    <a:lnTo>
                      <a:pt x="167" y="224"/>
                    </a:lnTo>
                    <a:lnTo>
                      <a:pt x="172" y="203"/>
                    </a:lnTo>
                    <a:lnTo>
                      <a:pt x="167" y="186"/>
                    </a:lnTo>
                    <a:lnTo>
                      <a:pt x="167" y="182"/>
                    </a:lnTo>
                    <a:lnTo>
                      <a:pt x="174" y="168"/>
                    </a:lnTo>
                    <a:lnTo>
                      <a:pt x="184" y="160"/>
                    </a:lnTo>
                    <a:lnTo>
                      <a:pt x="198" y="158"/>
                    </a:lnTo>
                    <a:lnTo>
                      <a:pt x="212" y="160"/>
                    </a:lnTo>
                    <a:lnTo>
                      <a:pt x="229" y="165"/>
                    </a:lnTo>
                    <a:lnTo>
                      <a:pt x="241" y="175"/>
                    </a:lnTo>
                    <a:lnTo>
                      <a:pt x="245" y="186"/>
                    </a:lnTo>
                    <a:lnTo>
                      <a:pt x="252" y="196"/>
                    </a:lnTo>
                    <a:lnTo>
                      <a:pt x="260" y="196"/>
                    </a:lnTo>
                    <a:lnTo>
                      <a:pt x="274" y="189"/>
                    </a:lnTo>
                    <a:lnTo>
                      <a:pt x="288" y="170"/>
                    </a:lnTo>
                    <a:lnTo>
                      <a:pt x="290" y="170"/>
                    </a:lnTo>
                    <a:lnTo>
                      <a:pt x="309" y="82"/>
                    </a:lnTo>
                    <a:lnTo>
                      <a:pt x="326" y="0"/>
                    </a:lnTo>
                    <a:lnTo>
                      <a:pt x="378" y="11"/>
                    </a:lnTo>
                    <a:lnTo>
                      <a:pt x="427" y="21"/>
                    </a:lnTo>
                    <a:lnTo>
                      <a:pt x="479" y="30"/>
                    </a:lnTo>
                    <a:lnTo>
                      <a:pt x="531" y="42"/>
                    </a:lnTo>
                    <a:lnTo>
                      <a:pt x="583" y="52"/>
                    </a:lnTo>
                    <a:lnTo>
                      <a:pt x="635" y="61"/>
                    </a:lnTo>
                    <a:lnTo>
                      <a:pt x="687" y="71"/>
                    </a:lnTo>
                    <a:lnTo>
                      <a:pt x="739" y="78"/>
                    </a:lnTo>
                    <a:lnTo>
                      <a:pt x="791" y="87"/>
                    </a:lnTo>
                    <a:lnTo>
                      <a:pt x="843" y="97"/>
                    </a:lnTo>
                    <a:lnTo>
                      <a:pt x="895" y="104"/>
                    </a:lnTo>
                    <a:lnTo>
                      <a:pt x="947" y="113"/>
                    </a:lnTo>
                    <a:lnTo>
                      <a:pt x="999" y="120"/>
                    </a:lnTo>
                    <a:lnTo>
                      <a:pt x="1051" y="130"/>
                    </a:lnTo>
                    <a:lnTo>
                      <a:pt x="1103" y="137"/>
                    </a:lnTo>
                    <a:lnTo>
                      <a:pt x="1155" y="1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989" name="Freeform 46">
                <a:extLst>
                  <a:ext uri="{FF2B5EF4-FFF2-40B4-BE49-F238E27FC236}">
                    <a16:creationId xmlns:a16="http://schemas.microsoft.com/office/drawing/2014/main" id="{BA08A9DD-F0AE-6432-1F05-EBD7BC9434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0" y="7"/>
                <a:ext cx="1340" cy="2294"/>
              </a:xfrm>
              <a:custGeom>
                <a:avLst/>
                <a:gdLst>
                  <a:gd name="T0" fmla="*/ 723 w 1340"/>
                  <a:gd name="T1" fmla="*/ 341 h 2294"/>
                  <a:gd name="T2" fmla="*/ 671 w 1340"/>
                  <a:gd name="T3" fmla="*/ 530 h 2294"/>
                  <a:gd name="T4" fmla="*/ 619 w 1340"/>
                  <a:gd name="T5" fmla="*/ 721 h 2294"/>
                  <a:gd name="T6" fmla="*/ 683 w 1340"/>
                  <a:gd name="T7" fmla="*/ 925 h 2294"/>
                  <a:gd name="T8" fmla="*/ 829 w 1340"/>
                  <a:gd name="T9" fmla="*/ 1140 h 2294"/>
                  <a:gd name="T10" fmla="*/ 945 w 1340"/>
                  <a:gd name="T11" fmla="*/ 1317 h 2294"/>
                  <a:gd name="T12" fmla="*/ 1080 w 1340"/>
                  <a:gd name="T13" fmla="*/ 1523 h 2294"/>
                  <a:gd name="T14" fmla="*/ 1250 w 1340"/>
                  <a:gd name="T15" fmla="*/ 1773 h 2294"/>
                  <a:gd name="T16" fmla="*/ 1307 w 1340"/>
                  <a:gd name="T17" fmla="*/ 1927 h 2294"/>
                  <a:gd name="T18" fmla="*/ 1340 w 1340"/>
                  <a:gd name="T19" fmla="*/ 1984 h 2294"/>
                  <a:gd name="T20" fmla="*/ 1279 w 1340"/>
                  <a:gd name="T21" fmla="*/ 2029 h 2294"/>
                  <a:gd name="T22" fmla="*/ 1234 w 1340"/>
                  <a:gd name="T23" fmla="*/ 2131 h 2294"/>
                  <a:gd name="T24" fmla="*/ 1191 w 1340"/>
                  <a:gd name="T25" fmla="*/ 2199 h 2294"/>
                  <a:gd name="T26" fmla="*/ 1217 w 1340"/>
                  <a:gd name="T27" fmla="*/ 2275 h 2294"/>
                  <a:gd name="T28" fmla="*/ 1170 w 1340"/>
                  <a:gd name="T29" fmla="*/ 2294 h 2294"/>
                  <a:gd name="T30" fmla="*/ 945 w 1340"/>
                  <a:gd name="T31" fmla="*/ 2265 h 2294"/>
                  <a:gd name="T32" fmla="*/ 742 w 1340"/>
                  <a:gd name="T33" fmla="*/ 2237 h 2294"/>
                  <a:gd name="T34" fmla="*/ 737 w 1340"/>
                  <a:gd name="T35" fmla="*/ 2161 h 2294"/>
                  <a:gd name="T36" fmla="*/ 652 w 1340"/>
                  <a:gd name="T37" fmla="*/ 1979 h 2294"/>
                  <a:gd name="T38" fmla="*/ 581 w 1340"/>
                  <a:gd name="T39" fmla="*/ 1934 h 2294"/>
                  <a:gd name="T40" fmla="*/ 475 w 1340"/>
                  <a:gd name="T41" fmla="*/ 1828 h 2294"/>
                  <a:gd name="T42" fmla="*/ 395 w 1340"/>
                  <a:gd name="T43" fmla="*/ 1745 h 2294"/>
                  <a:gd name="T44" fmla="*/ 269 w 1340"/>
                  <a:gd name="T45" fmla="*/ 1695 h 2294"/>
                  <a:gd name="T46" fmla="*/ 265 w 1340"/>
                  <a:gd name="T47" fmla="*/ 1620 h 2294"/>
                  <a:gd name="T48" fmla="*/ 248 w 1340"/>
                  <a:gd name="T49" fmla="*/ 1528 h 2294"/>
                  <a:gd name="T50" fmla="*/ 224 w 1340"/>
                  <a:gd name="T51" fmla="*/ 1433 h 2294"/>
                  <a:gd name="T52" fmla="*/ 170 w 1340"/>
                  <a:gd name="T53" fmla="*/ 1298 h 2294"/>
                  <a:gd name="T54" fmla="*/ 184 w 1340"/>
                  <a:gd name="T55" fmla="*/ 1175 h 2294"/>
                  <a:gd name="T56" fmla="*/ 113 w 1340"/>
                  <a:gd name="T57" fmla="*/ 1050 h 2294"/>
                  <a:gd name="T58" fmla="*/ 142 w 1340"/>
                  <a:gd name="T59" fmla="*/ 929 h 2294"/>
                  <a:gd name="T60" fmla="*/ 161 w 1340"/>
                  <a:gd name="T61" fmla="*/ 986 h 2294"/>
                  <a:gd name="T62" fmla="*/ 177 w 1340"/>
                  <a:gd name="T63" fmla="*/ 996 h 2294"/>
                  <a:gd name="T64" fmla="*/ 161 w 1340"/>
                  <a:gd name="T65" fmla="*/ 908 h 2294"/>
                  <a:gd name="T66" fmla="*/ 272 w 1340"/>
                  <a:gd name="T67" fmla="*/ 915 h 2294"/>
                  <a:gd name="T68" fmla="*/ 279 w 1340"/>
                  <a:gd name="T69" fmla="*/ 908 h 2294"/>
                  <a:gd name="T70" fmla="*/ 227 w 1340"/>
                  <a:gd name="T71" fmla="*/ 882 h 2294"/>
                  <a:gd name="T72" fmla="*/ 153 w 1340"/>
                  <a:gd name="T73" fmla="*/ 866 h 2294"/>
                  <a:gd name="T74" fmla="*/ 109 w 1340"/>
                  <a:gd name="T75" fmla="*/ 896 h 2294"/>
                  <a:gd name="T76" fmla="*/ 66 w 1340"/>
                  <a:gd name="T77" fmla="*/ 858 h 2294"/>
                  <a:gd name="T78" fmla="*/ 85 w 1340"/>
                  <a:gd name="T79" fmla="*/ 806 h 2294"/>
                  <a:gd name="T80" fmla="*/ 12 w 1340"/>
                  <a:gd name="T81" fmla="*/ 646 h 2294"/>
                  <a:gd name="T82" fmla="*/ 45 w 1340"/>
                  <a:gd name="T83" fmla="*/ 464 h 2294"/>
                  <a:gd name="T84" fmla="*/ 7 w 1340"/>
                  <a:gd name="T85" fmla="*/ 296 h 2294"/>
                  <a:gd name="T86" fmla="*/ 40 w 1340"/>
                  <a:gd name="T87" fmla="*/ 258 h 2294"/>
                  <a:gd name="T88" fmla="*/ 49 w 1340"/>
                  <a:gd name="T89" fmla="*/ 241 h 2294"/>
                  <a:gd name="T90" fmla="*/ 116 w 1340"/>
                  <a:gd name="T91" fmla="*/ 116 h 2294"/>
                  <a:gd name="T92" fmla="*/ 127 w 1340"/>
                  <a:gd name="T93" fmla="*/ 2 h 2294"/>
                  <a:gd name="T94" fmla="*/ 286 w 1340"/>
                  <a:gd name="T95" fmla="*/ 50 h 2294"/>
                  <a:gd name="T96" fmla="*/ 484 w 1340"/>
                  <a:gd name="T97" fmla="*/ 109 h 2294"/>
                  <a:gd name="T98" fmla="*/ 683 w 1340"/>
                  <a:gd name="T99" fmla="*/ 166 h 2294"/>
                  <a:gd name="T100" fmla="*/ 399 w 1340"/>
                  <a:gd name="T101" fmla="*/ 1821 h 2294"/>
                  <a:gd name="T102" fmla="*/ 345 w 1340"/>
                  <a:gd name="T103" fmla="*/ 1811 h 2294"/>
                  <a:gd name="T104" fmla="*/ 250 w 1340"/>
                  <a:gd name="T105" fmla="*/ 1785 h 2294"/>
                  <a:gd name="T106" fmla="*/ 312 w 1340"/>
                  <a:gd name="T107" fmla="*/ 1825 h 2294"/>
                  <a:gd name="T108" fmla="*/ 324 w 1340"/>
                  <a:gd name="T109" fmla="*/ 1816 h 2294"/>
                  <a:gd name="T110" fmla="*/ 567 w 1340"/>
                  <a:gd name="T111" fmla="*/ 2022 h 2294"/>
                  <a:gd name="T112" fmla="*/ 539 w 1340"/>
                  <a:gd name="T113" fmla="*/ 1991 h 2294"/>
                  <a:gd name="T114" fmla="*/ 574 w 1340"/>
                  <a:gd name="T115" fmla="*/ 2010 h 2294"/>
                  <a:gd name="T116" fmla="*/ 366 w 1340"/>
                  <a:gd name="T117" fmla="*/ 1979 h 2294"/>
                  <a:gd name="T118" fmla="*/ 534 w 1340"/>
                  <a:gd name="T119" fmla="*/ 2123 h 2294"/>
                  <a:gd name="T120" fmla="*/ 525 w 1340"/>
                  <a:gd name="T121" fmla="*/ 2090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40" h="2294">
                    <a:moveTo>
                      <a:pt x="763" y="187"/>
                    </a:moveTo>
                    <a:lnTo>
                      <a:pt x="754" y="225"/>
                    </a:lnTo>
                    <a:lnTo>
                      <a:pt x="742" y="263"/>
                    </a:lnTo>
                    <a:lnTo>
                      <a:pt x="733" y="300"/>
                    </a:lnTo>
                    <a:lnTo>
                      <a:pt x="723" y="341"/>
                    </a:lnTo>
                    <a:lnTo>
                      <a:pt x="711" y="378"/>
                    </a:lnTo>
                    <a:lnTo>
                      <a:pt x="702" y="416"/>
                    </a:lnTo>
                    <a:lnTo>
                      <a:pt x="690" y="454"/>
                    </a:lnTo>
                    <a:lnTo>
                      <a:pt x="681" y="492"/>
                    </a:lnTo>
                    <a:lnTo>
                      <a:pt x="671" y="530"/>
                    </a:lnTo>
                    <a:lnTo>
                      <a:pt x="659" y="568"/>
                    </a:lnTo>
                    <a:lnTo>
                      <a:pt x="650" y="605"/>
                    </a:lnTo>
                    <a:lnTo>
                      <a:pt x="640" y="643"/>
                    </a:lnTo>
                    <a:lnTo>
                      <a:pt x="629" y="681"/>
                    </a:lnTo>
                    <a:lnTo>
                      <a:pt x="619" y="721"/>
                    </a:lnTo>
                    <a:lnTo>
                      <a:pt x="610" y="759"/>
                    </a:lnTo>
                    <a:lnTo>
                      <a:pt x="598" y="797"/>
                    </a:lnTo>
                    <a:lnTo>
                      <a:pt x="626" y="840"/>
                    </a:lnTo>
                    <a:lnTo>
                      <a:pt x="655" y="882"/>
                    </a:lnTo>
                    <a:lnTo>
                      <a:pt x="683" y="925"/>
                    </a:lnTo>
                    <a:lnTo>
                      <a:pt x="711" y="970"/>
                    </a:lnTo>
                    <a:lnTo>
                      <a:pt x="742" y="1012"/>
                    </a:lnTo>
                    <a:lnTo>
                      <a:pt x="770" y="1055"/>
                    </a:lnTo>
                    <a:lnTo>
                      <a:pt x="801" y="1097"/>
                    </a:lnTo>
                    <a:lnTo>
                      <a:pt x="829" y="1140"/>
                    </a:lnTo>
                    <a:lnTo>
                      <a:pt x="853" y="1175"/>
                    </a:lnTo>
                    <a:lnTo>
                      <a:pt x="874" y="1211"/>
                    </a:lnTo>
                    <a:lnTo>
                      <a:pt x="898" y="1246"/>
                    </a:lnTo>
                    <a:lnTo>
                      <a:pt x="922" y="1282"/>
                    </a:lnTo>
                    <a:lnTo>
                      <a:pt x="945" y="1317"/>
                    </a:lnTo>
                    <a:lnTo>
                      <a:pt x="969" y="1353"/>
                    </a:lnTo>
                    <a:lnTo>
                      <a:pt x="993" y="1388"/>
                    </a:lnTo>
                    <a:lnTo>
                      <a:pt x="1016" y="1424"/>
                    </a:lnTo>
                    <a:lnTo>
                      <a:pt x="1047" y="1473"/>
                    </a:lnTo>
                    <a:lnTo>
                      <a:pt x="1080" y="1523"/>
                    </a:lnTo>
                    <a:lnTo>
                      <a:pt x="1113" y="1575"/>
                    </a:lnTo>
                    <a:lnTo>
                      <a:pt x="1149" y="1625"/>
                    </a:lnTo>
                    <a:lnTo>
                      <a:pt x="1182" y="1674"/>
                    </a:lnTo>
                    <a:lnTo>
                      <a:pt x="1215" y="1724"/>
                    </a:lnTo>
                    <a:lnTo>
                      <a:pt x="1250" y="1773"/>
                    </a:lnTo>
                    <a:lnTo>
                      <a:pt x="1286" y="1828"/>
                    </a:lnTo>
                    <a:lnTo>
                      <a:pt x="1283" y="1844"/>
                    </a:lnTo>
                    <a:lnTo>
                      <a:pt x="1286" y="1870"/>
                    </a:lnTo>
                    <a:lnTo>
                      <a:pt x="1305" y="1918"/>
                    </a:lnTo>
                    <a:lnTo>
                      <a:pt x="1307" y="1927"/>
                    </a:lnTo>
                    <a:lnTo>
                      <a:pt x="1307" y="1930"/>
                    </a:lnTo>
                    <a:lnTo>
                      <a:pt x="1305" y="1939"/>
                    </a:lnTo>
                    <a:lnTo>
                      <a:pt x="1314" y="1953"/>
                    </a:lnTo>
                    <a:lnTo>
                      <a:pt x="1335" y="1974"/>
                    </a:lnTo>
                    <a:lnTo>
                      <a:pt x="1340" y="1984"/>
                    </a:lnTo>
                    <a:lnTo>
                      <a:pt x="1340" y="1984"/>
                    </a:lnTo>
                    <a:lnTo>
                      <a:pt x="1340" y="1989"/>
                    </a:lnTo>
                    <a:lnTo>
                      <a:pt x="1331" y="1996"/>
                    </a:lnTo>
                    <a:lnTo>
                      <a:pt x="1298" y="2012"/>
                    </a:lnTo>
                    <a:lnTo>
                      <a:pt x="1279" y="2029"/>
                    </a:lnTo>
                    <a:lnTo>
                      <a:pt x="1257" y="2055"/>
                    </a:lnTo>
                    <a:lnTo>
                      <a:pt x="1255" y="2081"/>
                    </a:lnTo>
                    <a:lnTo>
                      <a:pt x="1250" y="2100"/>
                    </a:lnTo>
                    <a:lnTo>
                      <a:pt x="1243" y="2116"/>
                    </a:lnTo>
                    <a:lnTo>
                      <a:pt x="1234" y="2131"/>
                    </a:lnTo>
                    <a:lnTo>
                      <a:pt x="1222" y="2142"/>
                    </a:lnTo>
                    <a:lnTo>
                      <a:pt x="1212" y="2147"/>
                    </a:lnTo>
                    <a:lnTo>
                      <a:pt x="1203" y="2149"/>
                    </a:lnTo>
                    <a:lnTo>
                      <a:pt x="1196" y="2166"/>
                    </a:lnTo>
                    <a:lnTo>
                      <a:pt x="1191" y="2199"/>
                    </a:lnTo>
                    <a:lnTo>
                      <a:pt x="1198" y="2223"/>
                    </a:lnTo>
                    <a:lnTo>
                      <a:pt x="1212" y="2232"/>
                    </a:lnTo>
                    <a:lnTo>
                      <a:pt x="1222" y="2246"/>
                    </a:lnTo>
                    <a:lnTo>
                      <a:pt x="1222" y="2261"/>
                    </a:lnTo>
                    <a:lnTo>
                      <a:pt x="1217" y="2275"/>
                    </a:lnTo>
                    <a:lnTo>
                      <a:pt x="1208" y="2289"/>
                    </a:lnTo>
                    <a:lnTo>
                      <a:pt x="1196" y="2294"/>
                    </a:lnTo>
                    <a:lnTo>
                      <a:pt x="1170" y="2291"/>
                    </a:lnTo>
                    <a:lnTo>
                      <a:pt x="1170" y="2291"/>
                    </a:lnTo>
                    <a:lnTo>
                      <a:pt x="1170" y="2294"/>
                    </a:lnTo>
                    <a:lnTo>
                      <a:pt x="1149" y="2291"/>
                    </a:lnTo>
                    <a:lnTo>
                      <a:pt x="1099" y="2284"/>
                    </a:lnTo>
                    <a:lnTo>
                      <a:pt x="1047" y="2279"/>
                    </a:lnTo>
                    <a:lnTo>
                      <a:pt x="995" y="2272"/>
                    </a:lnTo>
                    <a:lnTo>
                      <a:pt x="945" y="2265"/>
                    </a:lnTo>
                    <a:lnTo>
                      <a:pt x="893" y="2258"/>
                    </a:lnTo>
                    <a:lnTo>
                      <a:pt x="844" y="2251"/>
                    </a:lnTo>
                    <a:lnTo>
                      <a:pt x="792" y="2244"/>
                    </a:lnTo>
                    <a:lnTo>
                      <a:pt x="742" y="2237"/>
                    </a:lnTo>
                    <a:lnTo>
                      <a:pt x="742" y="2237"/>
                    </a:lnTo>
                    <a:lnTo>
                      <a:pt x="747" y="2213"/>
                    </a:lnTo>
                    <a:lnTo>
                      <a:pt x="740" y="2204"/>
                    </a:lnTo>
                    <a:lnTo>
                      <a:pt x="728" y="2206"/>
                    </a:lnTo>
                    <a:lnTo>
                      <a:pt x="730" y="2175"/>
                    </a:lnTo>
                    <a:lnTo>
                      <a:pt x="737" y="2161"/>
                    </a:lnTo>
                    <a:lnTo>
                      <a:pt x="737" y="2149"/>
                    </a:lnTo>
                    <a:lnTo>
                      <a:pt x="737" y="2114"/>
                    </a:lnTo>
                    <a:lnTo>
                      <a:pt x="721" y="2067"/>
                    </a:lnTo>
                    <a:lnTo>
                      <a:pt x="678" y="2003"/>
                    </a:lnTo>
                    <a:lnTo>
                      <a:pt x="652" y="1979"/>
                    </a:lnTo>
                    <a:lnTo>
                      <a:pt x="636" y="1953"/>
                    </a:lnTo>
                    <a:lnTo>
                      <a:pt x="624" y="1944"/>
                    </a:lnTo>
                    <a:lnTo>
                      <a:pt x="607" y="1939"/>
                    </a:lnTo>
                    <a:lnTo>
                      <a:pt x="600" y="1946"/>
                    </a:lnTo>
                    <a:lnTo>
                      <a:pt x="581" y="1934"/>
                    </a:lnTo>
                    <a:lnTo>
                      <a:pt x="591" y="1913"/>
                    </a:lnTo>
                    <a:lnTo>
                      <a:pt x="579" y="1875"/>
                    </a:lnTo>
                    <a:lnTo>
                      <a:pt x="565" y="1868"/>
                    </a:lnTo>
                    <a:lnTo>
                      <a:pt x="525" y="1859"/>
                    </a:lnTo>
                    <a:lnTo>
                      <a:pt x="475" y="1828"/>
                    </a:lnTo>
                    <a:lnTo>
                      <a:pt x="463" y="1814"/>
                    </a:lnTo>
                    <a:lnTo>
                      <a:pt x="463" y="1792"/>
                    </a:lnTo>
                    <a:lnTo>
                      <a:pt x="442" y="1771"/>
                    </a:lnTo>
                    <a:lnTo>
                      <a:pt x="413" y="1745"/>
                    </a:lnTo>
                    <a:lnTo>
                      <a:pt x="395" y="1745"/>
                    </a:lnTo>
                    <a:lnTo>
                      <a:pt x="371" y="1736"/>
                    </a:lnTo>
                    <a:lnTo>
                      <a:pt x="343" y="1714"/>
                    </a:lnTo>
                    <a:lnTo>
                      <a:pt x="321" y="1707"/>
                    </a:lnTo>
                    <a:lnTo>
                      <a:pt x="283" y="1700"/>
                    </a:lnTo>
                    <a:lnTo>
                      <a:pt x="269" y="1695"/>
                    </a:lnTo>
                    <a:lnTo>
                      <a:pt x="260" y="1677"/>
                    </a:lnTo>
                    <a:lnTo>
                      <a:pt x="248" y="1665"/>
                    </a:lnTo>
                    <a:lnTo>
                      <a:pt x="255" y="1648"/>
                    </a:lnTo>
                    <a:lnTo>
                      <a:pt x="260" y="1632"/>
                    </a:lnTo>
                    <a:lnTo>
                      <a:pt x="265" y="1620"/>
                    </a:lnTo>
                    <a:lnTo>
                      <a:pt x="267" y="1589"/>
                    </a:lnTo>
                    <a:lnTo>
                      <a:pt x="279" y="1565"/>
                    </a:lnTo>
                    <a:lnTo>
                      <a:pt x="276" y="1554"/>
                    </a:lnTo>
                    <a:lnTo>
                      <a:pt x="269" y="1544"/>
                    </a:lnTo>
                    <a:lnTo>
                      <a:pt x="248" y="1528"/>
                    </a:lnTo>
                    <a:lnTo>
                      <a:pt x="248" y="1513"/>
                    </a:lnTo>
                    <a:lnTo>
                      <a:pt x="257" y="1494"/>
                    </a:lnTo>
                    <a:lnTo>
                      <a:pt x="253" y="1483"/>
                    </a:lnTo>
                    <a:lnTo>
                      <a:pt x="236" y="1464"/>
                    </a:lnTo>
                    <a:lnTo>
                      <a:pt x="224" y="1433"/>
                    </a:lnTo>
                    <a:lnTo>
                      <a:pt x="205" y="1412"/>
                    </a:lnTo>
                    <a:lnTo>
                      <a:pt x="201" y="1386"/>
                    </a:lnTo>
                    <a:lnTo>
                      <a:pt x="191" y="1367"/>
                    </a:lnTo>
                    <a:lnTo>
                      <a:pt x="189" y="1353"/>
                    </a:lnTo>
                    <a:lnTo>
                      <a:pt x="170" y="1298"/>
                    </a:lnTo>
                    <a:lnTo>
                      <a:pt x="146" y="1253"/>
                    </a:lnTo>
                    <a:lnTo>
                      <a:pt x="146" y="1230"/>
                    </a:lnTo>
                    <a:lnTo>
                      <a:pt x="153" y="1201"/>
                    </a:lnTo>
                    <a:lnTo>
                      <a:pt x="172" y="1189"/>
                    </a:lnTo>
                    <a:lnTo>
                      <a:pt x="184" y="1175"/>
                    </a:lnTo>
                    <a:lnTo>
                      <a:pt x="187" y="1161"/>
                    </a:lnTo>
                    <a:lnTo>
                      <a:pt x="187" y="1152"/>
                    </a:lnTo>
                    <a:lnTo>
                      <a:pt x="182" y="1130"/>
                    </a:lnTo>
                    <a:lnTo>
                      <a:pt x="137" y="1104"/>
                    </a:lnTo>
                    <a:lnTo>
                      <a:pt x="113" y="1050"/>
                    </a:lnTo>
                    <a:lnTo>
                      <a:pt x="120" y="1017"/>
                    </a:lnTo>
                    <a:lnTo>
                      <a:pt x="116" y="977"/>
                    </a:lnTo>
                    <a:lnTo>
                      <a:pt x="123" y="955"/>
                    </a:lnTo>
                    <a:lnTo>
                      <a:pt x="127" y="929"/>
                    </a:lnTo>
                    <a:lnTo>
                      <a:pt x="142" y="929"/>
                    </a:lnTo>
                    <a:lnTo>
                      <a:pt x="151" y="934"/>
                    </a:lnTo>
                    <a:lnTo>
                      <a:pt x="146" y="944"/>
                    </a:lnTo>
                    <a:lnTo>
                      <a:pt x="144" y="960"/>
                    </a:lnTo>
                    <a:lnTo>
                      <a:pt x="151" y="977"/>
                    </a:lnTo>
                    <a:lnTo>
                      <a:pt x="161" y="986"/>
                    </a:lnTo>
                    <a:lnTo>
                      <a:pt x="168" y="1003"/>
                    </a:lnTo>
                    <a:lnTo>
                      <a:pt x="175" y="1007"/>
                    </a:lnTo>
                    <a:lnTo>
                      <a:pt x="182" y="1010"/>
                    </a:lnTo>
                    <a:lnTo>
                      <a:pt x="179" y="1003"/>
                    </a:lnTo>
                    <a:lnTo>
                      <a:pt x="177" y="996"/>
                    </a:lnTo>
                    <a:lnTo>
                      <a:pt x="177" y="977"/>
                    </a:lnTo>
                    <a:lnTo>
                      <a:pt x="172" y="953"/>
                    </a:lnTo>
                    <a:lnTo>
                      <a:pt x="165" y="936"/>
                    </a:lnTo>
                    <a:lnTo>
                      <a:pt x="165" y="915"/>
                    </a:lnTo>
                    <a:lnTo>
                      <a:pt x="161" y="908"/>
                    </a:lnTo>
                    <a:lnTo>
                      <a:pt x="161" y="899"/>
                    </a:lnTo>
                    <a:lnTo>
                      <a:pt x="175" y="892"/>
                    </a:lnTo>
                    <a:lnTo>
                      <a:pt x="191" y="892"/>
                    </a:lnTo>
                    <a:lnTo>
                      <a:pt x="213" y="894"/>
                    </a:lnTo>
                    <a:lnTo>
                      <a:pt x="272" y="915"/>
                    </a:lnTo>
                    <a:lnTo>
                      <a:pt x="286" y="913"/>
                    </a:lnTo>
                    <a:lnTo>
                      <a:pt x="295" y="918"/>
                    </a:lnTo>
                    <a:lnTo>
                      <a:pt x="302" y="920"/>
                    </a:lnTo>
                    <a:lnTo>
                      <a:pt x="288" y="910"/>
                    </a:lnTo>
                    <a:lnTo>
                      <a:pt x="279" y="908"/>
                    </a:lnTo>
                    <a:lnTo>
                      <a:pt x="269" y="906"/>
                    </a:lnTo>
                    <a:lnTo>
                      <a:pt x="248" y="899"/>
                    </a:lnTo>
                    <a:lnTo>
                      <a:pt x="239" y="894"/>
                    </a:lnTo>
                    <a:lnTo>
                      <a:pt x="231" y="884"/>
                    </a:lnTo>
                    <a:lnTo>
                      <a:pt x="227" y="882"/>
                    </a:lnTo>
                    <a:lnTo>
                      <a:pt x="203" y="889"/>
                    </a:lnTo>
                    <a:lnTo>
                      <a:pt x="196" y="884"/>
                    </a:lnTo>
                    <a:lnTo>
                      <a:pt x="179" y="866"/>
                    </a:lnTo>
                    <a:lnTo>
                      <a:pt x="170" y="861"/>
                    </a:lnTo>
                    <a:lnTo>
                      <a:pt x="153" y="866"/>
                    </a:lnTo>
                    <a:lnTo>
                      <a:pt x="142" y="896"/>
                    </a:lnTo>
                    <a:lnTo>
                      <a:pt x="139" y="920"/>
                    </a:lnTo>
                    <a:lnTo>
                      <a:pt x="130" y="920"/>
                    </a:lnTo>
                    <a:lnTo>
                      <a:pt x="123" y="908"/>
                    </a:lnTo>
                    <a:lnTo>
                      <a:pt x="109" y="896"/>
                    </a:lnTo>
                    <a:lnTo>
                      <a:pt x="99" y="884"/>
                    </a:lnTo>
                    <a:lnTo>
                      <a:pt x="87" y="863"/>
                    </a:lnTo>
                    <a:lnTo>
                      <a:pt x="78" y="854"/>
                    </a:lnTo>
                    <a:lnTo>
                      <a:pt x="64" y="863"/>
                    </a:lnTo>
                    <a:lnTo>
                      <a:pt x="66" y="858"/>
                    </a:lnTo>
                    <a:lnTo>
                      <a:pt x="75" y="844"/>
                    </a:lnTo>
                    <a:lnTo>
                      <a:pt x="83" y="816"/>
                    </a:lnTo>
                    <a:lnTo>
                      <a:pt x="92" y="842"/>
                    </a:lnTo>
                    <a:lnTo>
                      <a:pt x="92" y="825"/>
                    </a:lnTo>
                    <a:lnTo>
                      <a:pt x="85" y="806"/>
                    </a:lnTo>
                    <a:lnTo>
                      <a:pt x="75" y="797"/>
                    </a:lnTo>
                    <a:lnTo>
                      <a:pt x="73" y="766"/>
                    </a:lnTo>
                    <a:lnTo>
                      <a:pt x="52" y="740"/>
                    </a:lnTo>
                    <a:lnTo>
                      <a:pt x="40" y="705"/>
                    </a:lnTo>
                    <a:lnTo>
                      <a:pt x="12" y="646"/>
                    </a:lnTo>
                    <a:lnTo>
                      <a:pt x="21" y="603"/>
                    </a:lnTo>
                    <a:lnTo>
                      <a:pt x="21" y="546"/>
                    </a:lnTo>
                    <a:lnTo>
                      <a:pt x="38" y="520"/>
                    </a:lnTo>
                    <a:lnTo>
                      <a:pt x="42" y="499"/>
                    </a:lnTo>
                    <a:lnTo>
                      <a:pt x="45" y="464"/>
                    </a:lnTo>
                    <a:lnTo>
                      <a:pt x="42" y="445"/>
                    </a:lnTo>
                    <a:lnTo>
                      <a:pt x="23" y="388"/>
                    </a:lnTo>
                    <a:lnTo>
                      <a:pt x="0" y="345"/>
                    </a:lnTo>
                    <a:lnTo>
                      <a:pt x="2" y="319"/>
                    </a:lnTo>
                    <a:lnTo>
                      <a:pt x="7" y="296"/>
                    </a:lnTo>
                    <a:lnTo>
                      <a:pt x="21" y="277"/>
                    </a:lnTo>
                    <a:lnTo>
                      <a:pt x="35" y="255"/>
                    </a:lnTo>
                    <a:lnTo>
                      <a:pt x="42" y="251"/>
                    </a:lnTo>
                    <a:lnTo>
                      <a:pt x="42" y="253"/>
                    </a:lnTo>
                    <a:lnTo>
                      <a:pt x="40" y="258"/>
                    </a:lnTo>
                    <a:lnTo>
                      <a:pt x="45" y="260"/>
                    </a:lnTo>
                    <a:lnTo>
                      <a:pt x="49" y="251"/>
                    </a:lnTo>
                    <a:lnTo>
                      <a:pt x="54" y="248"/>
                    </a:lnTo>
                    <a:lnTo>
                      <a:pt x="49" y="246"/>
                    </a:lnTo>
                    <a:lnTo>
                      <a:pt x="49" y="241"/>
                    </a:lnTo>
                    <a:lnTo>
                      <a:pt x="54" y="237"/>
                    </a:lnTo>
                    <a:lnTo>
                      <a:pt x="75" y="211"/>
                    </a:lnTo>
                    <a:lnTo>
                      <a:pt x="85" y="173"/>
                    </a:lnTo>
                    <a:lnTo>
                      <a:pt x="111" y="130"/>
                    </a:lnTo>
                    <a:lnTo>
                      <a:pt x="116" y="116"/>
                    </a:lnTo>
                    <a:lnTo>
                      <a:pt x="118" y="80"/>
                    </a:lnTo>
                    <a:lnTo>
                      <a:pt x="118" y="59"/>
                    </a:lnTo>
                    <a:lnTo>
                      <a:pt x="111" y="40"/>
                    </a:lnTo>
                    <a:lnTo>
                      <a:pt x="123" y="24"/>
                    </a:lnTo>
                    <a:lnTo>
                      <a:pt x="127" y="2"/>
                    </a:lnTo>
                    <a:lnTo>
                      <a:pt x="127" y="0"/>
                    </a:lnTo>
                    <a:lnTo>
                      <a:pt x="168" y="12"/>
                    </a:lnTo>
                    <a:lnTo>
                      <a:pt x="208" y="24"/>
                    </a:lnTo>
                    <a:lnTo>
                      <a:pt x="246" y="38"/>
                    </a:lnTo>
                    <a:lnTo>
                      <a:pt x="286" y="50"/>
                    </a:lnTo>
                    <a:lnTo>
                      <a:pt x="326" y="62"/>
                    </a:lnTo>
                    <a:lnTo>
                      <a:pt x="366" y="73"/>
                    </a:lnTo>
                    <a:lnTo>
                      <a:pt x="404" y="85"/>
                    </a:lnTo>
                    <a:lnTo>
                      <a:pt x="444" y="97"/>
                    </a:lnTo>
                    <a:lnTo>
                      <a:pt x="484" y="109"/>
                    </a:lnTo>
                    <a:lnTo>
                      <a:pt x="525" y="121"/>
                    </a:lnTo>
                    <a:lnTo>
                      <a:pt x="565" y="133"/>
                    </a:lnTo>
                    <a:lnTo>
                      <a:pt x="605" y="144"/>
                    </a:lnTo>
                    <a:lnTo>
                      <a:pt x="643" y="154"/>
                    </a:lnTo>
                    <a:lnTo>
                      <a:pt x="683" y="166"/>
                    </a:lnTo>
                    <a:lnTo>
                      <a:pt x="723" y="177"/>
                    </a:lnTo>
                    <a:lnTo>
                      <a:pt x="763" y="187"/>
                    </a:lnTo>
                    <a:close/>
                    <a:moveTo>
                      <a:pt x="350" y="1802"/>
                    </a:moveTo>
                    <a:lnTo>
                      <a:pt x="380" y="1821"/>
                    </a:lnTo>
                    <a:lnTo>
                      <a:pt x="399" y="1821"/>
                    </a:lnTo>
                    <a:lnTo>
                      <a:pt x="402" y="1825"/>
                    </a:lnTo>
                    <a:lnTo>
                      <a:pt x="399" y="1830"/>
                    </a:lnTo>
                    <a:lnTo>
                      <a:pt x="354" y="1828"/>
                    </a:lnTo>
                    <a:lnTo>
                      <a:pt x="343" y="1818"/>
                    </a:lnTo>
                    <a:lnTo>
                      <a:pt x="345" y="1811"/>
                    </a:lnTo>
                    <a:lnTo>
                      <a:pt x="343" y="1802"/>
                    </a:lnTo>
                    <a:lnTo>
                      <a:pt x="350" y="1802"/>
                    </a:lnTo>
                    <a:close/>
                    <a:moveTo>
                      <a:pt x="274" y="1792"/>
                    </a:moveTo>
                    <a:lnTo>
                      <a:pt x="265" y="1790"/>
                    </a:lnTo>
                    <a:lnTo>
                      <a:pt x="250" y="1785"/>
                    </a:lnTo>
                    <a:lnTo>
                      <a:pt x="257" y="1781"/>
                    </a:lnTo>
                    <a:lnTo>
                      <a:pt x="267" y="1781"/>
                    </a:lnTo>
                    <a:lnTo>
                      <a:pt x="267" y="1783"/>
                    </a:lnTo>
                    <a:lnTo>
                      <a:pt x="274" y="1792"/>
                    </a:lnTo>
                    <a:close/>
                    <a:moveTo>
                      <a:pt x="312" y="1825"/>
                    </a:moveTo>
                    <a:lnTo>
                      <a:pt x="300" y="1825"/>
                    </a:lnTo>
                    <a:lnTo>
                      <a:pt x="291" y="1821"/>
                    </a:lnTo>
                    <a:lnTo>
                      <a:pt x="283" y="1797"/>
                    </a:lnTo>
                    <a:lnTo>
                      <a:pt x="314" y="1804"/>
                    </a:lnTo>
                    <a:lnTo>
                      <a:pt x="324" y="1816"/>
                    </a:lnTo>
                    <a:lnTo>
                      <a:pt x="326" y="1818"/>
                    </a:lnTo>
                    <a:lnTo>
                      <a:pt x="312" y="1825"/>
                    </a:lnTo>
                    <a:close/>
                    <a:moveTo>
                      <a:pt x="574" y="2010"/>
                    </a:moveTo>
                    <a:lnTo>
                      <a:pt x="579" y="2029"/>
                    </a:lnTo>
                    <a:lnTo>
                      <a:pt x="567" y="2022"/>
                    </a:lnTo>
                    <a:lnTo>
                      <a:pt x="553" y="2019"/>
                    </a:lnTo>
                    <a:lnTo>
                      <a:pt x="551" y="2012"/>
                    </a:lnTo>
                    <a:lnTo>
                      <a:pt x="551" y="1998"/>
                    </a:lnTo>
                    <a:lnTo>
                      <a:pt x="548" y="1996"/>
                    </a:lnTo>
                    <a:lnTo>
                      <a:pt x="539" y="1991"/>
                    </a:lnTo>
                    <a:lnTo>
                      <a:pt x="539" y="1991"/>
                    </a:lnTo>
                    <a:lnTo>
                      <a:pt x="539" y="1984"/>
                    </a:lnTo>
                    <a:lnTo>
                      <a:pt x="543" y="1984"/>
                    </a:lnTo>
                    <a:lnTo>
                      <a:pt x="567" y="2003"/>
                    </a:lnTo>
                    <a:lnTo>
                      <a:pt x="574" y="2010"/>
                    </a:lnTo>
                    <a:close/>
                    <a:moveTo>
                      <a:pt x="378" y="1998"/>
                    </a:moveTo>
                    <a:lnTo>
                      <a:pt x="369" y="1996"/>
                    </a:lnTo>
                    <a:lnTo>
                      <a:pt x="359" y="1991"/>
                    </a:lnTo>
                    <a:lnTo>
                      <a:pt x="357" y="1979"/>
                    </a:lnTo>
                    <a:lnTo>
                      <a:pt x="366" y="1979"/>
                    </a:lnTo>
                    <a:lnTo>
                      <a:pt x="373" y="1984"/>
                    </a:lnTo>
                    <a:lnTo>
                      <a:pt x="378" y="1993"/>
                    </a:lnTo>
                    <a:lnTo>
                      <a:pt x="378" y="1998"/>
                    </a:lnTo>
                    <a:close/>
                    <a:moveTo>
                      <a:pt x="543" y="2126"/>
                    </a:moveTo>
                    <a:lnTo>
                      <a:pt x="534" y="2123"/>
                    </a:lnTo>
                    <a:lnTo>
                      <a:pt x="525" y="2116"/>
                    </a:lnTo>
                    <a:lnTo>
                      <a:pt x="520" y="2095"/>
                    </a:lnTo>
                    <a:lnTo>
                      <a:pt x="513" y="2076"/>
                    </a:lnTo>
                    <a:lnTo>
                      <a:pt x="520" y="2074"/>
                    </a:lnTo>
                    <a:lnTo>
                      <a:pt x="525" y="2090"/>
                    </a:lnTo>
                    <a:lnTo>
                      <a:pt x="539" y="2119"/>
                    </a:lnTo>
                    <a:lnTo>
                      <a:pt x="543" y="2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990" name="Freeform 47">
                <a:extLst>
                  <a:ext uri="{FF2B5EF4-FFF2-40B4-BE49-F238E27FC236}">
                    <a16:creationId xmlns:a16="http://schemas.microsoft.com/office/drawing/2014/main" id="{6A7E7A8A-7A53-46CF-E9BE-691AAE3854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7" y="750"/>
                <a:ext cx="1232" cy="957"/>
              </a:xfrm>
              <a:custGeom>
                <a:avLst/>
                <a:gdLst>
                  <a:gd name="T0" fmla="*/ 1215 w 1232"/>
                  <a:gd name="T1" fmla="*/ 366 h 957"/>
                  <a:gd name="T2" fmla="*/ 1211 w 1232"/>
                  <a:gd name="T3" fmla="*/ 446 h 957"/>
                  <a:gd name="T4" fmla="*/ 1206 w 1232"/>
                  <a:gd name="T5" fmla="*/ 524 h 957"/>
                  <a:gd name="T6" fmla="*/ 1201 w 1232"/>
                  <a:gd name="T7" fmla="*/ 603 h 957"/>
                  <a:gd name="T8" fmla="*/ 1196 w 1232"/>
                  <a:gd name="T9" fmla="*/ 681 h 957"/>
                  <a:gd name="T10" fmla="*/ 1192 w 1232"/>
                  <a:gd name="T11" fmla="*/ 761 h 957"/>
                  <a:gd name="T12" fmla="*/ 1185 w 1232"/>
                  <a:gd name="T13" fmla="*/ 839 h 957"/>
                  <a:gd name="T14" fmla="*/ 1180 w 1232"/>
                  <a:gd name="T15" fmla="*/ 917 h 957"/>
                  <a:gd name="T16" fmla="*/ 1137 w 1232"/>
                  <a:gd name="T17" fmla="*/ 955 h 957"/>
                  <a:gd name="T18" fmla="*/ 1055 w 1232"/>
                  <a:gd name="T19" fmla="*/ 948 h 957"/>
                  <a:gd name="T20" fmla="*/ 948 w 1232"/>
                  <a:gd name="T21" fmla="*/ 941 h 957"/>
                  <a:gd name="T22" fmla="*/ 821 w 1232"/>
                  <a:gd name="T23" fmla="*/ 929 h 957"/>
                  <a:gd name="T24" fmla="*/ 695 w 1232"/>
                  <a:gd name="T25" fmla="*/ 917 h 957"/>
                  <a:gd name="T26" fmla="*/ 568 w 1232"/>
                  <a:gd name="T27" fmla="*/ 905 h 957"/>
                  <a:gd name="T28" fmla="*/ 442 w 1232"/>
                  <a:gd name="T29" fmla="*/ 891 h 957"/>
                  <a:gd name="T30" fmla="*/ 315 w 1232"/>
                  <a:gd name="T31" fmla="*/ 874 h 957"/>
                  <a:gd name="T32" fmla="*/ 190 w 1232"/>
                  <a:gd name="T33" fmla="*/ 858 h 957"/>
                  <a:gd name="T34" fmla="*/ 62 w 1232"/>
                  <a:gd name="T35" fmla="*/ 841 h 957"/>
                  <a:gd name="T36" fmla="*/ 7 w 1232"/>
                  <a:gd name="T37" fmla="*/ 780 h 957"/>
                  <a:gd name="T38" fmla="*/ 22 w 1232"/>
                  <a:gd name="T39" fmla="*/ 676 h 957"/>
                  <a:gd name="T40" fmla="*/ 36 w 1232"/>
                  <a:gd name="T41" fmla="*/ 572 h 957"/>
                  <a:gd name="T42" fmla="*/ 52 w 1232"/>
                  <a:gd name="T43" fmla="*/ 468 h 957"/>
                  <a:gd name="T44" fmla="*/ 67 w 1232"/>
                  <a:gd name="T45" fmla="*/ 364 h 957"/>
                  <a:gd name="T46" fmla="*/ 83 w 1232"/>
                  <a:gd name="T47" fmla="*/ 260 h 957"/>
                  <a:gd name="T48" fmla="*/ 97 w 1232"/>
                  <a:gd name="T49" fmla="*/ 156 h 957"/>
                  <a:gd name="T50" fmla="*/ 111 w 1232"/>
                  <a:gd name="T51" fmla="*/ 52 h 957"/>
                  <a:gd name="T52" fmla="*/ 168 w 1232"/>
                  <a:gd name="T53" fmla="*/ 7 h 957"/>
                  <a:gd name="T54" fmla="*/ 268 w 1232"/>
                  <a:gd name="T55" fmla="*/ 21 h 957"/>
                  <a:gd name="T56" fmla="*/ 367 w 1232"/>
                  <a:gd name="T57" fmla="*/ 35 h 957"/>
                  <a:gd name="T58" fmla="*/ 466 w 1232"/>
                  <a:gd name="T59" fmla="*/ 47 h 957"/>
                  <a:gd name="T60" fmla="*/ 565 w 1232"/>
                  <a:gd name="T61" fmla="*/ 59 h 957"/>
                  <a:gd name="T62" fmla="*/ 665 w 1232"/>
                  <a:gd name="T63" fmla="*/ 68 h 957"/>
                  <a:gd name="T64" fmla="*/ 766 w 1232"/>
                  <a:gd name="T65" fmla="*/ 80 h 957"/>
                  <a:gd name="T66" fmla="*/ 866 w 1232"/>
                  <a:gd name="T67" fmla="*/ 89 h 957"/>
                  <a:gd name="T68" fmla="*/ 955 w 1232"/>
                  <a:gd name="T69" fmla="*/ 97 h 957"/>
                  <a:gd name="T70" fmla="*/ 1033 w 1232"/>
                  <a:gd name="T71" fmla="*/ 104 h 957"/>
                  <a:gd name="T72" fmla="*/ 1114 w 1232"/>
                  <a:gd name="T73" fmla="*/ 108 h 957"/>
                  <a:gd name="T74" fmla="*/ 1192 w 1232"/>
                  <a:gd name="T75" fmla="*/ 115 h 957"/>
                  <a:gd name="T76" fmla="*/ 1230 w 1232"/>
                  <a:gd name="T77" fmla="*/ 144 h 957"/>
                  <a:gd name="T78" fmla="*/ 1227 w 1232"/>
                  <a:gd name="T79" fmla="*/ 196 h 957"/>
                  <a:gd name="T80" fmla="*/ 1222 w 1232"/>
                  <a:gd name="T81" fmla="*/ 248 h 957"/>
                  <a:gd name="T82" fmla="*/ 1220 w 1232"/>
                  <a:gd name="T83" fmla="*/ 302 h 9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32" h="957">
                    <a:moveTo>
                      <a:pt x="1218" y="328"/>
                    </a:moveTo>
                    <a:lnTo>
                      <a:pt x="1215" y="366"/>
                    </a:lnTo>
                    <a:lnTo>
                      <a:pt x="1213" y="406"/>
                    </a:lnTo>
                    <a:lnTo>
                      <a:pt x="1211" y="446"/>
                    </a:lnTo>
                    <a:lnTo>
                      <a:pt x="1208" y="484"/>
                    </a:lnTo>
                    <a:lnTo>
                      <a:pt x="1206" y="524"/>
                    </a:lnTo>
                    <a:lnTo>
                      <a:pt x="1204" y="565"/>
                    </a:lnTo>
                    <a:lnTo>
                      <a:pt x="1201" y="603"/>
                    </a:lnTo>
                    <a:lnTo>
                      <a:pt x="1199" y="643"/>
                    </a:lnTo>
                    <a:lnTo>
                      <a:pt x="1196" y="681"/>
                    </a:lnTo>
                    <a:lnTo>
                      <a:pt x="1194" y="721"/>
                    </a:lnTo>
                    <a:lnTo>
                      <a:pt x="1192" y="761"/>
                    </a:lnTo>
                    <a:lnTo>
                      <a:pt x="1189" y="799"/>
                    </a:lnTo>
                    <a:lnTo>
                      <a:pt x="1185" y="839"/>
                    </a:lnTo>
                    <a:lnTo>
                      <a:pt x="1182" y="879"/>
                    </a:lnTo>
                    <a:lnTo>
                      <a:pt x="1180" y="917"/>
                    </a:lnTo>
                    <a:lnTo>
                      <a:pt x="1178" y="957"/>
                    </a:lnTo>
                    <a:lnTo>
                      <a:pt x="1137" y="955"/>
                    </a:lnTo>
                    <a:lnTo>
                      <a:pt x="1095" y="950"/>
                    </a:lnTo>
                    <a:lnTo>
                      <a:pt x="1055" y="948"/>
                    </a:lnTo>
                    <a:lnTo>
                      <a:pt x="1012" y="945"/>
                    </a:lnTo>
                    <a:lnTo>
                      <a:pt x="948" y="941"/>
                    </a:lnTo>
                    <a:lnTo>
                      <a:pt x="884" y="934"/>
                    </a:lnTo>
                    <a:lnTo>
                      <a:pt x="821" y="929"/>
                    </a:lnTo>
                    <a:lnTo>
                      <a:pt x="759" y="924"/>
                    </a:lnTo>
                    <a:lnTo>
                      <a:pt x="695" y="917"/>
                    </a:lnTo>
                    <a:lnTo>
                      <a:pt x="632" y="910"/>
                    </a:lnTo>
                    <a:lnTo>
                      <a:pt x="568" y="905"/>
                    </a:lnTo>
                    <a:lnTo>
                      <a:pt x="504" y="898"/>
                    </a:lnTo>
                    <a:lnTo>
                      <a:pt x="442" y="891"/>
                    </a:lnTo>
                    <a:lnTo>
                      <a:pt x="379" y="884"/>
                    </a:lnTo>
                    <a:lnTo>
                      <a:pt x="315" y="874"/>
                    </a:lnTo>
                    <a:lnTo>
                      <a:pt x="251" y="867"/>
                    </a:lnTo>
                    <a:lnTo>
                      <a:pt x="190" y="858"/>
                    </a:lnTo>
                    <a:lnTo>
                      <a:pt x="126" y="851"/>
                    </a:lnTo>
                    <a:lnTo>
                      <a:pt x="62" y="841"/>
                    </a:lnTo>
                    <a:lnTo>
                      <a:pt x="0" y="832"/>
                    </a:lnTo>
                    <a:lnTo>
                      <a:pt x="7" y="780"/>
                    </a:lnTo>
                    <a:lnTo>
                      <a:pt x="15" y="728"/>
                    </a:lnTo>
                    <a:lnTo>
                      <a:pt x="22" y="676"/>
                    </a:lnTo>
                    <a:lnTo>
                      <a:pt x="29" y="624"/>
                    </a:lnTo>
                    <a:lnTo>
                      <a:pt x="36" y="572"/>
                    </a:lnTo>
                    <a:lnTo>
                      <a:pt x="45" y="520"/>
                    </a:lnTo>
                    <a:lnTo>
                      <a:pt x="52" y="468"/>
                    </a:lnTo>
                    <a:lnTo>
                      <a:pt x="59" y="416"/>
                    </a:lnTo>
                    <a:lnTo>
                      <a:pt x="67" y="364"/>
                    </a:lnTo>
                    <a:lnTo>
                      <a:pt x="74" y="312"/>
                    </a:lnTo>
                    <a:lnTo>
                      <a:pt x="83" y="260"/>
                    </a:lnTo>
                    <a:lnTo>
                      <a:pt x="90" y="208"/>
                    </a:lnTo>
                    <a:lnTo>
                      <a:pt x="97" y="156"/>
                    </a:lnTo>
                    <a:lnTo>
                      <a:pt x="104" y="104"/>
                    </a:lnTo>
                    <a:lnTo>
                      <a:pt x="111" y="52"/>
                    </a:lnTo>
                    <a:lnTo>
                      <a:pt x="119" y="0"/>
                    </a:lnTo>
                    <a:lnTo>
                      <a:pt x="168" y="7"/>
                    </a:lnTo>
                    <a:lnTo>
                      <a:pt x="218" y="14"/>
                    </a:lnTo>
                    <a:lnTo>
                      <a:pt x="268" y="21"/>
                    </a:lnTo>
                    <a:lnTo>
                      <a:pt x="317" y="28"/>
                    </a:lnTo>
                    <a:lnTo>
                      <a:pt x="367" y="35"/>
                    </a:lnTo>
                    <a:lnTo>
                      <a:pt x="416" y="40"/>
                    </a:lnTo>
                    <a:lnTo>
                      <a:pt x="466" y="47"/>
                    </a:lnTo>
                    <a:lnTo>
                      <a:pt x="516" y="52"/>
                    </a:lnTo>
                    <a:lnTo>
                      <a:pt x="565" y="59"/>
                    </a:lnTo>
                    <a:lnTo>
                      <a:pt x="615" y="63"/>
                    </a:lnTo>
                    <a:lnTo>
                      <a:pt x="665" y="68"/>
                    </a:lnTo>
                    <a:lnTo>
                      <a:pt x="717" y="75"/>
                    </a:lnTo>
                    <a:lnTo>
                      <a:pt x="766" y="80"/>
                    </a:lnTo>
                    <a:lnTo>
                      <a:pt x="816" y="85"/>
                    </a:lnTo>
                    <a:lnTo>
                      <a:pt x="866" y="89"/>
                    </a:lnTo>
                    <a:lnTo>
                      <a:pt x="915" y="94"/>
                    </a:lnTo>
                    <a:lnTo>
                      <a:pt x="955" y="97"/>
                    </a:lnTo>
                    <a:lnTo>
                      <a:pt x="993" y="99"/>
                    </a:lnTo>
                    <a:lnTo>
                      <a:pt x="1033" y="104"/>
                    </a:lnTo>
                    <a:lnTo>
                      <a:pt x="1074" y="106"/>
                    </a:lnTo>
                    <a:lnTo>
                      <a:pt x="1114" y="108"/>
                    </a:lnTo>
                    <a:lnTo>
                      <a:pt x="1152" y="113"/>
                    </a:lnTo>
                    <a:lnTo>
                      <a:pt x="1192" y="115"/>
                    </a:lnTo>
                    <a:lnTo>
                      <a:pt x="1232" y="118"/>
                    </a:lnTo>
                    <a:lnTo>
                      <a:pt x="1230" y="144"/>
                    </a:lnTo>
                    <a:lnTo>
                      <a:pt x="1230" y="170"/>
                    </a:lnTo>
                    <a:lnTo>
                      <a:pt x="1227" y="196"/>
                    </a:lnTo>
                    <a:lnTo>
                      <a:pt x="1225" y="222"/>
                    </a:lnTo>
                    <a:lnTo>
                      <a:pt x="1222" y="248"/>
                    </a:lnTo>
                    <a:lnTo>
                      <a:pt x="1222" y="276"/>
                    </a:lnTo>
                    <a:lnTo>
                      <a:pt x="1220" y="302"/>
                    </a:lnTo>
                    <a:lnTo>
                      <a:pt x="1218" y="32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991" name="Freeform 48">
                <a:extLst>
                  <a:ext uri="{FF2B5EF4-FFF2-40B4-BE49-F238E27FC236}">
                    <a16:creationId xmlns:a16="http://schemas.microsoft.com/office/drawing/2014/main" id="{33FE67D0-B1F4-278B-1AD3-1BA37A2627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05" y="182"/>
                <a:ext cx="290" cy="284"/>
              </a:xfrm>
              <a:custGeom>
                <a:avLst/>
                <a:gdLst>
                  <a:gd name="T0" fmla="*/ 257 w 290"/>
                  <a:gd name="T1" fmla="*/ 2 h 284"/>
                  <a:gd name="T2" fmla="*/ 260 w 290"/>
                  <a:gd name="T3" fmla="*/ 12 h 284"/>
                  <a:gd name="T4" fmla="*/ 264 w 290"/>
                  <a:gd name="T5" fmla="*/ 28 h 284"/>
                  <a:gd name="T6" fmla="*/ 267 w 290"/>
                  <a:gd name="T7" fmla="*/ 38 h 284"/>
                  <a:gd name="T8" fmla="*/ 272 w 290"/>
                  <a:gd name="T9" fmla="*/ 54 h 284"/>
                  <a:gd name="T10" fmla="*/ 276 w 290"/>
                  <a:gd name="T11" fmla="*/ 71 h 284"/>
                  <a:gd name="T12" fmla="*/ 281 w 290"/>
                  <a:gd name="T13" fmla="*/ 88 h 284"/>
                  <a:gd name="T14" fmla="*/ 286 w 290"/>
                  <a:gd name="T15" fmla="*/ 102 h 284"/>
                  <a:gd name="T16" fmla="*/ 288 w 290"/>
                  <a:gd name="T17" fmla="*/ 109 h 284"/>
                  <a:gd name="T18" fmla="*/ 290 w 290"/>
                  <a:gd name="T19" fmla="*/ 123 h 284"/>
                  <a:gd name="T20" fmla="*/ 288 w 290"/>
                  <a:gd name="T21" fmla="*/ 128 h 284"/>
                  <a:gd name="T22" fmla="*/ 288 w 290"/>
                  <a:gd name="T23" fmla="*/ 142 h 284"/>
                  <a:gd name="T24" fmla="*/ 274 w 290"/>
                  <a:gd name="T25" fmla="*/ 144 h 284"/>
                  <a:gd name="T26" fmla="*/ 253 w 290"/>
                  <a:gd name="T27" fmla="*/ 151 h 284"/>
                  <a:gd name="T28" fmla="*/ 227 w 290"/>
                  <a:gd name="T29" fmla="*/ 168 h 284"/>
                  <a:gd name="T30" fmla="*/ 210 w 290"/>
                  <a:gd name="T31" fmla="*/ 168 h 284"/>
                  <a:gd name="T32" fmla="*/ 194 w 290"/>
                  <a:gd name="T33" fmla="*/ 180 h 284"/>
                  <a:gd name="T34" fmla="*/ 139 w 290"/>
                  <a:gd name="T35" fmla="*/ 196 h 284"/>
                  <a:gd name="T36" fmla="*/ 125 w 290"/>
                  <a:gd name="T37" fmla="*/ 196 h 284"/>
                  <a:gd name="T38" fmla="*/ 113 w 290"/>
                  <a:gd name="T39" fmla="*/ 213 h 284"/>
                  <a:gd name="T40" fmla="*/ 92 w 290"/>
                  <a:gd name="T41" fmla="*/ 227 h 284"/>
                  <a:gd name="T42" fmla="*/ 37 w 290"/>
                  <a:gd name="T43" fmla="*/ 274 h 284"/>
                  <a:gd name="T44" fmla="*/ 33 w 290"/>
                  <a:gd name="T45" fmla="*/ 284 h 284"/>
                  <a:gd name="T46" fmla="*/ 21 w 290"/>
                  <a:gd name="T47" fmla="*/ 272 h 284"/>
                  <a:gd name="T48" fmla="*/ 11 w 290"/>
                  <a:gd name="T49" fmla="*/ 263 h 284"/>
                  <a:gd name="T50" fmla="*/ 23 w 290"/>
                  <a:gd name="T51" fmla="*/ 253 h 284"/>
                  <a:gd name="T52" fmla="*/ 30 w 290"/>
                  <a:gd name="T53" fmla="*/ 244 h 284"/>
                  <a:gd name="T54" fmla="*/ 37 w 290"/>
                  <a:gd name="T55" fmla="*/ 237 h 284"/>
                  <a:gd name="T56" fmla="*/ 42 w 290"/>
                  <a:gd name="T57" fmla="*/ 232 h 284"/>
                  <a:gd name="T58" fmla="*/ 35 w 290"/>
                  <a:gd name="T59" fmla="*/ 225 h 284"/>
                  <a:gd name="T60" fmla="*/ 30 w 290"/>
                  <a:gd name="T61" fmla="*/ 218 h 284"/>
                  <a:gd name="T62" fmla="*/ 26 w 290"/>
                  <a:gd name="T63" fmla="*/ 199 h 284"/>
                  <a:gd name="T64" fmla="*/ 23 w 290"/>
                  <a:gd name="T65" fmla="*/ 177 h 284"/>
                  <a:gd name="T66" fmla="*/ 19 w 290"/>
                  <a:gd name="T67" fmla="*/ 159 h 284"/>
                  <a:gd name="T68" fmla="*/ 14 w 290"/>
                  <a:gd name="T69" fmla="*/ 140 h 284"/>
                  <a:gd name="T70" fmla="*/ 11 w 290"/>
                  <a:gd name="T71" fmla="*/ 118 h 284"/>
                  <a:gd name="T72" fmla="*/ 7 w 290"/>
                  <a:gd name="T73" fmla="*/ 99 h 284"/>
                  <a:gd name="T74" fmla="*/ 4 w 290"/>
                  <a:gd name="T75" fmla="*/ 80 h 284"/>
                  <a:gd name="T76" fmla="*/ 0 w 290"/>
                  <a:gd name="T77" fmla="*/ 59 h 284"/>
                  <a:gd name="T78" fmla="*/ 14 w 290"/>
                  <a:gd name="T79" fmla="*/ 57 h 284"/>
                  <a:gd name="T80" fmla="*/ 26 w 290"/>
                  <a:gd name="T81" fmla="*/ 54 h 284"/>
                  <a:gd name="T82" fmla="*/ 40 w 290"/>
                  <a:gd name="T83" fmla="*/ 52 h 284"/>
                  <a:gd name="T84" fmla="*/ 52 w 290"/>
                  <a:gd name="T85" fmla="*/ 50 h 284"/>
                  <a:gd name="T86" fmla="*/ 66 w 290"/>
                  <a:gd name="T87" fmla="*/ 47 h 284"/>
                  <a:gd name="T88" fmla="*/ 78 w 290"/>
                  <a:gd name="T89" fmla="*/ 43 h 284"/>
                  <a:gd name="T90" fmla="*/ 92 w 290"/>
                  <a:gd name="T91" fmla="*/ 40 h 284"/>
                  <a:gd name="T92" fmla="*/ 104 w 290"/>
                  <a:gd name="T93" fmla="*/ 38 h 284"/>
                  <a:gd name="T94" fmla="*/ 106 w 290"/>
                  <a:gd name="T95" fmla="*/ 43 h 284"/>
                  <a:gd name="T96" fmla="*/ 111 w 290"/>
                  <a:gd name="T97" fmla="*/ 40 h 284"/>
                  <a:gd name="T98" fmla="*/ 111 w 290"/>
                  <a:gd name="T99" fmla="*/ 36 h 284"/>
                  <a:gd name="T100" fmla="*/ 130 w 290"/>
                  <a:gd name="T101" fmla="*/ 31 h 284"/>
                  <a:gd name="T102" fmla="*/ 149 w 290"/>
                  <a:gd name="T103" fmla="*/ 26 h 284"/>
                  <a:gd name="T104" fmla="*/ 165 w 290"/>
                  <a:gd name="T105" fmla="*/ 21 h 284"/>
                  <a:gd name="T106" fmla="*/ 184 w 290"/>
                  <a:gd name="T107" fmla="*/ 19 h 284"/>
                  <a:gd name="T108" fmla="*/ 203 w 290"/>
                  <a:gd name="T109" fmla="*/ 14 h 284"/>
                  <a:gd name="T110" fmla="*/ 220 w 290"/>
                  <a:gd name="T111" fmla="*/ 10 h 284"/>
                  <a:gd name="T112" fmla="*/ 238 w 290"/>
                  <a:gd name="T113" fmla="*/ 5 h 284"/>
                  <a:gd name="T114" fmla="*/ 257 w 290"/>
                  <a:gd name="T115" fmla="*/ 0 h 284"/>
                  <a:gd name="T116" fmla="*/ 257 w 290"/>
                  <a:gd name="T117" fmla="*/ 2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0" h="284">
                    <a:moveTo>
                      <a:pt x="257" y="2"/>
                    </a:moveTo>
                    <a:lnTo>
                      <a:pt x="260" y="12"/>
                    </a:lnTo>
                    <a:lnTo>
                      <a:pt x="264" y="28"/>
                    </a:lnTo>
                    <a:lnTo>
                      <a:pt x="267" y="38"/>
                    </a:lnTo>
                    <a:lnTo>
                      <a:pt x="272" y="54"/>
                    </a:lnTo>
                    <a:lnTo>
                      <a:pt x="276" y="71"/>
                    </a:lnTo>
                    <a:lnTo>
                      <a:pt x="281" y="88"/>
                    </a:lnTo>
                    <a:lnTo>
                      <a:pt x="286" y="102"/>
                    </a:lnTo>
                    <a:lnTo>
                      <a:pt x="288" y="109"/>
                    </a:lnTo>
                    <a:lnTo>
                      <a:pt x="290" y="123"/>
                    </a:lnTo>
                    <a:lnTo>
                      <a:pt x="288" y="128"/>
                    </a:lnTo>
                    <a:lnTo>
                      <a:pt x="288" y="142"/>
                    </a:lnTo>
                    <a:lnTo>
                      <a:pt x="274" y="144"/>
                    </a:lnTo>
                    <a:lnTo>
                      <a:pt x="253" y="151"/>
                    </a:lnTo>
                    <a:lnTo>
                      <a:pt x="227" y="168"/>
                    </a:lnTo>
                    <a:lnTo>
                      <a:pt x="210" y="168"/>
                    </a:lnTo>
                    <a:lnTo>
                      <a:pt x="194" y="180"/>
                    </a:lnTo>
                    <a:lnTo>
                      <a:pt x="139" y="196"/>
                    </a:lnTo>
                    <a:lnTo>
                      <a:pt x="125" y="196"/>
                    </a:lnTo>
                    <a:lnTo>
                      <a:pt x="113" y="213"/>
                    </a:lnTo>
                    <a:lnTo>
                      <a:pt x="92" y="227"/>
                    </a:lnTo>
                    <a:lnTo>
                      <a:pt x="37" y="274"/>
                    </a:lnTo>
                    <a:lnTo>
                      <a:pt x="33" y="284"/>
                    </a:lnTo>
                    <a:lnTo>
                      <a:pt x="21" y="272"/>
                    </a:lnTo>
                    <a:lnTo>
                      <a:pt x="11" y="263"/>
                    </a:lnTo>
                    <a:lnTo>
                      <a:pt x="23" y="253"/>
                    </a:lnTo>
                    <a:lnTo>
                      <a:pt x="30" y="244"/>
                    </a:lnTo>
                    <a:lnTo>
                      <a:pt x="37" y="237"/>
                    </a:lnTo>
                    <a:lnTo>
                      <a:pt x="42" y="232"/>
                    </a:lnTo>
                    <a:lnTo>
                      <a:pt x="35" y="225"/>
                    </a:lnTo>
                    <a:lnTo>
                      <a:pt x="30" y="218"/>
                    </a:lnTo>
                    <a:lnTo>
                      <a:pt x="26" y="199"/>
                    </a:lnTo>
                    <a:lnTo>
                      <a:pt x="23" y="177"/>
                    </a:lnTo>
                    <a:lnTo>
                      <a:pt x="19" y="159"/>
                    </a:lnTo>
                    <a:lnTo>
                      <a:pt x="14" y="140"/>
                    </a:lnTo>
                    <a:lnTo>
                      <a:pt x="11" y="118"/>
                    </a:lnTo>
                    <a:lnTo>
                      <a:pt x="7" y="99"/>
                    </a:lnTo>
                    <a:lnTo>
                      <a:pt x="4" y="80"/>
                    </a:lnTo>
                    <a:lnTo>
                      <a:pt x="0" y="59"/>
                    </a:lnTo>
                    <a:lnTo>
                      <a:pt x="14" y="57"/>
                    </a:lnTo>
                    <a:lnTo>
                      <a:pt x="26" y="54"/>
                    </a:lnTo>
                    <a:lnTo>
                      <a:pt x="40" y="52"/>
                    </a:lnTo>
                    <a:lnTo>
                      <a:pt x="52" y="50"/>
                    </a:lnTo>
                    <a:lnTo>
                      <a:pt x="66" y="47"/>
                    </a:lnTo>
                    <a:lnTo>
                      <a:pt x="78" y="43"/>
                    </a:lnTo>
                    <a:lnTo>
                      <a:pt x="92" y="40"/>
                    </a:lnTo>
                    <a:lnTo>
                      <a:pt x="104" y="38"/>
                    </a:lnTo>
                    <a:lnTo>
                      <a:pt x="106" y="43"/>
                    </a:lnTo>
                    <a:lnTo>
                      <a:pt x="111" y="40"/>
                    </a:lnTo>
                    <a:lnTo>
                      <a:pt x="111" y="36"/>
                    </a:lnTo>
                    <a:lnTo>
                      <a:pt x="130" y="31"/>
                    </a:lnTo>
                    <a:lnTo>
                      <a:pt x="149" y="26"/>
                    </a:lnTo>
                    <a:lnTo>
                      <a:pt x="165" y="21"/>
                    </a:lnTo>
                    <a:lnTo>
                      <a:pt x="184" y="19"/>
                    </a:lnTo>
                    <a:lnTo>
                      <a:pt x="203" y="14"/>
                    </a:lnTo>
                    <a:lnTo>
                      <a:pt x="220" y="10"/>
                    </a:lnTo>
                    <a:lnTo>
                      <a:pt x="238" y="5"/>
                    </a:lnTo>
                    <a:lnTo>
                      <a:pt x="257" y="0"/>
                    </a:lnTo>
                    <a:lnTo>
                      <a:pt x="257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992" name="Freeform 49">
                <a:extLst>
                  <a:ext uri="{FF2B5EF4-FFF2-40B4-BE49-F238E27FC236}">
                    <a16:creationId xmlns:a16="http://schemas.microsoft.com/office/drawing/2014/main" id="{8A343A8C-91BB-F335-522A-3AD4D1E610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4" y="995"/>
                <a:ext cx="33" cy="41"/>
              </a:xfrm>
              <a:custGeom>
                <a:avLst/>
                <a:gdLst>
                  <a:gd name="T0" fmla="*/ 16 w 33"/>
                  <a:gd name="T1" fmla="*/ 24 h 41"/>
                  <a:gd name="T2" fmla="*/ 12 w 33"/>
                  <a:gd name="T3" fmla="*/ 19 h 41"/>
                  <a:gd name="T4" fmla="*/ 2 w 33"/>
                  <a:gd name="T5" fmla="*/ 17 h 41"/>
                  <a:gd name="T6" fmla="*/ 0 w 33"/>
                  <a:gd name="T7" fmla="*/ 17 h 41"/>
                  <a:gd name="T8" fmla="*/ 9 w 33"/>
                  <a:gd name="T9" fmla="*/ 0 h 41"/>
                  <a:gd name="T10" fmla="*/ 21 w 33"/>
                  <a:gd name="T11" fmla="*/ 10 h 41"/>
                  <a:gd name="T12" fmla="*/ 33 w 33"/>
                  <a:gd name="T13" fmla="*/ 22 h 41"/>
                  <a:gd name="T14" fmla="*/ 21 w 33"/>
                  <a:gd name="T15" fmla="*/ 41 h 41"/>
                  <a:gd name="T16" fmla="*/ 16 w 33"/>
                  <a:gd name="T17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41">
                    <a:moveTo>
                      <a:pt x="16" y="24"/>
                    </a:moveTo>
                    <a:lnTo>
                      <a:pt x="12" y="19"/>
                    </a:lnTo>
                    <a:lnTo>
                      <a:pt x="2" y="17"/>
                    </a:lnTo>
                    <a:lnTo>
                      <a:pt x="0" y="17"/>
                    </a:lnTo>
                    <a:lnTo>
                      <a:pt x="9" y="0"/>
                    </a:lnTo>
                    <a:lnTo>
                      <a:pt x="21" y="10"/>
                    </a:lnTo>
                    <a:lnTo>
                      <a:pt x="33" y="22"/>
                    </a:lnTo>
                    <a:lnTo>
                      <a:pt x="21" y="41"/>
                    </a:lnTo>
                    <a:lnTo>
                      <a:pt x="16" y="2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993" name="Freeform 50">
                <a:extLst>
                  <a:ext uri="{FF2B5EF4-FFF2-40B4-BE49-F238E27FC236}">
                    <a16:creationId xmlns:a16="http://schemas.microsoft.com/office/drawing/2014/main" id="{58753885-9D3C-8F53-BB68-1B877970A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61" y="771"/>
                <a:ext cx="180" cy="291"/>
              </a:xfrm>
              <a:custGeom>
                <a:avLst/>
                <a:gdLst>
                  <a:gd name="T0" fmla="*/ 55 w 180"/>
                  <a:gd name="T1" fmla="*/ 2 h 291"/>
                  <a:gd name="T2" fmla="*/ 50 w 180"/>
                  <a:gd name="T3" fmla="*/ 9 h 291"/>
                  <a:gd name="T4" fmla="*/ 45 w 180"/>
                  <a:gd name="T5" fmla="*/ 26 h 291"/>
                  <a:gd name="T6" fmla="*/ 36 w 180"/>
                  <a:gd name="T7" fmla="*/ 42 h 291"/>
                  <a:gd name="T8" fmla="*/ 40 w 180"/>
                  <a:gd name="T9" fmla="*/ 54 h 291"/>
                  <a:gd name="T10" fmla="*/ 43 w 180"/>
                  <a:gd name="T11" fmla="*/ 61 h 291"/>
                  <a:gd name="T12" fmla="*/ 45 w 180"/>
                  <a:gd name="T13" fmla="*/ 76 h 291"/>
                  <a:gd name="T14" fmla="*/ 57 w 180"/>
                  <a:gd name="T15" fmla="*/ 90 h 291"/>
                  <a:gd name="T16" fmla="*/ 81 w 180"/>
                  <a:gd name="T17" fmla="*/ 111 h 291"/>
                  <a:gd name="T18" fmla="*/ 92 w 180"/>
                  <a:gd name="T19" fmla="*/ 149 h 291"/>
                  <a:gd name="T20" fmla="*/ 111 w 180"/>
                  <a:gd name="T21" fmla="*/ 172 h 291"/>
                  <a:gd name="T22" fmla="*/ 140 w 180"/>
                  <a:gd name="T23" fmla="*/ 196 h 291"/>
                  <a:gd name="T24" fmla="*/ 156 w 180"/>
                  <a:gd name="T25" fmla="*/ 201 h 291"/>
                  <a:gd name="T26" fmla="*/ 159 w 180"/>
                  <a:gd name="T27" fmla="*/ 213 h 291"/>
                  <a:gd name="T28" fmla="*/ 156 w 180"/>
                  <a:gd name="T29" fmla="*/ 234 h 291"/>
                  <a:gd name="T30" fmla="*/ 149 w 180"/>
                  <a:gd name="T31" fmla="*/ 243 h 291"/>
                  <a:gd name="T32" fmla="*/ 161 w 180"/>
                  <a:gd name="T33" fmla="*/ 239 h 291"/>
                  <a:gd name="T34" fmla="*/ 168 w 180"/>
                  <a:gd name="T35" fmla="*/ 241 h 291"/>
                  <a:gd name="T36" fmla="*/ 177 w 180"/>
                  <a:gd name="T37" fmla="*/ 255 h 291"/>
                  <a:gd name="T38" fmla="*/ 180 w 180"/>
                  <a:gd name="T39" fmla="*/ 267 h 291"/>
                  <a:gd name="T40" fmla="*/ 163 w 180"/>
                  <a:gd name="T41" fmla="*/ 269 h 291"/>
                  <a:gd name="T42" fmla="*/ 128 w 180"/>
                  <a:gd name="T43" fmla="*/ 279 h 291"/>
                  <a:gd name="T44" fmla="*/ 92 w 180"/>
                  <a:gd name="T45" fmla="*/ 286 h 291"/>
                  <a:gd name="T46" fmla="*/ 76 w 180"/>
                  <a:gd name="T47" fmla="*/ 291 h 291"/>
                  <a:gd name="T48" fmla="*/ 76 w 180"/>
                  <a:gd name="T49" fmla="*/ 291 h 291"/>
                  <a:gd name="T50" fmla="*/ 73 w 180"/>
                  <a:gd name="T51" fmla="*/ 291 h 291"/>
                  <a:gd name="T52" fmla="*/ 73 w 180"/>
                  <a:gd name="T53" fmla="*/ 291 h 291"/>
                  <a:gd name="T54" fmla="*/ 73 w 180"/>
                  <a:gd name="T55" fmla="*/ 291 h 291"/>
                  <a:gd name="T56" fmla="*/ 73 w 180"/>
                  <a:gd name="T57" fmla="*/ 291 h 291"/>
                  <a:gd name="T58" fmla="*/ 73 w 180"/>
                  <a:gd name="T59" fmla="*/ 291 h 291"/>
                  <a:gd name="T60" fmla="*/ 73 w 180"/>
                  <a:gd name="T61" fmla="*/ 291 h 291"/>
                  <a:gd name="T62" fmla="*/ 71 w 180"/>
                  <a:gd name="T63" fmla="*/ 291 h 291"/>
                  <a:gd name="T64" fmla="*/ 64 w 180"/>
                  <a:gd name="T65" fmla="*/ 258 h 291"/>
                  <a:gd name="T66" fmla="*/ 55 w 180"/>
                  <a:gd name="T67" fmla="*/ 227 h 291"/>
                  <a:gd name="T68" fmla="*/ 45 w 180"/>
                  <a:gd name="T69" fmla="*/ 194 h 291"/>
                  <a:gd name="T70" fmla="*/ 36 w 180"/>
                  <a:gd name="T71" fmla="*/ 163 h 291"/>
                  <a:gd name="T72" fmla="*/ 29 w 180"/>
                  <a:gd name="T73" fmla="*/ 130 h 291"/>
                  <a:gd name="T74" fmla="*/ 19 w 180"/>
                  <a:gd name="T75" fmla="*/ 99 h 291"/>
                  <a:gd name="T76" fmla="*/ 10 w 180"/>
                  <a:gd name="T77" fmla="*/ 66 h 291"/>
                  <a:gd name="T78" fmla="*/ 0 w 180"/>
                  <a:gd name="T79" fmla="*/ 33 h 291"/>
                  <a:gd name="T80" fmla="*/ 10 w 180"/>
                  <a:gd name="T81" fmla="*/ 14 h 291"/>
                  <a:gd name="T82" fmla="*/ 12 w 180"/>
                  <a:gd name="T83" fmla="*/ 9 h 291"/>
                  <a:gd name="T84" fmla="*/ 19 w 180"/>
                  <a:gd name="T85" fmla="*/ 5 h 291"/>
                  <a:gd name="T86" fmla="*/ 38 w 180"/>
                  <a:gd name="T87" fmla="*/ 0 h 291"/>
                  <a:gd name="T88" fmla="*/ 55 w 180"/>
                  <a:gd name="T89" fmla="*/ 2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80" h="291">
                    <a:moveTo>
                      <a:pt x="55" y="2"/>
                    </a:moveTo>
                    <a:lnTo>
                      <a:pt x="50" y="9"/>
                    </a:lnTo>
                    <a:lnTo>
                      <a:pt x="45" y="26"/>
                    </a:lnTo>
                    <a:lnTo>
                      <a:pt x="36" y="42"/>
                    </a:lnTo>
                    <a:lnTo>
                      <a:pt x="40" y="54"/>
                    </a:lnTo>
                    <a:lnTo>
                      <a:pt x="43" y="61"/>
                    </a:lnTo>
                    <a:lnTo>
                      <a:pt x="45" y="76"/>
                    </a:lnTo>
                    <a:lnTo>
                      <a:pt x="57" y="90"/>
                    </a:lnTo>
                    <a:lnTo>
                      <a:pt x="81" y="111"/>
                    </a:lnTo>
                    <a:lnTo>
                      <a:pt x="92" y="149"/>
                    </a:lnTo>
                    <a:lnTo>
                      <a:pt x="111" y="172"/>
                    </a:lnTo>
                    <a:lnTo>
                      <a:pt x="140" y="196"/>
                    </a:lnTo>
                    <a:lnTo>
                      <a:pt x="156" y="201"/>
                    </a:lnTo>
                    <a:lnTo>
                      <a:pt x="159" y="213"/>
                    </a:lnTo>
                    <a:lnTo>
                      <a:pt x="156" y="234"/>
                    </a:lnTo>
                    <a:lnTo>
                      <a:pt x="149" y="243"/>
                    </a:lnTo>
                    <a:lnTo>
                      <a:pt x="161" y="239"/>
                    </a:lnTo>
                    <a:lnTo>
                      <a:pt x="168" y="241"/>
                    </a:lnTo>
                    <a:lnTo>
                      <a:pt x="177" y="255"/>
                    </a:lnTo>
                    <a:lnTo>
                      <a:pt x="180" y="267"/>
                    </a:lnTo>
                    <a:lnTo>
                      <a:pt x="163" y="269"/>
                    </a:lnTo>
                    <a:lnTo>
                      <a:pt x="128" y="279"/>
                    </a:lnTo>
                    <a:lnTo>
                      <a:pt x="92" y="286"/>
                    </a:lnTo>
                    <a:lnTo>
                      <a:pt x="76" y="291"/>
                    </a:lnTo>
                    <a:lnTo>
                      <a:pt x="76" y="291"/>
                    </a:lnTo>
                    <a:lnTo>
                      <a:pt x="73" y="291"/>
                    </a:lnTo>
                    <a:lnTo>
                      <a:pt x="73" y="291"/>
                    </a:lnTo>
                    <a:lnTo>
                      <a:pt x="73" y="291"/>
                    </a:lnTo>
                    <a:lnTo>
                      <a:pt x="73" y="291"/>
                    </a:lnTo>
                    <a:lnTo>
                      <a:pt x="73" y="291"/>
                    </a:lnTo>
                    <a:lnTo>
                      <a:pt x="73" y="291"/>
                    </a:lnTo>
                    <a:lnTo>
                      <a:pt x="71" y="291"/>
                    </a:lnTo>
                    <a:lnTo>
                      <a:pt x="64" y="258"/>
                    </a:lnTo>
                    <a:lnTo>
                      <a:pt x="55" y="227"/>
                    </a:lnTo>
                    <a:lnTo>
                      <a:pt x="45" y="194"/>
                    </a:lnTo>
                    <a:lnTo>
                      <a:pt x="36" y="163"/>
                    </a:lnTo>
                    <a:lnTo>
                      <a:pt x="29" y="130"/>
                    </a:lnTo>
                    <a:lnTo>
                      <a:pt x="19" y="99"/>
                    </a:lnTo>
                    <a:lnTo>
                      <a:pt x="10" y="66"/>
                    </a:lnTo>
                    <a:lnTo>
                      <a:pt x="0" y="33"/>
                    </a:lnTo>
                    <a:lnTo>
                      <a:pt x="10" y="14"/>
                    </a:lnTo>
                    <a:lnTo>
                      <a:pt x="12" y="9"/>
                    </a:lnTo>
                    <a:lnTo>
                      <a:pt x="19" y="5"/>
                    </a:lnTo>
                    <a:lnTo>
                      <a:pt x="38" y="0"/>
                    </a:lnTo>
                    <a:lnTo>
                      <a:pt x="55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994" name="Freeform 51">
                <a:extLst>
                  <a:ext uri="{FF2B5EF4-FFF2-40B4-BE49-F238E27FC236}">
                    <a16:creationId xmlns:a16="http://schemas.microsoft.com/office/drawing/2014/main" id="{CDA7986F-EC49-A3A2-2179-3B336F8AB2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38" y="2845"/>
                <a:ext cx="1544" cy="1324"/>
              </a:xfrm>
              <a:custGeom>
                <a:avLst/>
                <a:gdLst>
                  <a:gd name="T0" fmla="*/ 1229 w 1544"/>
                  <a:gd name="T1" fmla="*/ 262 h 1324"/>
                  <a:gd name="T2" fmla="*/ 1369 w 1544"/>
                  <a:gd name="T3" fmla="*/ 494 h 1324"/>
                  <a:gd name="T4" fmla="*/ 1359 w 1544"/>
                  <a:gd name="T5" fmla="*/ 487 h 1324"/>
                  <a:gd name="T6" fmla="*/ 1333 w 1544"/>
                  <a:gd name="T7" fmla="*/ 458 h 1324"/>
                  <a:gd name="T8" fmla="*/ 1317 w 1544"/>
                  <a:gd name="T9" fmla="*/ 404 h 1324"/>
                  <a:gd name="T10" fmla="*/ 1350 w 1544"/>
                  <a:gd name="T11" fmla="*/ 498 h 1324"/>
                  <a:gd name="T12" fmla="*/ 1532 w 1544"/>
                  <a:gd name="T13" fmla="*/ 837 h 1324"/>
                  <a:gd name="T14" fmla="*/ 1529 w 1544"/>
                  <a:gd name="T15" fmla="*/ 1016 h 1324"/>
                  <a:gd name="T16" fmla="*/ 1451 w 1544"/>
                  <a:gd name="T17" fmla="*/ 1158 h 1324"/>
                  <a:gd name="T18" fmla="*/ 1369 w 1544"/>
                  <a:gd name="T19" fmla="*/ 1139 h 1324"/>
                  <a:gd name="T20" fmla="*/ 1371 w 1544"/>
                  <a:gd name="T21" fmla="*/ 1125 h 1324"/>
                  <a:gd name="T22" fmla="*/ 1210 w 1544"/>
                  <a:gd name="T23" fmla="*/ 983 h 1324"/>
                  <a:gd name="T24" fmla="*/ 1180 w 1544"/>
                  <a:gd name="T25" fmla="*/ 874 h 1324"/>
                  <a:gd name="T26" fmla="*/ 1137 w 1544"/>
                  <a:gd name="T27" fmla="*/ 832 h 1324"/>
                  <a:gd name="T28" fmla="*/ 1104 w 1544"/>
                  <a:gd name="T29" fmla="*/ 846 h 1324"/>
                  <a:gd name="T30" fmla="*/ 995 w 1544"/>
                  <a:gd name="T31" fmla="*/ 721 h 1324"/>
                  <a:gd name="T32" fmla="*/ 1042 w 1544"/>
                  <a:gd name="T33" fmla="*/ 636 h 1324"/>
                  <a:gd name="T34" fmla="*/ 988 w 1544"/>
                  <a:gd name="T35" fmla="*/ 621 h 1324"/>
                  <a:gd name="T36" fmla="*/ 988 w 1544"/>
                  <a:gd name="T37" fmla="*/ 671 h 1324"/>
                  <a:gd name="T38" fmla="*/ 974 w 1544"/>
                  <a:gd name="T39" fmla="*/ 513 h 1324"/>
                  <a:gd name="T40" fmla="*/ 740 w 1544"/>
                  <a:gd name="T41" fmla="*/ 236 h 1324"/>
                  <a:gd name="T42" fmla="*/ 615 w 1544"/>
                  <a:gd name="T43" fmla="*/ 255 h 1324"/>
                  <a:gd name="T44" fmla="*/ 501 w 1544"/>
                  <a:gd name="T45" fmla="*/ 309 h 1324"/>
                  <a:gd name="T46" fmla="*/ 433 w 1544"/>
                  <a:gd name="T47" fmla="*/ 305 h 1324"/>
                  <a:gd name="T48" fmla="*/ 371 w 1544"/>
                  <a:gd name="T49" fmla="*/ 238 h 1324"/>
                  <a:gd name="T50" fmla="*/ 366 w 1544"/>
                  <a:gd name="T51" fmla="*/ 205 h 1324"/>
                  <a:gd name="T52" fmla="*/ 274 w 1544"/>
                  <a:gd name="T53" fmla="*/ 205 h 1324"/>
                  <a:gd name="T54" fmla="*/ 255 w 1544"/>
                  <a:gd name="T55" fmla="*/ 172 h 1324"/>
                  <a:gd name="T56" fmla="*/ 128 w 1544"/>
                  <a:gd name="T57" fmla="*/ 212 h 1324"/>
                  <a:gd name="T58" fmla="*/ 118 w 1544"/>
                  <a:gd name="T59" fmla="*/ 170 h 1324"/>
                  <a:gd name="T60" fmla="*/ 76 w 1544"/>
                  <a:gd name="T61" fmla="*/ 212 h 1324"/>
                  <a:gd name="T62" fmla="*/ 33 w 1544"/>
                  <a:gd name="T63" fmla="*/ 219 h 1324"/>
                  <a:gd name="T64" fmla="*/ 40 w 1544"/>
                  <a:gd name="T65" fmla="*/ 156 h 1324"/>
                  <a:gd name="T66" fmla="*/ 118 w 1544"/>
                  <a:gd name="T67" fmla="*/ 78 h 1324"/>
                  <a:gd name="T68" fmla="*/ 470 w 1544"/>
                  <a:gd name="T69" fmla="*/ 40 h 1324"/>
                  <a:gd name="T70" fmla="*/ 577 w 1544"/>
                  <a:gd name="T71" fmla="*/ 92 h 1324"/>
                  <a:gd name="T72" fmla="*/ 752 w 1544"/>
                  <a:gd name="T73" fmla="*/ 80 h 1324"/>
                  <a:gd name="T74" fmla="*/ 927 w 1544"/>
                  <a:gd name="T75" fmla="*/ 68 h 1324"/>
                  <a:gd name="T76" fmla="*/ 1000 w 1544"/>
                  <a:gd name="T77" fmla="*/ 96 h 1324"/>
                  <a:gd name="T78" fmla="*/ 1019 w 1544"/>
                  <a:gd name="T79" fmla="*/ 37 h 1324"/>
                  <a:gd name="T80" fmla="*/ 1042 w 1544"/>
                  <a:gd name="T81" fmla="*/ 2 h 1324"/>
                  <a:gd name="T82" fmla="*/ 499 w 1544"/>
                  <a:gd name="T83" fmla="*/ 328 h 1324"/>
                  <a:gd name="T84" fmla="*/ 1480 w 1544"/>
                  <a:gd name="T85" fmla="*/ 690 h 1324"/>
                  <a:gd name="T86" fmla="*/ 1432 w 1544"/>
                  <a:gd name="T87" fmla="*/ 612 h 1324"/>
                  <a:gd name="T88" fmla="*/ 1135 w 1544"/>
                  <a:gd name="T89" fmla="*/ 881 h 1324"/>
                  <a:gd name="T90" fmla="*/ 1123 w 1544"/>
                  <a:gd name="T91" fmla="*/ 907 h 1324"/>
                  <a:gd name="T92" fmla="*/ 1492 w 1544"/>
                  <a:gd name="T93" fmla="*/ 1186 h 1324"/>
                  <a:gd name="T94" fmla="*/ 1532 w 1544"/>
                  <a:gd name="T95" fmla="*/ 1104 h 1324"/>
                  <a:gd name="T96" fmla="*/ 1482 w 1544"/>
                  <a:gd name="T97" fmla="*/ 1201 h 1324"/>
                  <a:gd name="T98" fmla="*/ 1454 w 1544"/>
                  <a:gd name="T99" fmla="*/ 1229 h 1324"/>
                  <a:gd name="T100" fmla="*/ 1399 w 1544"/>
                  <a:gd name="T101" fmla="*/ 1260 h 1324"/>
                  <a:gd name="T102" fmla="*/ 1345 w 1544"/>
                  <a:gd name="T103" fmla="*/ 1291 h 1324"/>
                  <a:gd name="T104" fmla="*/ 1352 w 1544"/>
                  <a:gd name="T105" fmla="*/ 1286 h 1324"/>
                  <a:gd name="T106" fmla="*/ 1317 w 1544"/>
                  <a:gd name="T107" fmla="*/ 1300 h 1324"/>
                  <a:gd name="T108" fmla="*/ 1276 w 1544"/>
                  <a:gd name="T109" fmla="*/ 1314 h 1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44" h="1324">
                    <a:moveTo>
                      <a:pt x="1113" y="7"/>
                    </a:moveTo>
                    <a:lnTo>
                      <a:pt x="1125" y="23"/>
                    </a:lnTo>
                    <a:lnTo>
                      <a:pt x="1151" y="99"/>
                    </a:lnTo>
                    <a:lnTo>
                      <a:pt x="1163" y="125"/>
                    </a:lnTo>
                    <a:lnTo>
                      <a:pt x="1191" y="196"/>
                    </a:lnTo>
                    <a:lnTo>
                      <a:pt x="1229" y="262"/>
                    </a:lnTo>
                    <a:lnTo>
                      <a:pt x="1281" y="340"/>
                    </a:lnTo>
                    <a:lnTo>
                      <a:pt x="1362" y="435"/>
                    </a:lnTo>
                    <a:lnTo>
                      <a:pt x="1371" y="449"/>
                    </a:lnTo>
                    <a:lnTo>
                      <a:pt x="1366" y="461"/>
                    </a:lnTo>
                    <a:lnTo>
                      <a:pt x="1366" y="475"/>
                    </a:lnTo>
                    <a:lnTo>
                      <a:pt x="1369" y="494"/>
                    </a:lnTo>
                    <a:lnTo>
                      <a:pt x="1373" y="513"/>
                    </a:lnTo>
                    <a:lnTo>
                      <a:pt x="1385" y="536"/>
                    </a:lnTo>
                    <a:lnTo>
                      <a:pt x="1406" y="569"/>
                    </a:lnTo>
                    <a:lnTo>
                      <a:pt x="1397" y="562"/>
                    </a:lnTo>
                    <a:lnTo>
                      <a:pt x="1366" y="515"/>
                    </a:lnTo>
                    <a:lnTo>
                      <a:pt x="1359" y="487"/>
                    </a:lnTo>
                    <a:lnTo>
                      <a:pt x="1354" y="442"/>
                    </a:lnTo>
                    <a:lnTo>
                      <a:pt x="1350" y="444"/>
                    </a:lnTo>
                    <a:lnTo>
                      <a:pt x="1350" y="458"/>
                    </a:lnTo>
                    <a:lnTo>
                      <a:pt x="1350" y="475"/>
                    </a:lnTo>
                    <a:lnTo>
                      <a:pt x="1345" y="482"/>
                    </a:lnTo>
                    <a:lnTo>
                      <a:pt x="1333" y="458"/>
                    </a:lnTo>
                    <a:lnTo>
                      <a:pt x="1333" y="449"/>
                    </a:lnTo>
                    <a:lnTo>
                      <a:pt x="1338" y="435"/>
                    </a:lnTo>
                    <a:lnTo>
                      <a:pt x="1336" y="430"/>
                    </a:lnTo>
                    <a:lnTo>
                      <a:pt x="1321" y="425"/>
                    </a:lnTo>
                    <a:lnTo>
                      <a:pt x="1317" y="413"/>
                    </a:lnTo>
                    <a:lnTo>
                      <a:pt x="1317" y="404"/>
                    </a:lnTo>
                    <a:lnTo>
                      <a:pt x="1310" y="399"/>
                    </a:lnTo>
                    <a:lnTo>
                      <a:pt x="1305" y="401"/>
                    </a:lnTo>
                    <a:lnTo>
                      <a:pt x="1312" y="425"/>
                    </a:lnTo>
                    <a:lnTo>
                      <a:pt x="1319" y="439"/>
                    </a:lnTo>
                    <a:lnTo>
                      <a:pt x="1333" y="477"/>
                    </a:lnTo>
                    <a:lnTo>
                      <a:pt x="1350" y="498"/>
                    </a:lnTo>
                    <a:lnTo>
                      <a:pt x="1359" y="515"/>
                    </a:lnTo>
                    <a:lnTo>
                      <a:pt x="1475" y="706"/>
                    </a:lnTo>
                    <a:lnTo>
                      <a:pt x="1499" y="730"/>
                    </a:lnTo>
                    <a:lnTo>
                      <a:pt x="1508" y="747"/>
                    </a:lnTo>
                    <a:lnTo>
                      <a:pt x="1522" y="787"/>
                    </a:lnTo>
                    <a:lnTo>
                      <a:pt x="1532" y="837"/>
                    </a:lnTo>
                    <a:lnTo>
                      <a:pt x="1536" y="931"/>
                    </a:lnTo>
                    <a:lnTo>
                      <a:pt x="1544" y="995"/>
                    </a:lnTo>
                    <a:lnTo>
                      <a:pt x="1541" y="993"/>
                    </a:lnTo>
                    <a:lnTo>
                      <a:pt x="1539" y="985"/>
                    </a:lnTo>
                    <a:lnTo>
                      <a:pt x="1536" y="985"/>
                    </a:lnTo>
                    <a:lnTo>
                      <a:pt x="1529" y="1016"/>
                    </a:lnTo>
                    <a:lnTo>
                      <a:pt x="1518" y="1047"/>
                    </a:lnTo>
                    <a:lnTo>
                      <a:pt x="1520" y="1087"/>
                    </a:lnTo>
                    <a:lnTo>
                      <a:pt x="1518" y="1108"/>
                    </a:lnTo>
                    <a:lnTo>
                      <a:pt x="1496" y="1134"/>
                    </a:lnTo>
                    <a:lnTo>
                      <a:pt x="1482" y="1137"/>
                    </a:lnTo>
                    <a:lnTo>
                      <a:pt x="1451" y="1158"/>
                    </a:lnTo>
                    <a:lnTo>
                      <a:pt x="1425" y="1158"/>
                    </a:lnTo>
                    <a:lnTo>
                      <a:pt x="1399" y="1172"/>
                    </a:lnTo>
                    <a:lnTo>
                      <a:pt x="1380" y="1175"/>
                    </a:lnTo>
                    <a:lnTo>
                      <a:pt x="1366" y="1158"/>
                    </a:lnTo>
                    <a:lnTo>
                      <a:pt x="1366" y="1149"/>
                    </a:lnTo>
                    <a:lnTo>
                      <a:pt x="1369" y="1139"/>
                    </a:lnTo>
                    <a:lnTo>
                      <a:pt x="1376" y="1134"/>
                    </a:lnTo>
                    <a:lnTo>
                      <a:pt x="1404" y="1151"/>
                    </a:lnTo>
                    <a:lnTo>
                      <a:pt x="1409" y="1142"/>
                    </a:lnTo>
                    <a:lnTo>
                      <a:pt x="1399" y="1134"/>
                    </a:lnTo>
                    <a:lnTo>
                      <a:pt x="1383" y="1130"/>
                    </a:lnTo>
                    <a:lnTo>
                      <a:pt x="1371" y="1125"/>
                    </a:lnTo>
                    <a:lnTo>
                      <a:pt x="1343" y="1082"/>
                    </a:lnTo>
                    <a:lnTo>
                      <a:pt x="1314" y="1056"/>
                    </a:lnTo>
                    <a:lnTo>
                      <a:pt x="1307" y="1035"/>
                    </a:lnTo>
                    <a:lnTo>
                      <a:pt x="1265" y="1028"/>
                    </a:lnTo>
                    <a:lnTo>
                      <a:pt x="1234" y="1014"/>
                    </a:lnTo>
                    <a:lnTo>
                      <a:pt x="1210" y="983"/>
                    </a:lnTo>
                    <a:lnTo>
                      <a:pt x="1189" y="922"/>
                    </a:lnTo>
                    <a:lnTo>
                      <a:pt x="1177" y="917"/>
                    </a:lnTo>
                    <a:lnTo>
                      <a:pt x="1170" y="915"/>
                    </a:lnTo>
                    <a:lnTo>
                      <a:pt x="1180" y="889"/>
                    </a:lnTo>
                    <a:lnTo>
                      <a:pt x="1189" y="867"/>
                    </a:lnTo>
                    <a:lnTo>
                      <a:pt x="1180" y="874"/>
                    </a:lnTo>
                    <a:lnTo>
                      <a:pt x="1172" y="881"/>
                    </a:lnTo>
                    <a:lnTo>
                      <a:pt x="1165" y="900"/>
                    </a:lnTo>
                    <a:lnTo>
                      <a:pt x="1161" y="905"/>
                    </a:lnTo>
                    <a:lnTo>
                      <a:pt x="1154" y="903"/>
                    </a:lnTo>
                    <a:lnTo>
                      <a:pt x="1142" y="872"/>
                    </a:lnTo>
                    <a:lnTo>
                      <a:pt x="1137" y="832"/>
                    </a:lnTo>
                    <a:lnTo>
                      <a:pt x="1144" y="815"/>
                    </a:lnTo>
                    <a:lnTo>
                      <a:pt x="1130" y="818"/>
                    </a:lnTo>
                    <a:lnTo>
                      <a:pt x="1113" y="825"/>
                    </a:lnTo>
                    <a:lnTo>
                      <a:pt x="1118" y="839"/>
                    </a:lnTo>
                    <a:lnTo>
                      <a:pt x="1116" y="846"/>
                    </a:lnTo>
                    <a:lnTo>
                      <a:pt x="1104" y="846"/>
                    </a:lnTo>
                    <a:lnTo>
                      <a:pt x="1094" y="844"/>
                    </a:lnTo>
                    <a:lnTo>
                      <a:pt x="1080" y="832"/>
                    </a:lnTo>
                    <a:lnTo>
                      <a:pt x="1061" y="808"/>
                    </a:lnTo>
                    <a:lnTo>
                      <a:pt x="1016" y="740"/>
                    </a:lnTo>
                    <a:lnTo>
                      <a:pt x="1007" y="730"/>
                    </a:lnTo>
                    <a:lnTo>
                      <a:pt x="995" y="721"/>
                    </a:lnTo>
                    <a:lnTo>
                      <a:pt x="1000" y="718"/>
                    </a:lnTo>
                    <a:lnTo>
                      <a:pt x="1009" y="714"/>
                    </a:lnTo>
                    <a:lnTo>
                      <a:pt x="1026" y="678"/>
                    </a:lnTo>
                    <a:lnTo>
                      <a:pt x="1040" y="657"/>
                    </a:lnTo>
                    <a:lnTo>
                      <a:pt x="1042" y="643"/>
                    </a:lnTo>
                    <a:lnTo>
                      <a:pt x="1042" y="636"/>
                    </a:lnTo>
                    <a:lnTo>
                      <a:pt x="1033" y="628"/>
                    </a:lnTo>
                    <a:lnTo>
                      <a:pt x="1024" y="638"/>
                    </a:lnTo>
                    <a:lnTo>
                      <a:pt x="1019" y="636"/>
                    </a:lnTo>
                    <a:lnTo>
                      <a:pt x="1005" y="621"/>
                    </a:lnTo>
                    <a:lnTo>
                      <a:pt x="995" y="617"/>
                    </a:lnTo>
                    <a:lnTo>
                      <a:pt x="988" y="621"/>
                    </a:lnTo>
                    <a:lnTo>
                      <a:pt x="998" y="636"/>
                    </a:lnTo>
                    <a:lnTo>
                      <a:pt x="1005" y="640"/>
                    </a:lnTo>
                    <a:lnTo>
                      <a:pt x="1005" y="659"/>
                    </a:lnTo>
                    <a:lnTo>
                      <a:pt x="1005" y="666"/>
                    </a:lnTo>
                    <a:lnTo>
                      <a:pt x="998" y="673"/>
                    </a:lnTo>
                    <a:lnTo>
                      <a:pt x="988" y="671"/>
                    </a:lnTo>
                    <a:lnTo>
                      <a:pt x="983" y="678"/>
                    </a:lnTo>
                    <a:lnTo>
                      <a:pt x="976" y="673"/>
                    </a:lnTo>
                    <a:lnTo>
                      <a:pt x="969" y="666"/>
                    </a:lnTo>
                    <a:lnTo>
                      <a:pt x="960" y="652"/>
                    </a:lnTo>
                    <a:lnTo>
                      <a:pt x="964" y="567"/>
                    </a:lnTo>
                    <a:lnTo>
                      <a:pt x="974" y="513"/>
                    </a:lnTo>
                    <a:lnTo>
                      <a:pt x="967" y="451"/>
                    </a:lnTo>
                    <a:lnTo>
                      <a:pt x="967" y="442"/>
                    </a:lnTo>
                    <a:lnTo>
                      <a:pt x="962" y="427"/>
                    </a:lnTo>
                    <a:lnTo>
                      <a:pt x="936" y="394"/>
                    </a:lnTo>
                    <a:lnTo>
                      <a:pt x="827" y="326"/>
                    </a:lnTo>
                    <a:lnTo>
                      <a:pt x="740" y="236"/>
                    </a:lnTo>
                    <a:lnTo>
                      <a:pt x="671" y="205"/>
                    </a:lnTo>
                    <a:lnTo>
                      <a:pt x="624" y="222"/>
                    </a:lnTo>
                    <a:lnTo>
                      <a:pt x="615" y="229"/>
                    </a:lnTo>
                    <a:lnTo>
                      <a:pt x="612" y="241"/>
                    </a:lnTo>
                    <a:lnTo>
                      <a:pt x="617" y="250"/>
                    </a:lnTo>
                    <a:lnTo>
                      <a:pt x="615" y="255"/>
                    </a:lnTo>
                    <a:lnTo>
                      <a:pt x="600" y="257"/>
                    </a:lnTo>
                    <a:lnTo>
                      <a:pt x="584" y="262"/>
                    </a:lnTo>
                    <a:lnTo>
                      <a:pt x="541" y="293"/>
                    </a:lnTo>
                    <a:lnTo>
                      <a:pt x="525" y="295"/>
                    </a:lnTo>
                    <a:lnTo>
                      <a:pt x="511" y="305"/>
                    </a:lnTo>
                    <a:lnTo>
                      <a:pt x="501" y="309"/>
                    </a:lnTo>
                    <a:lnTo>
                      <a:pt x="470" y="316"/>
                    </a:lnTo>
                    <a:lnTo>
                      <a:pt x="447" y="326"/>
                    </a:lnTo>
                    <a:lnTo>
                      <a:pt x="437" y="323"/>
                    </a:lnTo>
                    <a:lnTo>
                      <a:pt x="428" y="309"/>
                    </a:lnTo>
                    <a:lnTo>
                      <a:pt x="425" y="293"/>
                    </a:lnTo>
                    <a:lnTo>
                      <a:pt x="433" y="305"/>
                    </a:lnTo>
                    <a:lnTo>
                      <a:pt x="442" y="312"/>
                    </a:lnTo>
                    <a:lnTo>
                      <a:pt x="447" y="309"/>
                    </a:lnTo>
                    <a:lnTo>
                      <a:pt x="447" y="300"/>
                    </a:lnTo>
                    <a:lnTo>
                      <a:pt x="437" y="283"/>
                    </a:lnTo>
                    <a:lnTo>
                      <a:pt x="407" y="267"/>
                    </a:lnTo>
                    <a:lnTo>
                      <a:pt x="371" y="238"/>
                    </a:lnTo>
                    <a:lnTo>
                      <a:pt x="381" y="238"/>
                    </a:lnTo>
                    <a:lnTo>
                      <a:pt x="383" y="231"/>
                    </a:lnTo>
                    <a:lnTo>
                      <a:pt x="371" y="224"/>
                    </a:lnTo>
                    <a:lnTo>
                      <a:pt x="373" y="215"/>
                    </a:lnTo>
                    <a:lnTo>
                      <a:pt x="381" y="203"/>
                    </a:lnTo>
                    <a:lnTo>
                      <a:pt x="366" y="205"/>
                    </a:lnTo>
                    <a:lnTo>
                      <a:pt x="357" y="215"/>
                    </a:lnTo>
                    <a:lnTo>
                      <a:pt x="357" y="224"/>
                    </a:lnTo>
                    <a:lnTo>
                      <a:pt x="355" y="231"/>
                    </a:lnTo>
                    <a:lnTo>
                      <a:pt x="350" y="231"/>
                    </a:lnTo>
                    <a:lnTo>
                      <a:pt x="336" y="224"/>
                    </a:lnTo>
                    <a:lnTo>
                      <a:pt x="274" y="205"/>
                    </a:lnTo>
                    <a:lnTo>
                      <a:pt x="222" y="196"/>
                    </a:lnTo>
                    <a:lnTo>
                      <a:pt x="260" y="186"/>
                    </a:lnTo>
                    <a:lnTo>
                      <a:pt x="281" y="189"/>
                    </a:lnTo>
                    <a:lnTo>
                      <a:pt x="279" y="182"/>
                    </a:lnTo>
                    <a:lnTo>
                      <a:pt x="274" y="177"/>
                    </a:lnTo>
                    <a:lnTo>
                      <a:pt x="255" y="172"/>
                    </a:lnTo>
                    <a:lnTo>
                      <a:pt x="234" y="177"/>
                    </a:lnTo>
                    <a:lnTo>
                      <a:pt x="220" y="177"/>
                    </a:lnTo>
                    <a:lnTo>
                      <a:pt x="208" y="184"/>
                    </a:lnTo>
                    <a:lnTo>
                      <a:pt x="194" y="193"/>
                    </a:lnTo>
                    <a:lnTo>
                      <a:pt x="180" y="200"/>
                    </a:lnTo>
                    <a:lnTo>
                      <a:pt x="128" y="212"/>
                    </a:lnTo>
                    <a:lnTo>
                      <a:pt x="87" y="222"/>
                    </a:lnTo>
                    <a:lnTo>
                      <a:pt x="92" y="215"/>
                    </a:lnTo>
                    <a:lnTo>
                      <a:pt x="99" y="210"/>
                    </a:lnTo>
                    <a:lnTo>
                      <a:pt x="123" y="200"/>
                    </a:lnTo>
                    <a:lnTo>
                      <a:pt x="125" y="184"/>
                    </a:lnTo>
                    <a:lnTo>
                      <a:pt x="118" y="170"/>
                    </a:lnTo>
                    <a:lnTo>
                      <a:pt x="113" y="174"/>
                    </a:lnTo>
                    <a:lnTo>
                      <a:pt x="106" y="186"/>
                    </a:lnTo>
                    <a:lnTo>
                      <a:pt x="97" y="179"/>
                    </a:lnTo>
                    <a:lnTo>
                      <a:pt x="87" y="179"/>
                    </a:lnTo>
                    <a:lnTo>
                      <a:pt x="87" y="198"/>
                    </a:lnTo>
                    <a:lnTo>
                      <a:pt x="76" y="212"/>
                    </a:lnTo>
                    <a:lnTo>
                      <a:pt x="71" y="224"/>
                    </a:lnTo>
                    <a:lnTo>
                      <a:pt x="38" y="238"/>
                    </a:lnTo>
                    <a:lnTo>
                      <a:pt x="33" y="234"/>
                    </a:lnTo>
                    <a:lnTo>
                      <a:pt x="43" y="222"/>
                    </a:lnTo>
                    <a:lnTo>
                      <a:pt x="40" y="215"/>
                    </a:lnTo>
                    <a:lnTo>
                      <a:pt x="33" y="219"/>
                    </a:lnTo>
                    <a:lnTo>
                      <a:pt x="33" y="212"/>
                    </a:lnTo>
                    <a:lnTo>
                      <a:pt x="40" y="205"/>
                    </a:lnTo>
                    <a:lnTo>
                      <a:pt x="43" y="198"/>
                    </a:lnTo>
                    <a:lnTo>
                      <a:pt x="40" y="184"/>
                    </a:lnTo>
                    <a:lnTo>
                      <a:pt x="43" y="163"/>
                    </a:lnTo>
                    <a:lnTo>
                      <a:pt x="40" y="156"/>
                    </a:lnTo>
                    <a:lnTo>
                      <a:pt x="9" y="132"/>
                    </a:lnTo>
                    <a:lnTo>
                      <a:pt x="2" y="120"/>
                    </a:lnTo>
                    <a:lnTo>
                      <a:pt x="0" y="106"/>
                    </a:lnTo>
                    <a:lnTo>
                      <a:pt x="2" y="89"/>
                    </a:lnTo>
                    <a:lnTo>
                      <a:pt x="59" y="85"/>
                    </a:lnTo>
                    <a:lnTo>
                      <a:pt x="118" y="78"/>
                    </a:lnTo>
                    <a:lnTo>
                      <a:pt x="177" y="73"/>
                    </a:lnTo>
                    <a:lnTo>
                      <a:pt x="236" y="66"/>
                    </a:lnTo>
                    <a:lnTo>
                      <a:pt x="295" y="61"/>
                    </a:lnTo>
                    <a:lnTo>
                      <a:pt x="355" y="54"/>
                    </a:lnTo>
                    <a:lnTo>
                      <a:pt x="411" y="47"/>
                    </a:lnTo>
                    <a:lnTo>
                      <a:pt x="470" y="40"/>
                    </a:lnTo>
                    <a:lnTo>
                      <a:pt x="480" y="56"/>
                    </a:lnTo>
                    <a:lnTo>
                      <a:pt x="499" y="87"/>
                    </a:lnTo>
                    <a:lnTo>
                      <a:pt x="501" y="96"/>
                    </a:lnTo>
                    <a:lnTo>
                      <a:pt x="518" y="94"/>
                    </a:lnTo>
                    <a:lnTo>
                      <a:pt x="546" y="94"/>
                    </a:lnTo>
                    <a:lnTo>
                      <a:pt x="577" y="92"/>
                    </a:lnTo>
                    <a:lnTo>
                      <a:pt x="605" y="89"/>
                    </a:lnTo>
                    <a:lnTo>
                      <a:pt x="634" y="87"/>
                    </a:lnTo>
                    <a:lnTo>
                      <a:pt x="664" y="87"/>
                    </a:lnTo>
                    <a:lnTo>
                      <a:pt x="693" y="85"/>
                    </a:lnTo>
                    <a:lnTo>
                      <a:pt x="721" y="82"/>
                    </a:lnTo>
                    <a:lnTo>
                      <a:pt x="752" y="80"/>
                    </a:lnTo>
                    <a:lnTo>
                      <a:pt x="780" y="78"/>
                    </a:lnTo>
                    <a:lnTo>
                      <a:pt x="811" y="75"/>
                    </a:lnTo>
                    <a:lnTo>
                      <a:pt x="839" y="73"/>
                    </a:lnTo>
                    <a:lnTo>
                      <a:pt x="868" y="73"/>
                    </a:lnTo>
                    <a:lnTo>
                      <a:pt x="898" y="70"/>
                    </a:lnTo>
                    <a:lnTo>
                      <a:pt x="927" y="68"/>
                    </a:lnTo>
                    <a:lnTo>
                      <a:pt x="955" y="66"/>
                    </a:lnTo>
                    <a:lnTo>
                      <a:pt x="986" y="63"/>
                    </a:lnTo>
                    <a:lnTo>
                      <a:pt x="986" y="68"/>
                    </a:lnTo>
                    <a:lnTo>
                      <a:pt x="993" y="80"/>
                    </a:lnTo>
                    <a:lnTo>
                      <a:pt x="995" y="92"/>
                    </a:lnTo>
                    <a:lnTo>
                      <a:pt x="1000" y="96"/>
                    </a:lnTo>
                    <a:lnTo>
                      <a:pt x="1005" y="99"/>
                    </a:lnTo>
                    <a:lnTo>
                      <a:pt x="1014" y="99"/>
                    </a:lnTo>
                    <a:lnTo>
                      <a:pt x="1024" y="92"/>
                    </a:lnTo>
                    <a:lnTo>
                      <a:pt x="1026" y="75"/>
                    </a:lnTo>
                    <a:lnTo>
                      <a:pt x="1026" y="56"/>
                    </a:lnTo>
                    <a:lnTo>
                      <a:pt x="1019" y="37"/>
                    </a:lnTo>
                    <a:lnTo>
                      <a:pt x="1016" y="21"/>
                    </a:lnTo>
                    <a:lnTo>
                      <a:pt x="1019" y="11"/>
                    </a:lnTo>
                    <a:lnTo>
                      <a:pt x="1024" y="9"/>
                    </a:lnTo>
                    <a:lnTo>
                      <a:pt x="1028" y="2"/>
                    </a:lnTo>
                    <a:lnTo>
                      <a:pt x="1033" y="0"/>
                    </a:lnTo>
                    <a:lnTo>
                      <a:pt x="1042" y="2"/>
                    </a:lnTo>
                    <a:lnTo>
                      <a:pt x="1083" y="9"/>
                    </a:lnTo>
                    <a:lnTo>
                      <a:pt x="1113" y="7"/>
                    </a:lnTo>
                    <a:close/>
                    <a:moveTo>
                      <a:pt x="525" y="323"/>
                    </a:moveTo>
                    <a:lnTo>
                      <a:pt x="508" y="333"/>
                    </a:lnTo>
                    <a:lnTo>
                      <a:pt x="487" y="331"/>
                    </a:lnTo>
                    <a:lnTo>
                      <a:pt x="499" y="328"/>
                    </a:lnTo>
                    <a:lnTo>
                      <a:pt x="508" y="328"/>
                    </a:lnTo>
                    <a:lnTo>
                      <a:pt x="529" y="316"/>
                    </a:lnTo>
                    <a:lnTo>
                      <a:pt x="541" y="305"/>
                    </a:lnTo>
                    <a:lnTo>
                      <a:pt x="553" y="300"/>
                    </a:lnTo>
                    <a:lnTo>
                      <a:pt x="525" y="323"/>
                    </a:lnTo>
                    <a:close/>
                    <a:moveTo>
                      <a:pt x="1480" y="690"/>
                    </a:moveTo>
                    <a:lnTo>
                      <a:pt x="1484" y="706"/>
                    </a:lnTo>
                    <a:lnTo>
                      <a:pt x="1461" y="673"/>
                    </a:lnTo>
                    <a:lnTo>
                      <a:pt x="1430" y="619"/>
                    </a:lnTo>
                    <a:lnTo>
                      <a:pt x="1411" y="579"/>
                    </a:lnTo>
                    <a:lnTo>
                      <a:pt x="1421" y="588"/>
                    </a:lnTo>
                    <a:lnTo>
                      <a:pt x="1432" y="612"/>
                    </a:lnTo>
                    <a:lnTo>
                      <a:pt x="1480" y="690"/>
                    </a:lnTo>
                    <a:close/>
                    <a:moveTo>
                      <a:pt x="1144" y="903"/>
                    </a:moveTo>
                    <a:lnTo>
                      <a:pt x="1146" y="917"/>
                    </a:lnTo>
                    <a:lnTo>
                      <a:pt x="1132" y="898"/>
                    </a:lnTo>
                    <a:lnTo>
                      <a:pt x="1123" y="874"/>
                    </a:lnTo>
                    <a:lnTo>
                      <a:pt x="1135" y="881"/>
                    </a:lnTo>
                    <a:lnTo>
                      <a:pt x="1144" y="903"/>
                    </a:lnTo>
                    <a:close/>
                    <a:moveTo>
                      <a:pt x="1156" y="924"/>
                    </a:moveTo>
                    <a:lnTo>
                      <a:pt x="1151" y="931"/>
                    </a:lnTo>
                    <a:lnTo>
                      <a:pt x="1137" y="929"/>
                    </a:lnTo>
                    <a:lnTo>
                      <a:pt x="1128" y="922"/>
                    </a:lnTo>
                    <a:lnTo>
                      <a:pt x="1123" y="907"/>
                    </a:lnTo>
                    <a:lnTo>
                      <a:pt x="1137" y="922"/>
                    </a:lnTo>
                    <a:lnTo>
                      <a:pt x="1142" y="924"/>
                    </a:lnTo>
                    <a:lnTo>
                      <a:pt x="1156" y="924"/>
                    </a:lnTo>
                    <a:close/>
                    <a:moveTo>
                      <a:pt x="1520" y="1149"/>
                    </a:moveTo>
                    <a:lnTo>
                      <a:pt x="1489" y="1196"/>
                    </a:lnTo>
                    <a:lnTo>
                      <a:pt x="1492" y="1186"/>
                    </a:lnTo>
                    <a:lnTo>
                      <a:pt x="1503" y="1160"/>
                    </a:lnTo>
                    <a:lnTo>
                      <a:pt x="1506" y="1151"/>
                    </a:lnTo>
                    <a:lnTo>
                      <a:pt x="1515" y="1142"/>
                    </a:lnTo>
                    <a:lnTo>
                      <a:pt x="1522" y="1130"/>
                    </a:lnTo>
                    <a:lnTo>
                      <a:pt x="1520" y="1116"/>
                    </a:lnTo>
                    <a:lnTo>
                      <a:pt x="1532" y="1104"/>
                    </a:lnTo>
                    <a:lnTo>
                      <a:pt x="1536" y="1101"/>
                    </a:lnTo>
                    <a:lnTo>
                      <a:pt x="1520" y="1149"/>
                    </a:lnTo>
                    <a:close/>
                    <a:moveTo>
                      <a:pt x="1480" y="1210"/>
                    </a:moveTo>
                    <a:lnTo>
                      <a:pt x="1475" y="1210"/>
                    </a:lnTo>
                    <a:lnTo>
                      <a:pt x="1480" y="1201"/>
                    </a:lnTo>
                    <a:lnTo>
                      <a:pt x="1482" y="1201"/>
                    </a:lnTo>
                    <a:lnTo>
                      <a:pt x="1480" y="1210"/>
                    </a:lnTo>
                    <a:close/>
                    <a:moveTo>
                      <a:pt x="1447" y="1236"/>
                    </a:moveTo>
                    <a:lnTo>
                      <a:pt x="1442" y="1236"/>
                    </a:lnTo>
                    <a:lnTo>
                      <a:pt x="1444" y="1234"/>
                    </a:lnTo>
                    <a:lnTo>
                      <a:pt x="1451" y="1227"/>
                    </a:lnTo>
                    <a:lnTo>
                      <a:pt x="1454" y="1229"/>
                    </a:lnTo>
                    <a:lnTo>
                      <a:pt x="1454" y="1231"/>
                    </a:lnTo>
                    <a:lnTo>
                      <a:pt x="1447" y="1236"/>
                    </a:lnTo>
                    <a:close/>
                    <a:moveTo>
                      <a:pt x="1406" y="1262"/>
                    </a:moveTo>
                    <a:lnTo>
                      <a:pt x="1399" y="1269"/>
                    </a:lnTo>
                    <a:lnTo>
                      <a:pt x="1390" y="1267"/>
                    </a:lnTo>
                    <a:lnTo>
                      <a:pt x="1399" y="1260"/>
                    </a:lnTo>
                    <a:lnTo>
                      <a:pt x="1428" y="1250"/>
                    </a:lnTo>
                    <a:lnTo>
                      <a:pt x="1418" y="1257"/>
                    </a:lnTo>
                    <a:lnTo>
                      <a:pt x="1406" y="1262"/>
                    </a:lnTo>
                    <a:close/>
                    <a:moveTo>
                      <a:pt x="1352" y="1286"/>
                    </a:moveTo>
                    <a:lnTo>
                      <a:pt x="1347" y="1291"/>
                    </a:lnTo>
                    <a:lnTo>
                      <a:pt x="1345" y="1291"/>
                    </a:lnTo>
                    <a:lnTo>
                      <a:pt x="1345" y="1283"/>
                    </a:lnTo>
                    <a:lnTo>
                      <a:pt x="1333" y="1272"/>
                    </a:lnTo>
                    <a:lnTo>
                      <a:pt x="1333" y="1267"/>
                    </a:lnTo>
                    <a:lnTo>
                      <a:pt x="1354" y="1279"/>
                    </a:lnTo>
                    <a:lnTo>
                      <a:pt x="1354" y="1281"/>
                    </a:lnTo>
                    <a:lnTo>
                      <a:pt x="1352" y="1286"/>
                    </a:lnTo>
                    <a:close/>
                    <a:moveTo>
                      <a:pt x="1310" y="1305"/>
                    </a:moveTo>
                    <a:lnTo>
                      <a:pt x="1298" y="1307"/>
                    </a:lnTo>
                    <a:lnTo>
                      <a:pt x="1307" y="1298"/>
                    </a:lnTo>
                    <a:lnTo>
                      <a:pt x="1307" y="1283"/>
                    </a:lnTo>
                    <a:lnTo>
                      <a:pt x="1314" y="1293"/>
                    </a:lnTo>
                    <a:lnTo>
                      <a:pt x="1317" y="1300"/>
                    </a:lnTo>
                    <a:lnTo>
                      <a:pt x="1310" y="1305"/>
                    </a:lnTo>
                    <a:close/>
                    <a:moveTo>
                      <a:pt x="1269" y="1321"/>
                    </a:moveTo>
                    <a:lnTo>
                      <a:pt x="1265" y="1324"/>
                    </a:lnTo>
                    <a:lnTo>
                      <a:pt x="1262" y="1321"/>
                    </a:lnTo>
                    <a:lnTo>
                      <a:pt x="1272" y="1314"/>
                    </a:lnTo>
                    <a:lnTo>
                      <a:pt x="1276" y="1314"/>
                    </a:lnTo>
                    <a:lnTo>
                      <a:pt x="1276" y="1319"/>
                    </a:lnTo>
                    <a:lnTo>
                      <a:pt x="1269" y="1321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995" name="Freeform 52">
                <a:extLst>
                  <a:ext uri="{FF2B5EF4-FFF2-40B4-BE49-F238E27FC236}">
                    <a16:creationId xmlns:a16="http://schemas.microsoft.com/office/drawing/2014/main" id="{F9BC0AAF-495A-7B6A-847B-5353C673A7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03" y="2003"/>
                <a:ext cx="917" cy="941"/>
              </a:xfrm>
              <a:custGeom>
                <a:avLst/>
                <a:gdLst>
                  <a:gd name="T0" fmla="*/ 891 w 917"/>
                  <a:gd name="T1" fmla="*/ 593 h 941"/>
                  <a:gd name="T2" fmla="*/ 884 w 917"/>
                  <a:gd name="T3" fmla="*/ 605 h 941"/>
                  <a:gd name="T4" fmla="*/ 886 w 917"/>
                  <a:gd name="T5" fmla="*/ 624 h 941"/>
                  <a:gd name="T6" fmla="*/ 874 w 917"/>
                  <a:gd name="T7" fmla="*/ 643 h 941"/>
                  <a:gd name="T8" fmla="*/ 867 w 917"/>
                  <a:gd name="T9" fmla="*/ 664 h 941"/>
                  <a:gd name="T10" fmla="*/ 877 w 917"/>
                  <a:gd name="T11" fmla="*/ 671 h 941"/>
                  <a:gd name="T12" fmla="*/ 870 w 917"/>
                  <a:gd name="T13" fmla="*/ 695 h 941"/>
                  <a:gd name="T14" fmla="*/ 851 w 917"/>
                  <a:gd name="T15" fmla="*/ 719 h 941"/>
                  <a:gd name="T16" fmla="*/ 858 w 917"/>
                  <a:gd name="T17" fmla="*/ 752 h 941"/>
                  <a:gd name="T18" fmla="*/ 844 w 917"/>
                  <a:gd name="T19" fmla="*/ 763 h 941"/>
                  <a:gd name="T20" fmla="*/ 844 w 917"/>
                  <a:gd name="T21" fmla="*/ 811 h 941"/>
                  <a:gd name="T22" fmla="*/ 848 w 917"/>
                  <a:gd name="T23" fmla="*/ 849 h 941"/>
                  <a:gd name="T24" fmla="*/ 768 w 917"/>
                  <a:gd name="T25" fmla="*/ 842 h 941"/>
                  <a:gd name="T26" fmla="*/ 756 w 917"/>
                  <a:gd name="T27" fmla="*/ 853 h 941"/>
                  <a:gd name="T28" fmla="*/ 761 w 917"/>
                  <a:gd name="T29" fmla="*/ 898 h 941"/>
                  <a:gd name="T30" fmla="*/ 751 w 917"/>
                  <a:gd name="T31" fmla="*/ 941 h 941"/>
                  <a:gd name="T32" fmla="*/ 733 w 917"/>
                  <a:gd name="T33" fmla="*/ 934 h 941"/>
                  <a:gd name="T34" fmla="*/ 721 w 917"/>
                  <a:gd name="T35" fmla="*/ 905 h 941"/>
                  <a:gd name="T36" fmla="*/ 633 w 917"/>
                  <a:gd name="T37" fmla="*/ 912 h 941"/>
                  <a:gd name="T38" fmla="*/ 546 w 917"/>
                  <a:gd name="T39" fmla="*/ 917 h 941"/>
                  <a:gd name="T40" fmla="*/ 458 w 917"/>
                  <a:gd name="T41" fmla="*/ 924 h 941"/>
                  <a:gd name="T42" fmla="*/ 371 w 917"/>
                  <a:gd name="T43" fmla="*/ 929 h 941"/>
                  <a:gd name="T44" fmla="*/ 283 w 917"/>
                  <a:gd name="T45" fmla="*/ 936 h 941"/>
                  <a:gd name="T46" fmla="*/ 234 w 917"/>
                  <a:gd name="T47" fmla="*/ 929 h 941"/>
                  <a:gd name="T48" fmla="*/ 194 w 917"/>
                  <a:gd name="T49" fmla="*/ 858 h 941"/>
                  <a:gd name="T50" fmla="*/ 179 w 917"/>
                  <a:gd name="T51" fmla="*/ 749 h 941"/>
                  <a:gd name="T52" fmla="*/ 163 w 917"/>
                  <a:gd name="T53" fmla="*/ 700 h 941"/>
                  <a:gd name="T54" fmla="*/ 172 w 917"/>
                  <a:gd name="T55" fmla="*/ 641 h 941"/>
                  <a:gd name="T56" fmla="*/ 189 w 917"/>
                  <a:gd name="T57" fmla="*/ 610 h 941"/>
                  <a:gd name="T58" fmla="*/ 177 w 917"/>
                  <a:gd name="T59" fmla="*/ 586 h 941"/>
                  <a:gd name="T60" fmla="*/ 130 w 917"/>
                  <a:gd name="T61" fmla="*/ 487 h 941"/>
                  <a:gd name="T62" fmla="*/ 106 w 917"/>
                  <a:gd name="T63" fmla="*/ 423 h 941"/>
                  <a:gd name="T64" fmla="*/ 82 w 917"/>
                  <a:gd name="T65" fmla="*/ 345 h 941"/>
                  <a:gd name="T66" fmla="*/ 61 w 917"/>
                  <a:gd name="T67" fmla="*/ 265 h 941"/>
                  <a:gd name="T68" fmla="*/ 38 w 917"/>
                  <a:gd name="T69" fmla="*/ 187 h 941"/>
                  <a:gd name="T70" fmla="*/ 14 w 917"/>
                  <a:gd name="T71" fmla="*/ 109 h 941"/>
                  <a:gd name="T72" fmla="*/ 54 w 917"/>
                  <a:gd name="T73" fmla="*/ 49 h 941"/>
                  <a:gd name="T74" fmla="*/ 222 w 917"/>
                  <a:gd name="T75" fmla="*/ 30 h 941"/>
                  <a:gd name="T76" fmla="*/ 378 w 917"/>
                  <a:gd name="T77" fmla="*/ 9 h 941"/>
                  <a:gd name="T78" fmla="*/ 423 w 917"/>
                  <a:gd name="T79" fmla="*/ 16 h 941"/>
                  <a:gd name="T80" fmla="*/ 432 w 917"/>
                  <a:gd name="T81" fmla="*/ 85 h 941"/>
                  <a:gd name="T82" fmla="*/ 470 w 917"/>
                  <a:gd name="T83" fmla="*/ 106 h 941"/>
                  <a:gd name="T84" fmla="*/ 501 w 917"/>
                  <a:gd name="T85" fmla="*/ 125 h 941"/>
                  <a:gd name="T86" fmla="*/ 551 w 917"/>
                  <a:gd name="T87" fmla="*/ 194 h 941"/>
                  <a:gd name="T88" fmla="*/ 629 w 917"/>
                  <a:gd name="T89" fmla="*/ 255 h 941"/>
                  <a:gd name="T90" fmla="*/ 685 w 917"/>
                  <a:gd name="T91" fmla="*/ 305 h 941"/>
                  <a:gd name="T92" fmla="*/ 709 w 917"/>
                  <a:gd name="T93" fmla="*/ 326 h 941"/>
                  <a:gd name="T94" fmla="*/ 759 w 917"/>
                  <a:gd name="T95" fmla="*/ 364 h 941"/>
                  <a:gd name="T96" fmla="*/ 808 w 917"/>
                  <a:gd name="T97" fmla="*/ 454 h 941"/>
                  <a:gd name="T98" fmla="*/ 863 w 917"/>
                  <a:gd name="T99" fmla="*/ 515 h 941"/>
                  <a:gd name="T100" fmla="*/ 917 w 917"/>
                  <a:gd name="T101" fmla="*/ 558 h 941"/>
                  <a:gd name="T102" fmla="*/ 851 w 917"/>
                  <a:gd name="T103" fmla="*/ 830 h 941"/>
                  <a:gd name="T104" fmla="*/ 855 w 917"/>
                  <a:gd name="T105" fmla="*/ 797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17" h="941">
                    <a:moveTo>
                      <a:pt x="917" y="558"/>
                    </a:moveTo>
                    <a:lnTo>
                      <a:pt x="912" y="579"/>
                    </a:lnTo>
                    <a:lnTo>
                      <a:pt x="891" y="593"/>
                    </a:lnTo>
                    <a:lnTo>
                      <a:pt x="884" y="593"/>
                    </a:lnTo>
                    <a:lnTo>
                      <a:pt x="879" y="598"/>
                    </a:lnTo>
                    <a:lnTo>
                      <a:pt x="884" y="605"/>
                    </a:lnTo>
                    <a:lnTo>
                      <a:pt x="891" y="610"/>
                    </a:lnTo>
                    <a:lnTo>
                      <a:pt x="891" y="615"/>
                    </a:lnTo>
                    <a:lnTo>
                      <a:pt x="886" y="624"/>
                    </a:lnTo>
                    <a:lnTo>
                      <a:pt x="874" y="626"/>
                    </a:lnTo>
                    <a:lnTo>
                      <a:pt x="870" y="636"/>
                    </a:lnTo>
                    <a:lnTo>
                      <a:pt x="874" y="643"/>
                    </a:lnTo>
                    <a:lnTo>
                      <a:pt x="879" y="648"/>
                    </a:lnTo>
                    <a:lnTo>
                      <a:pt x="879" y="655"/>
                    </a:lnTo>
                    <a:lnTo>
                      <a:pt x="867" y="664"/>
                    </a:lnTo>
                    <a:lnTo>
                      <a:pt x="865" y="674"/>
                    </a:lnTo>
                    <a:lnTo>
                      <a:pt x="872" y="674"/>
                    </a:lnTo>
                    <a:lnTo>
                      <a:pt x="877" y="671"/>
                    </a:lnTo>
                    <a:lnTo>
                      <a:pt x="881" y="671"/>
                    </a:lnTo>
                    <a:lnTo>
                      <a:pt x="874" y="685"/>
                    </a:lnTo>
                    <a:lnTo>
                      <a:pt x="870" y="695"/>
                    </a:lnTo>
                    <a:lnTo>
                      <a:pt x="865" y="709"/>
                    </a:lnTo>
                    <a:lnTo>
                      <a:pt x="851" y="714"/>
                    </a:lnTo>
                    <a:lnTo>
                      <a:pt x="851" y="719"/>
                    </a:lnTo>
                    <a:lnTo>
                      <a:pt x="860" y="721"/>
                    </a:lnTo>
                    <a:lnTo>
                      <a:pt x="870" y="730"/>
                    </a:lnTo>
                    <a:lnTo>
                      <a:pt x="858" y="752"/>
                    </a:lnTo>
                    <a:lnTo>
                      <a:pt x="851" y="752"/>
                    </a:lnTo>
                    <a:lnTo>
                      <a:pt x="844" y="749"/>
                    </a:lnTo>
                    <a:lnTo>
                      <a:pt x="844" y="763"/>
                    </a:lnTo>
                    <a:lnTo>
                      <a:pt x="846" y="773"/>
                    </a:lnTo>
                    <a:lnTo>
                      <a:pt x="846" y="789"/>
                    </a:lnTo>
                    <a:lnTo>
                      <a:pt x="844" y="811"/>
                    </a:lnTo>
                    <a:lnTo>
                      <a:pt x="841" y="820"/>
                    </a:lnTo>
                    <a:lnTo>
                      <a:pt x="844" y="834"/>
                    </a:lnTo>
                    <a:lnTo>
                      <a:pt x="848" y="849"/>
                    </a:lnTo>
                    <a:lnTo>
                      <a:pt x="818" y="851"/>
                    </a:lnTo>
                    <a:lnTo>
                      <a:pt x="777" y="844"/>
                    </a:lnTo>
                    <a:lnTo>
                      <a:pt x="768" y="842"/>
                    </a:lnTo>
                    <a:lnTo>
                      <a:pt x="763" y="844"/>
                    </a:lnTo>
                    <a:lnTo>
                      <a:pt x="761" y="851"/>
                    </a:lnTo>
                    <a:lnTo>
                      <a:pt x="756" y="853"/>
                    </a:lnTo>
                    <a:lnTo>
                      <a:pt x="751" y="863"/>
                    </a:lnTo>
                    <a:lnTo>
                      <a:pt x="754" y="879"/>
                    </a:lnTo>
                    <a:lnTo>
                      <a:pt x="761" y="898"/>
                    </a:lnTo>
                    <a:lnTo>
                      <a:pt x="761" y="917"/>
                    </a:lnTo>
                    <a:lnTo>
                      <a:pt x="759" y="934"/>
                    </a:lnTo>
                    <a:lnTo>
                      <a:pt x="751" y="941"/>
                    </a:lnTo>
                    <a:lnTo>
                      <a:pt x="742" y="941"/>
                    </a:lnTo>
                    <a:lnTo>
                      <a:pt x="735" y="938"/>
                    </a:lnTo>
                    <a:lnTo>
                      <a:pt x="733" y="934"/>
                    </a:lnTo>
                    <a:lnTo>
                      <a:pt x="728" y="922"/>
                    </a:lnTo>
                    <a:lnTo>
                      <a:pt x="723" y="910"/>
                    </a:lnTo>
                    <a:lnTo>
                      <a:pt x="721" y="905"/>
                    </a:lnTo>
                    <a:lnTo>
                      <a:pt x="692" y="908"/>
                    </a:lnTo>
                    <a:lnTo>
                      <a:pt x="662" y="910"/>
                    </a:lnTo>
                    <a:lnTo>
                      <a:pt x="633" y="912"/>
                    </a:lnTo>
                    <a:lnTo>
                      <a:pt x="605" y="915"/>
                    </a:lnTo>
                    <a:lnTo>
                      <a:pt x="574" y="917"/>
                    </a:lnTo>
                    <a:lnTo>
                      <a:pt x="546" y="917"/>
                    </a:lnTo>
                    <a:lnTo>
                      <a:pt x="517" y="920"/>
                    </a:lnTo>
                    <a:lnTo>
                      <a:pt x="487" y="922"/>
                    </a:lnTo>
                    <a:lnTo>
                      <a:pt x="458" y="924"/>
                    </a:lnTo>
                    <a:lnTo>
                      <a:pt x="430" y="927"/>
                    </a:lnTo>
                    <a:lnTo>
                      <a:pt x="399" y="929"/>
                    </a:lnTo>
                    <a:lnTo>
                      <a:pt x="371" y="929"/>
                    </a:lnTo>
                    <a:lnTo>
                      <a:pt x="340" y="931"/>
                    </a:lnTo>
                    <a:lnTo>
                      <a:pt x="312" y="934"/>
                    </a:lnTo>
                    <a:lnTo>
                      <a:pt x="283" y="936"/>
                    </a:lnTo>
                    <a:lnTo>
                      <a:pt x="253" y="936"/>
                    </a:lnTo>
                    <a:lnTo>
                      <a:pt x="236" y="938"/>
                    </a:lnTo>
                    <a:lnTo>
                      <a:pt x="234" y="929"/>
                    </a:lnTo>
                    <a:lnTo>
                      <a:pt x="217" y="898"/>
                    </a:lnTo>
                    <a:lnTo>
                      <a:pt x="208" y="882"/>
                    </a:lnTo>
                    <a:lnTo>
                      <a:pt x="194" y="858"/>
                    </a:lnTo>
                    <a:lnTo>
                      <a:pt x="184" y="823"/>
                    </a:lnTo>
                    <a:lnTo>
                      <a:pt x="184" y="763"/>
                    </a:lnTo>
                    <a:lnTo>
                      <a:pt x="179" y="749"/>
                    </a:lnTo>
                    <a:lnTo>
                      <a:pt x="179" y="749"/>
                    </a:lnTo>
                    <a:lnTo>
                      <a:pt x="165" y="721"/>
                    </a:lnTo>
                    <a:lnTo>
                      <a:pt x="163" y="700"/>
                    </a:lnTo>
                    <a:lnTo>
                      <a:pt x="170" y="662"/>
                    </a:lnTo>
                    <a:lnTo>
                      <a:pt x="170" y="662"/>
                    </a:lnTo>
                    <a:lnTo>
                      <a:pt x="172" y="641"/>
                    </a:lnTo>
                    <a:lnTo>
                      <a:pt x="179" y="629"/>
                    </a:lnTo>
                    <a:lnTo>
                      <a:pt x="189" y="619"/>
                    </a:lnTo>
                    <a:lnTo>
                      <a:pt x="189" y="610"/>
                    </a:lnTo>
                    <a:lnTo>
                      <a:pt x="179" y="603"/>
                    </a:lnTo>
                    <a:lnTo>
                      <a:pt x="177" y="596"/>
                    </a:lnTo>
                    <a:lnTo>
                      <a:pt x="177" y="586"/>
                    </a:lnTo>
                    <a:lnTo>
                      <a:pt x="168" y="562"/>
                    </a:lnTo>
                    <a:lnTo>
                      <a:pt x="134" y="506"/>
                    </a:lnTo>
                    <a:lnTo>
                      <a:pt x="130" y="487"/>
                    </a:lnTo>
                    <a:lnTo>
                      <a:pt x="123" y="475"/>
                    </a:lnTo>
                    <a:lnTo>
                      <a:pt x="116" y="449"/>
                    </a:lnTo>
                    <a:lnTo>
                      <a:pt x="106" y="423"/>
                    </a:lnTo>
                    <a:lnTo>
                      <a:pt x="99" y="397"/>
                    </a:lnTo>
                    <a:lnTo>
                      <a:pt x="92" y="371"/>
                    </a:lnTo>
                    <a:lnTo>
                      <a:pt x="82" y="345"/>
                    </a:lnTo>
                    <a:lnTo>
                      <a:pt x="75" y="319"/>
                    </a:lnTo>
                    <a:lnTo>
                      <a:pt x="68" y="293"/>
                    </a:lnTo>
                    <a:lnTo>
                      <a:pt x="61" y="265"/>
                    </a:lnTo>
                    <a:lnTo>
                      <a:pt x="52" y="239"/>
                    </a:lnTo>
                    <a:lnTo>
                      <a:pt x="45" y="213"/>
                    </a:lnTo>
                    <a:lnTo>
                      <a:pt x="38" y="187"/>
                    </a:lnTo>
                    <a:lnTo>
                      <a:pt x="30" y="161"/>
                    </a:lnTo>
                    <a:lnTo>
                      <a:pt x="21" y="135"/>
                    </a:lnTo>
                    <a:lnTo>
                      <a:pt x="14" y="109"/>
                    </a:lnTo>
                    <a:lnTo>
                      <a:pt x="7" y="82"/>
                    </a:lnTo>
                    <a:lnTo>
                      <a:pt x="0" y="56"/>
                    </a:lnTo>
                    <a:lnTo>
                      <a:pt x="54" y="49"/>
                    </a:lnTo>
                    <a:lnTo>
                      <a:pt x="111" y="45"/>
                    </a:lnTo>
                    <a:lnTo>
                      <a:pt x="168" y="38"/>
                    </a:lnTo>
                    <a:lnTo>
                      <a:pt x="222" y="30"/>
                    </a:lnTo>
                    <a:lnTo>
                      <a:pt x="274" y="23"/>
                    </a:lnTo>
                    <a:lnTo>
                      <a:pt x="326" y="16"/>
                    </a:lnTo>
                    <a:lnTo>
                      <a:pt x="378" y="9"/>
                    </a:lnTo>
                    <a:lnTo>
                      <a:pt x="430" y="0"/>
                    </a:lnTo>
                    <a:lnTo>
                      <a:pt x="430" y="0"/>
                    </a:lnTo>
                    <a:lnTo>
                      <a:pt x="423" y="16"/>
                    </a:lnTo>
                    <a:lnTo>
                      <a:pt x="402" y="47"/>
                    </a:lnTo>
                    <a:lnTo>
                      <a:pt x="397" y="68"/>
                    </a:lnTo>
                    <a:lnTo>
                      <a:pt x="432" y="85"/>
                    </a:lnTo>
                    <a:lnTo>
                      <a:pt x="432" y="85"/>
                    </a:lnTo>
                    <a:lnTo>
                      <a:pt x="456" y="101"/>
                    </a:lnTo>
                    <a:lnTo>
                      <a:pt x="470" y="106"/>
                    </a:lnTo>
                    <a:lnTo>
                      <a:pt x="484" y="106"/>
                    </a:lnTo>
                    <a:lnTo>
                      <a:pt x="494" y="111"/>
                    </a:lnTo>
                    <a:lnTo>
                      <a:pt x="501" y="125"/>
                    </a:lnTo>
                    <a:lnTo>
                      <a:pt x="501" y="125"/>
                    </a:lnTo>
                    <a:lnTo>
                      <a:pt x="551" y="194"/>
                    </a:lnTo>
                    <a:lnTo>
                      <a:pt x="551" y="194"/>
                    </a:lnTo>
                    <a:lnTo>
                      <a:pt x="598" y="224"/>
                    </a:lnTo>
                    <a:lnTo>
                      <a:pt x="617" y="239"/>
                    </a:lnTo>
                    <a:lnTo>
                      <a:pt x="629" y="255"/>
                    </a:lnTo>
                    <a:lnTo>
                      <a:pt x="669" y="281"/>
                    </a:lnTo>
                    <a:lnTo>
                      <a:pt x="683" y="293"/>
                    </a:lnTo>
                    <a:lnTo>
                      <a:pt x="685" y="305"/>
                    </a:lnTo>
                    <a:lnTo>
                      <a:pt x="690" y="314"/>
                    </a:lnTo>
                    <a:lnTo>
                      <a:pt x="699" y="317"/>
                    </a:lnTo>
                    <a:lnTo>
                      <a:pt x="709" y="326"/>
                    </a:lnTo>
                    <a:lnTo>
                      <a:pt x="718" y="343"/>
                    </a:lnTo>
                    <a:lnTo>
                      <a:pt x="735" y="354"/>
                    </a:lnTo>
                    <a:lnTo>
                      <a:pt x="759" y="364"/>
                    </a:lnTo>
                    <a:lnTo>
                      <a:pt x="777" y="388"/>
                    </a:lnTo>
                    <a:lnTo>
                      <a:pt x="794" y="430"/>
                    </a:lnTo>
                    <a:lnTo>
                      <a:pt x="808" y="454"/>
                    </a:lnTo>
                    <a:lnTo>
                      <a:pt x="825" y="461"/>
                    </a:lnTo>
                    <a:lnTo>
                      <a:pt x="853" y="494"/>
                    </a:lnTo>
                    <a:lnTo>
                      <a:pt x="863" y="515"/>
                    </a:lnTo>
                    <a:lnTo>
                      <a:pt x="865" y="534"/>
                    </a:lnTo>
                    <a:lnTo>
                      <a:pt x="879" y="548"/>
                    </a:lnTo>
                    <a:lnTo>
                      <a:pt x="917" y="558"/>
                    </a:lnTo>
                    <a:close/>
                    <a:moveTo>
                      <a:pt x="855" y="797"/>
                    </a:moveTo>
                    <a:lnTo>
                      <a:pt x="855" y="849"/>
                    </a:lnTo>
                    <a:lnTo>
                      <a:pt x="851" y="830"/>
                    </a:lnTo>
                    <a:lnTo>
                      <a:pt x="846" y="813"/>
                    </a:lnTo>
                    <a:lnTo>
                      <a:pt x="851" y="801"/>
                    </a:lnTo>
                    <a:lnTo>
                      <a:pt x="855" y="79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996" name="Freeform 53">
                <a:extLst>
                  <a:ext uri="{FF2B5EF4-FFF2-40B4-BE49-F238E27FC236}">
                    <a16:creationId xmlns:a16="http://schemas.microsoft.com/office/drawing/2014/main" id="{D29F3606-5989-E447-68BB-42102672A7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55" y="4081"/>
                <a:ext cx="357" cy="709"/>
              </a:xfrm>
              <a:custGeom>
                <a:avLst/>
                <a:gdLst>
                  <a:gd name="T0" fmla="*/ 80 w 357"/>
                  <a:gd name="T1" fmla="*/ 62 h 709"/>
                  <a:gd name="T2" fmla="*/ 64 w 357"/>
                  <a:gd name="T3" fmla="*/ 33 h 709"/>
                  <a:gd name="T4" fmla="*/ 101 w 357"/>
                  <a:gd name="T5" fmla="*/ 24 h 709"/>
                  <a:gd name="T6" fmla="*/ 118 w 357"/>
                  <a:gd name="T7" fmla="*/ 59 h 709"/>
                  <a:gd name="T8" fmla="*/ 97 w 357"/>
                  <a:gd name="T9" fmla="*/ 71 h 709"/>
                  <a:gd name="T10" fmla="*/ 0 w 357"/>
                  <a:gd name="T11" fmla="*/ 12 h 709"/>
                  <a:gd name="T12" fmla="*/ 19 w 357"/>
                  <a:gd name="T13" fmla="*/ 2 h 709"/>
                  <a:gd name="T14" fmla="*/ 30 w 357"/>
                  <a:gd name="T15" fmla="*/ 10 h 709"/>
                  <a:gd name="T16" fmla="*/ 9 w 357"/>
                  <a:gd name="T17" fmla="*/ 12 h 709"/>
                  <a:gd name="T18" fmla="*/ 220 w 357"/>
                  <a:gd name="T19" fmla="*/ 258 h 709"/>
                  <a:gd name="T20" fmla="*/ 215 w 357"/>
                  <a:gd name="T21" fmla="*/ 279 h 709"/>
                  <a:gd name="T22" fmla="*/ 191 w 357"/>
                  <a:gd name="T23" fmla="*/ 265 h 709"/>
                  <a:gd name="T24" fmla="*/ 186 w 357"/>
                  <a:gd name="T25" fmla="*/ 246 h 709"/>
                  <a:gd name="T26" fmla="*/ 182 w 357"/>
                  <a:gd name="T27" fmla="*/ 251 h 709"/>
                  <a:gd name="T28" fmla="*/ 170 w 357"/>
                  <a:gd name="T29" fmla="*/ 232 h 709"/>
                  <a:gd name="T30" fmla="*/ 175 w 357"/>
                  <a:gd name="T31" fmla="*/ 199 h 709"/>
                  <a:gd name="T32" fmla="*/ 217 w 357"/>
                  <a:gd name="T33" fmla="*/ 211 h 709"/>
                  <a:gd name="T34" fmla="*/ 210 w 357"/>
                  <a:gd name="T35" fmla="*/ 246 h 709"/>
                  <a:gd name="T36" fmla="*/ 269 w 357"/>
                  <a:gd name="T37" fmla="*/ 345 h 709"/>
                  <a:gd name="T38" fmla="*/ 293 w 357"/>
                  <a:gd name="T39" fmla="*/ 369 h 709"/>
                  <a:gd name="T40" fmla="*/ 272 w 357"/>
                  <a:gd name="T41" fmla="*/ 371 h 709"/>
                  <a:gd name="T42" fmla="*/ 238 w 357"/>
                  <a:gd name="T43" fmla="*/ 326 h 709"/>
                  <a:gd name="T44" fmla="*/ 250 w 357"/>
                  <a:gd name="T45" fmla="*/ 324 h 709"/>
                  <a:gd name="T46" fmla="*/ 314 w 357"/>
                  <a:gd name="T47" fmla="*/ 423 h 709"/>
                  <a:gd name="T48" fmla="*/ 331 w 357"/>
                  <a:gd name="T49" fmla="*/ 454 h 709"/>
                  <a:gd name="T50" fmla="*/ 331 w 357"/>
                  <a:gd name="T51" fmla="*/ 475 h 709"/>
                  <a:gd name="T52" fmla="*/ 290 w 357"/>
                  <a:gd name="T53" fmla="*/ 464 h 709"/>
                  <a:gd name="T54" fmla="*/ 283 w 357"/>
                  <a:gd name="T55" fmla="*/ 442 h 709"/>
                  <a:gd name="T56" fmla="*/ 276 w 357"/>
                  <a:gd name="T57" fmla="*/ 416 h 709"/>
                  <a:gd name="T58" fmla="*/ 290 w 357"/>
                  <a:gd name="T59" fmla="*/ 390 h 709"/>
                  <a:gd name="T60" fmla="*/ 300 w 357"/>
                  <a:gd name="T61" fmla="*/ 414 h 709"/>
                  <a:gd name="T62" fmla="*/ 234 w 357"/>
                  <a:gd name="T63" fmla="*/ 393 h 709"/>
                  <a:gd name="T64" fmla="*/ 253 w 357"/>
                  <a:gd name="T65" fmla="*/ 378 h 709"/>
                  <a:gd name="T66" fmla="*/ 257 w 357"/>
                  <a:gd name="T67" fmla="*/ 400 h 709"/>
                  <a:gd name="T68" fmla="*/ 222 w 357"/>
                  <a:gd name="T69" fmla="*/ 700 h 709"/>
                  <a:gd name="T70" fmla="*/ 205 w 357"/>
                  <a:gd name="T71" fmla="*/ 660 h 709"/>
                  <a:gd name="T72" fmla="*/ 243 w 357"/>
                  <a:gd name="T73" fmla="*/ 579 h 709"/>
                  <a:gd name="T74" fmla="*/ 290 w 357"/>
                  <a:gd name="T75" fmla="*/ 568 h 709"/>
                  <a:gd name="T76" fmla="*/ 312 w 357"/>
                  <a:gd name="T77" fmla="*/ 539 h 709"/>
                  <a:gd name="T78" fmla="*/ 354 w 357"/>
                  <a:gd name="T79" fmla="*/ 643 h 709"/>
                  <a:gd name="T80" fmla="*/ 350 w 357"/>
                  <a:gd name="T81" fmla="*/ 679 h 709"/>
                  <a:gd name="T82" fmla="*/ 345 w 357"/>
                  <a:gd name="T83" fmla="*/ 709 h 709"/>
                  <a:gd name="T84" fmla="*/ 243 w 357"/>
                  <a:gd name="T85" fmla="*/ 691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57" h="709">
                    <a:moveTo>
                      <a:pt x="97" y="71"/>
                    </a:moveTo>
                    <a:lnTo>
                      <a:pt x="82" y="69"/>
                    </a:lnTo>
                    <a:lnTo>
                      <a:pt x="80" y="62"/>
                    </a:lnTo>
                    <a:lnTo>
                      <a:pt x="71" y="55"/>
                    </a:lnTo>
                    <a:lnTo>
                      <a:pt x="71" y="45"/>
                    </a:lnTo>
                    <a:lnTo>
                      <a:pt x="64" y="33"/>
                    </a:lnTo>
                    <a:lnTo>
                      <a:pt x="66" y="24"/>
                    </a:lnTo>
                    <a:lnTo>
                      <a:pt x="80" y="19"/>
                    </a:lnTo>
                    <a:lnTo>
                      <a:pt x="101" y="24"/>
                    </a:lnTo>
                    <a:lnTo>
                      <a:pt x="123" y="43"/>
                    </a:lnTo>
                    <a:lnTo>
                      <a:pt x="123" y="52"/>
                    </a:lnTo>
                    <a:lnTo>
                      <a:pt x="118" y="59"/>
                    </a:lnTo>
                    <a:lnTo>
                      <a:pt x="111" y="62"/>
                    </a:lnTo>
                    <a:lnTo>
                      <a:pt x="104" y="69"/>
                    </a:lnTo>
                    <a:lnTo>
                      <a:pt x="97" y="71"/>
                    </a:lnTo>
                    <a:close/>
                    <a:moveTo>
                      <a:pt x="9" y="12"/>
                    </a:moveTo>
                    <a:lnTo>
                      <a:pt x="2" y="17"/>
                    </a:lnTo>
                    <a:lnTo>
                      <a:pt x="0" y="12"/>
                    </a:lnTo>
                    <a:lnTo>
                      <a:pt x="2" y="7"/>
                    </a:lnTo>
                    <a:lnTo>
                      <a:pt x="9" y="2"/>
                    </a:lnTo>
                    <a:lnTo>
                      <a:pt x="19" y="2"/>
                    </a:lnTo>
                    <a:lnTo>
                      <a:pt x="33" y="0"/>
                    </a:lnTo>
                    <a:lnTo>
                      <a:pt x="35" y="7"/>
                    </a:lnTo>
                    <a:lnTo>
                      <a:pt x="30" y="10"/>
                    </a:lnTo>
                    <a:lnTo>
                      <a:pt x="26" y="14"/>
                    </a:lnTo>
                    <a:lnTo>
                      <a:pt x="14" y="12"/>
                    </a:lnTo>
                    <a:lnTo>
                      <a:pt x="9" y="12"/>
                    </a:lnTo>
                    <a:close/>
                    <a:moveTo>
                      <a:pt x="212" y="251"/>
                    </a:moveTo>
                    <a:lnTo>
                      <a:pt x="215" y="253"/>
                    </a:lnTo>
                    <a:lnTo>
                      <a:pt x="220" y="258"/>
                    </a:lnTo>
                    <a:lnTo>
                      <a:pt x="215" y="267"/>
                    </a:lnTo>
                    <a:lnTo>
                      <a:pt x="215" y="277"/>
                    </a:lnTo>
                    <a:lnTo>
                      <a:pt x="215" y="279"/>
                    </a:lnTo>
                    <a:lnTo>
                      <a:pt x="208" y="279"/>
                    </a:lnTo>
                    <a:lnTo>
                      <a:pt x="196" y="272"/>
                    </a:lnTo>
                    <a:lnTo>
                      <a:pt x="191" y="265"/>
                    </a:lnTo>
                    <a:lnTo>
                      <a:pt x="191" y="255"/>
                    </a:lnTo>
                    <a:lnTo>
                      <a:pt x="184" y="251"/>
                    </a:lnTo>
                    <a:lnTo>
                      <a:pt x="186" y="246"/>
                    </a:lnTo>
                    <a:lnTo>
                      <a:pt x="186" y="244"/>
                    </a:lnTo>
                    <a:lnTo>
                      <a:pt x="182" y="241"/>
                    </a:lnTo>
                    <a:lnTo>
                      <a:pt x="182" y="251"/>
                    </a:lnTo>
                    <a:lnTo>
                      <a:pt x="170" y="244"/>
                    </a:lnTo>
                    <a:lnTo>
                      <a:pt x="168" y="239"/>
                    </a:lnTo>
                    <a:lnTo>
                      <a:pt x="170" y="232"/>
                    </a:lnTo>
                    <a:lnTo>
                      <a:pt x="170" y="211"/>
                    </a:lnTo>
                    <a:lnTo>
                      <a:pt x="175" y="206"/>
                    </a:lnTo>
                    <a:lnTo>
                      <a:pt x="175" y="199"/>
                    </a:lnTo>
                    <a:lnTo>
                      <a:pt x="191" y="208"/>
                    </a:lnTo>
                    <a:lnTo>
                      <a:pt x="210" y="208"/>
                    </a:lnTo>
                    <a:lnTo>
                      <a:pt x="217" y="211"/>
                    </a:lnTo>
                    <a:lnTo>
                      <a:pt x="215" y="237"/>
                    </a:lnTo>
                    <a:lnTo>
                      <a:pt x="210" y="241"/>
                    </a:lnTo>
                    <a:lnTo>
                      <a:pt x="210" y="246"/>
                    </a:lnTo>
                    <a:lnTo>
                      <a:pt x="212" y="251"/>
                    </a:lnTo>
                    <a:close/>
                    <a:moveTo>
                      <a:pt x="250" y="324"/>
                    </a:moveTo>
                    <a:lnTo>
                      <a:pt x="269" y="345"/>
                    </a:lnTo>
                    <a:lnTo>
                      <a:pt x="274" y="348"/>
                    </a:lnTo>
                    <a:lnTo>
                      <a:pt x="276" y="352"/>
                    </a:lnTo>
                    <a:lnTo>
                      <a:pt x="293" y="369"/>
                    </a:lnTo>
                    <a:lnTo>
                      <a:pt x="295" y="371"/>
                    </a:lnTo>
                    <a:lnTo>
                      <a:pt x="288" y="374"/>
                    </a:lnTo>
                    <a:lnTo>
                      <a:pt x="272" y="371"/>
                    </a:lnTo>
                    <a:lnTo>
                      <a:pt x="260" y="352"/>
                    </a:lnTo>
                    <a:lnTo>
                      <a:pt x="234" y="329"/>
                    </a:lnTo>
                    <a:lnTo>
                      <a:pt x="238" y="326"/>
                    </a:lnTo>
                    <a:lnTo>
                      <a:pt x="243" y="324"/>
                    </a:lnTo>
                    <a:lnTo>
                      <a:pt x="248" y="319"/>
                    </a:lnTo>
                    <a:lnTo>
                      <a:pt x="250" y="324"/>
                    </a:lnTo>
                    <a:close/>
                    <a:moveTo>
                      <a:pt x="300" y="414"/>
                    </a:moveTo>
                    <a:lnTo>
                      <a:pt x="300" y="419"/>
                    </a:lnTo>
                    <a:lnTo>
                      <a:pt x="314" y="423"/>
                    </a:lnTo>
                    <a:lnTo>
                      <a:pt x="324" y="428"/>
                    </a:lnTo>
                    <a:lnTo>
                      <a:pt x="331" y="447"/>
                    </a:lnTo>
                    <a:lnTo>
                      <a:pt x="331" y="454"/>
                    </a:lnTo>
                    <a:lnTo>
                      <a:pt x="335" y="466"/>
                    </a:lnTo>
                    <a:lnTo>
                      <a:pt x="335" y="473"/>
                    </a:lnTo>
                    <a:lnTo>
                      <a:pt x="331" y="475"/>
                    </a:lnTo>
                    <a:lnTo>
                      <a:pt x="314" y="475"/>
                    </a:lnTo>
                    <a:lnTo>
                      <a:pt x="300" y="468"/>
                    </a:lnTo>
                    <a:lnTo>
                      <a:pt x="290" y="464"/>
                    </a:lnTo>
                    <a:lnTo>
                      <a:pt x="279" y="456"/>
                    </a:lnTo>
                    <a:lnTo>
                      <a:pt x="279" y="452"/>
                    </a:lnTo>
                    <a:lnTo>
                      <a:pt x="283" y="442"/>
                    </a:lnTo>
                    <a:lnTo>
                      <a:pt x="288" y="428"/>
                    </a:lnTo>
                    <a:lnTo>
                      <a:pt x="281" y="426"/>
                    </a:lnTo>
                    <a:lnTo>
                      <a:pt x="276" y="416"/>
                    </a:lnTo>
                    <a:lnTo>
                      <a:pt x="276" y="400"/>
                    </a:lnTo>
                    <a:lnTo>
                      <a:pt x="279" y="395"/>
                    </a:lnTo>
                    <a:lnTo>
                      <a:pt x="290" y="390"/>
                    </a:lnTo>
                    <a:lnTo>
                      <a:pt x="298" y="395"/>
                    </a:lnTo>
                    <a:lnTo>
                      <a:pt x="300" y="404"/>
                    </a:lnTo>
                    <a:lnTo>
                      <a:pt x="300" y="414"/>
                    </a:lnTo>
                    <a:close/>
                    <a:moveTo>
                      <a:pt x="248" y="402"/>
                    </a:moveTo>
                    <a:lnTo>
                      <a:pt x="241" y="400"/>
                    </a:lnTo>
                    <a:lnTo>
                      <a:pt x="234" y="393"/>
                    </a:lnTo>
                    <a:lnTo>
                      <a:pt x="238" y="386"/>
                    </a:lnTo>
                    <a:lnTo>
                      <a:pt x="241" y="371"/>
                    </a:lnTo>
                    <a:lnTo>
                      <a:pt x="253" y="378"/>
                    </a:lnTo>
                    <a:lnTo>
                      <a:pt x="257" y="386"/>
                    </a:lnTo>
                    <a:lnTo>
                      <a:pt x="257" y="390"/>
                    </a:lnTo>
                    <a:lnTo>
                      <a:pt x="257" y="400"/>
                    </a:lnTo>
                    <a:lnTo>
                      <a:pt x="248" y="402"/>
                    </a:lnTo>
                    <a:close/>
                    <a:moveTo>
                      <a:pt x="229" y="698"/>
                    </a:moveTo>
                    <a:lnTo>
                      <a:pt x="222" y="700"/>
                    </a:lnTo>
                    <a:lnTo>
                      <a:pt x="215" y="695"/>
                    </a:lnTo>
                    <a:lnTo>
                      <a:pt x="203" y="667"/>
                    </a:lnTo>
                    <a:lnTo>
                      <a:pt x="205" y="660"/>
                    </a:lnTo>
                    <a:lnTo>
                      <a:pt x="229" y="631"/>
                    </a:lnTo>
                    <a:lnTo>
                      <a:pt x="238" y="603"/>
                    </a:lnTo>
                    <a:lnTo>
                      <a:pt x="243" y="579"/>
                    </a:lnTo>
                    <a:lnTo>
                      <a:pt x="257" y="575"/>
                    </a:lnTo>
                    <a:lnTo>
                      <a:pt x="272" y="575"/>
                    </a:lnTo>
                    <a:lnTo>
                      <a:pt x="290" y="568"/>
                    </a:lnTo>
                    <a:lnTo>
                      <a:pt x="295" y="546"/>
                    </a:lnTo>
                    <a:lnTo>
                      <a:pt x="305" y="537"/>
                    </a:lnTo>
                    <a:lnTo>
                      <a:pt x="312" y="539"/>
                    </a:lnTo>
                    <a:lnTo>
                      <a:pt x="324" y="568"/>
                    </a:lnTo>
                    <a:lnTo>
                      <a:pt x="354" y="620"/>
                    </a:lnTo>
                    <a:lnTo>
                      <a:pt x="354" y="643"/>
                    </a:lnTo>
                    <a:lnTo>
                      <a:pt x="347" y="657"/>
                    </a:lnTo>
                    <a:lnTo>
                      <a:pt x="354" y="667"/>
                    </a:lnTo>
                    <a:lnTo>
                      <a:pt x="350" y="679"/>
                    </a:lnTo>
                    <a:lnTo>
                      <a:pt x="354" y="695"/>
                    </a:lnTo>
                    <a:lnTo>
                      <a:pt x="357" y="705"/>
                    </a:lnTo>
                    <a:lnTo>
                      <a:pt x="345" y="709"/>
                    </a:lnTo>
                    <a:lnTo>
                      <a:pt x="312" y="707"/>
                    </a:lnTo>
                    <a:lnTo>
                      <a:pt x="281" y="693"/>
                    </a:lnTo>
                    <a:lnTo>
                      <a:pt x="243" y="691"/>
                    </a:lnTo>
                    <a:lnTo>
                      <a:pt x="229" y="69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997" name="Freeform 54">
                <a:extLst>
                  <a:ext uri="{FF2B5EF4-FFF2-40B4-BE49-F238E27FC236}">
                    <a16:creationId xmlns:a16="http://schemas.microsoft.com/office/drawing/2014/main" id="{BADF4028-2812-1871-3521-D93774362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2" y="352"/>
                <a:ext cx="1014" cy="660"/>
              </a:xfrm>
              <a:custGeom>
                <a:avLst/>
                <a:gdLst>
                  <a:gd name="T0" fmla="*/ 957 w 1014"/>
                  <a:gd name="T1" fmla="*/ 230 h 660"/>
                  <a:gd name="T2" fmla="*/ 981 w 1014"/>
                  <a:gd name="T3" fmla="*/ 265 h 660"/>
                  <a:gd name="T4" fmla="*/ 1014 w 1014"/>
                  <a:gd name="T5" fmla="*/ 296 h 660"/>
                  <a:gd name="T6" fmla="*/ 1007 w 1014"/>
                  <a:gd name="T7" fmla="*/ 348 h 660"/>
                  <a:gd name="T8" fmla="*/ 988 w 1014"/>
                  <a:gd name="T9" fmla="*/ 388 h 660"/>
                  <a:gd name="T10" fmla="*/ 926 w 1014"/>
                  <a:gd name="T11" fmla="*/ 428 h 660"/>
                  <a:gd name="T12" fmla="*/ 877 w 1014"/>
                  <a:gd name="T13" fmla="*/ 468 h 660"/>
                  <a:gd name="T14" fmla="*/ 898 w 1014"/>
                  <a:gd name="T15" fmla="*/ 509 h 660"/>
                  <a:gd name="T16" fmla="*/ 879 w 1014"/>
                  <a:gd name="T17" fmla="*/ 580 h 660"/>
                  <a:gd name="T18" fmla="*/ 834 w 1014"/>
                  <a:gd name="T19" fmla="*/ 627 h 660"/>
                  <a:gd name="T20" fmla="*/ 829 w 1014"/>
                  <a:gd name="T21" fmla="*/ 660 h 660"/>
                  <a:gd name="T22" fmla="*/ 799 w 1014"/>
                  <a:gd name="T23" fmla="*/ 634 h 660"/>
                  <a:gd name="T24" fmla="*/ 780 w 1014"/>
                  <a:gd name="T25" fmla="*/ 610 h 660"/>
                  <a:gd name="T26" fmla="*/ 659 w 1014"/>
                  <a:gd name="T27" fmla="*/ 617 h 660"/>
                  <a:gd name="T28" fmla="*/ 539 w 1014"/>
                  <a:gd name="T29" fmla="*/ 622 h 660"/>
                  <a:gd name="T30" fmla="*/ 416 w 1014"/>
                  <a:gd name="T31" fmla="*/ 627 h 660"/>
                  <a:gd name="T32" fmla="*/ 295 w 1014"/>
                  <a:gd name="T33" fmla="*/ 629 h 660"/>
                  <a:gd name="T34" fmla="*/ 175 w 1014"/>
                  <a:gd name="T35" fmla="*/ 632 h 660"/>
                  <a:gd name="T36" fmla="*/ 118 w 1014"/>
                  <a:gd name="T37" fmla="*/ 601 h 660"/>
                  <a:gd name="T38" fmla="*/ 120 w 1014"/>
                  <a:gd name="T39" fmla="*/ 530 h 660"/>
                  <a:gd name="T40" fmla="*/ 111 w 1014"/>
                  <a:gd name="T41" fmla="*/ 497 h 660"/>
                  <a:gd name="T42" fmla="*/ 106 w 1014"/>
                  <a:gd name="T43" fmla="*/ 478 h 660"/>
                  <a:gd name="T44" fmla="*/ 106 w 1014"/>
                  <a:gd name="T45" fmla="*/ 450 h 660"/>
                  <a:gd name="T46" fmla="*/ 97 w 1014"/>
                  <a:gd name="T47" fmla="*/ 438 h 660"/>
                  <a:gd name="T48" fmla="*/ 85 w 1014"/>
                  <a:gd name="T49" fmla="*/ 419 h 660"/>
                  <a:gd name="T50" fmla="*/ 75 w 1014"/>
                  <a:gd name="T51" fmla="*/ 364 h 660"/>
                  <a:gd name="T52" fmla="*/ 64 w 1014"/>
                  <a:gd name="T53" fmla="*/ 329 h 660"/>
                  <a:gd name="T54" fmla="*/ 35 w 1014"/>
                  <a:gd name="T55" fmla="*/ 249 h 660"/>
                  <a:gd name="T56" fmla="*/ 16 w 1014"/>
                  <a:gd name="T57" fmla="*/ 213 h 660"/>
                  <a:gd name="T58" fmla="*/ 0 w 1014"/>
                  <a:gd name="T59" fmla="*/ 182 h 660"/>
                  <a:gd name="T60" fmla="*/ 9 w 1014"/>
                  <a:gd name="T61" fmla="*/ 156 h 660"/>
                  <a:gd name="T62" fmla="*/ 26 w 1014"/>
                  <a:gd name="T63" fmla="*/ 104 h 660"/>
                  <a:gd name="T64" fmla="*/ 21 w 1014"/>
                  <a:gd name="T65" fmla="*/ 83 h 660"/>
                  <a:gd name="T66" fmla="*/ 9 w 1014"/>
                  <a:gd name="T67" fmla="*/ 67 h 660"/>
                  <a:gd name="T68" fmla="*/ 14 w 1014"/>
                  <a:gd name="T69" fmla="*/ 48 h 660"/>
                  <a:gd name="T70" fmla="*/ 26 w 1014"/>
                  <a:gd name="T71" fmla="*/ 22 h 660"/>
                  <a:gd name="T72" fmla="*/ 177 w 1014"/>
                  <a:gd name="T73" fmla="*/ 22 h 660"/>
                  <a:gd name="T74" fmla="*/ 326 w 1014"/>
                  <a:gd name="T75" fmla="*/ 19 h 660"/>
                  <a:gd name="T76" fmla="*/ 475 w 1014"/>
                  <a:gd name="T77" fmla="*/ 15 h 660"/>
                  <a:gd name="T78" fmla="*/ 626 w 1014"/>
                  <a:gd name="T79" fmla="*/ 10 h 660"/>
                  <a:gd name="T80" fmla="*/ 775 w 1014"/>
                  <a:gd name="T81" fmla="*/ 5 h 660"/>
                  <a:gd name="T82" fmla="*/ 832 w 1014"/>
                  <a:gd name="T83" fmla="*/ 24 h 660"/>
                  <a:gd name="T84" fmla="*/ 851 w 1014"/>
                  <a:gd name="T85" fmla="*/ 48 h 660"/>
                  <a:gd name="T86" fmla="*/ 846 w 1014"/>
                  <a:gd name="T87" fmla="*/ 109 h 660"/>
                  <a:gd name="T88" fmla="*/ 879 w 1014"/>
                  <a:gd name="T89" fmla="*/ 163 h 660"/>
                  <a:gd name="T90" fmla="*/ 929 w 1014"/>
                  <a:gd name="T91" fmla="*/ 204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14" h="660">
                    <a:moveTo>
                      <a:pt x="929" y="204"/>
                    </a:moveTo>
                    <a:lnTo>
                      <a:pt x="941" y="218"/>
                    </a:lnTo>
                    <a:lnTo>
                      <a:pt x="957" y="230"/>
                    </a:lnTo>
                    <a:lnTo>
                      <a:pt x="967" y="242"/>
                    </a:lnTo>
                    <a:lnTo>
                      <a:pt x="969" y="253"/>
                    </a:lnTo>
                    <a:lnTo>
                      <a:pt x="981" y="265"/>
                    </a:lnTo>
                    <a:lnTo>
                      <a:pt x="1000" y="277"/>
                    </a:lnTo>
                    <a:lnTo>
                      <a:pt x="1009" y="286"/>
                    </a:lnTo>
                    <a:lnTo>
                      <a:pt x="1014" y="296"/>
                    </a:lnTo>
                    <a:lnTo>
                      <a:pt x="1014" y="312"/>
                    </a:lnTo>
                    <a:lnTo>
                      <a:pt x="1011" y="331"/>
                    </a:lnTo>
                    <a:lnTo>
                      <a:pt x="1007" y="348"/>
                    </a:lnTo>
                    <a:lnTo>
                      <a:pt x="997" y="357"/>
                    </a:lnTo>
                    <a:lnTo>
                      <a:pt x="993" y="372"/>
                    </a:lnTo>
                    <a:lnTo>
                      <a:pt x="988" y="388"/>
                    </a:lnTo>
                    <a:lnTo>
                      <a:pt x="976" y="402"/>
                    </a:lnTo>
                    <a:lnTo>
                      <a:pt x="952" y="419"/>
                    </a:lnTo>
                    <a:lnTo>
                      <a:pt x="926" y="428"/>
                    </a:lnTo>
                    <a:lnTo>
                      <a:pt x="898" y="435"/>
                    </a:lnTo>
                    <a:lnTo>
                      <a:pt x="881" y="450"/>
                    </a:lnTo>
                    <a:lnTo>
                      <a:pt x="877" y="468"/>
                    </a:lnTo>
                    <a:lnTo>
                      <a:pt x="879" y="483"/>
                    </a:lnTo>
                    <a:lnTo>
                      <a:pt x="891" y="495"/>
                    </a:lnTo>
                    <a:lnTo>
                      <a:pt x="898" y="509"/>
                    </a:lnTo>
                    <a:lnTo>
                      <a:pt x="900" y="523"/>
                    </a:lnTo>
                    <a:lnTo>
                      <a:pt x="893" y="547"/>
                    </a:lnTo>
                    <a:lnTo>
                      <a:pt x="879" y="580"/>
                    </a:lnTo>
                    <a:lnTo>
                      <a:pt x="863" y="601"/>
                    </a:lnTo>
                    <a:lnTo>
                      <a:pt x="844" y="613"/>
                    </a:lnTo>
                    <a:lnTo>
                      <a:pt x="834" y="627"/>
                    </a:lnTo>
                    <a:lnTo>
                      <a:pt x="839" y="646"/>
                    </a:lnTo>
                    <a:lnTo>
                      <a:pt x="836" y="655"/>
                    </a:lnTo>
                    <a:lnTo>
                      <a:pt x="829" y="660"/>
                    </a:lnTo>
                    <a:lnTo>
                      <a:pt x="813" y="651"/>
                    </a:lnTo>
                    <a:lnTo>
                      <a:pt x="810" y="641"/>
                    </a:lnTo>
                    <a:lnTo>
                      <a:pt x="799" y="634"/>
                    </a:lnTo>
                    <a:lnTo>
                      <a:pt x="796" y="629"/>
                    </a:lnTo>
                    <a:lnTo>
                      <a:pt x="789" y="625"/>
                    </a:lnTo>
                    <a:lnTo>
                      <a:pt x="780" y="610"/>
                    </a:lnTo>
                    <a:lnTo>
                      <a:pt x="740" y="613"/>
                    </a:lnTo>
                    <a:lnTo>
                      <a:pt x="699" y="615"/>
                    </a:lnTo>
                    <a:lnTo>
                      <a:pt x="659" y="617"/>
                    </a:lnTo>
                    <a:lnTo>
                      <a:pt x="619" y="617"/>
                    </a:lnTo>
                    <a:lnTo>
                      <a:pt x="579" y="620"/>
                    </a:lnTo>
                    <a:lnTo>
                      <a:pt x="539" y="622"/>
                    </a:lnTo>
                    <a:lnTo>
                      <a:pt x="496" y="622"/>
                    </a:lnTo>
                    <a:lnTo>
                      <a:pt x="456" y="625"/>
                    </a:lnTo>
                    <a:lnTo>
                      <a:pt x="416" y="627"/>
                    </a:lnTo>
                    <a:lnTo>
                      <a:pt x="376" y="627"/>
                    </a:lnTo>
                    <a:lnTo>
                      <a:pt x="335" y="627"/>
                    </a:lnTo>
                    <a:lnTo>
                      <a:pt x="295" y="629"/>
                    </a:lnTo>
                    <a:lnTo>
                      <a:pt x="255" y="629"/>
                    </a:lnTo>
                    <a:lnTo>
                      <a:pt x="215" y="629"/>
                    </a:lnTo>
                    <a:lnTo>
                      <a:pt x="175" y="632"/>
                    </a:lnTo>
                    <a:lnTo>
                      <a:pt x="134" y="632"/>
                    </a:lnTo>
                    <a:lnTo>
                      <a:pt x="125" y="615"/>
                    </a:lnTo>
                    <a:lnTo>
                      <a:pt x="118" y="601"/>
                    </a:lnTo>
                    <a:lnTo>
                      <a:pt x="123" y="594"/>
                    </a:lnTo>
                    <a:lnTo>
                      <a:pt x="123" y="570"/>
                    </a:lnTo>
                    <a:lnTo>
                      <a:pt x="120" y="530"/>
                    </a:lnTo>
                    <a:lnTo>
                      <a:pt x="118" y="509"/>
                    </a:lnTo>
                    <a:lnTo>
                      <a:pt x="111" y="504"/>
                    </a:lnTo>
                    <a:lnTo>
                      <a:pt x="111" y="497"/>
                    </a:lnTo>
                    <a:lnTo>
                      <a:pt x="116" y="487"/>
                    </a:lnTo>
                    <a:lnTo>
                      <a:pt x="113" y="480"/>
                    </a:lnTo>
                    <a:lnTo>
                      <a:pt x="106" y="478"/>
                    </a:lnTo>
                    <a:lnTo>
                      <a:pt x="104" y="471"/>
                    </a:lnTo>
                    <a:lnTo>
                      <a:pt x="106" y="459"/>
                    </a:lnTo>
                    <a:lnTo>
                      <a:pt x="106" y="450"/>
                    </a:lnTo>
                    <a:lnTo>
                      <a:pt x="99" y="447"/>
                    </a:lnTo>
                    <a:lnTo>
                      <a:pt x="97" y="445"/>
                    </a:lnTo>
                    <a:lnTo>
                      <a:pt x="97" y="438"/>
                    </a:lnTo>
                    <a:lnTo>
                      <a:pt x="94" y="435"/>
                    </a:lnTo>
                    <a:lnTo>
                      <a:pt x="87" y="433"/>
                    </a:lnTo>
                    <a:lnTo>
                      <a:pt x="85" y="419"/>
                    </a:lnTo>
                    <a:lnTo>
                      <a:pt x="85" y="393"/>
                    </a:lnTo>
                    <a:lnTo>
                      <a:pt x="82" y="374"/>
                    </a:lnTo>
                    <a:lnTo>
                      <a:pt x="75" y="364"/>
                    </a:lnTo>
                    <a:lnTo>
                      <a:pt x="73" y="355"/>
                    </a:lnTo>
                    <a:lnTo>
                      <a:pt x="73" y="346"/>
                    </a:lnTo>
                    <a:lnTo>
                      <a:pt x="64" y="329"/>
                    </a:lnTo>
                    <a:lnTo>
                      <a:pt x="49" y="310"/>
                    </a:lnTo>
                    <a:lnTo>
                      <a:pt x="40" y="282"/>
                    </a:lnTo>
                    <a:lnTo>
                      <a:pt x="35" y="249"/>
                    </a:lnTo>
                    <a:lnTo>
                      <a:pt x="26" y="230"/>
                    </a:lnTo>
                    <a:lnTo>
                      <a:pt x="21" y="230"/>
                    </a:lnTo>
                    <a:lnTo>
                      <a:pt x="16" y="213"/>
                    </a:lnTo>
                    <a:lnTo>
                      <a:pt x="14" y="204"/>
                    </a:lnTo>
                    <a:lnTo>
                      <a:pt x="12" y="199"/>
                    </a:lnTo>
                    <a:lnTo>
                      <a:pt x="0" y="182"/>
                    </a:lnTo>
                    <a:lnTo>
                      <a:pt x="0" y="178"/>
                    </a:lnTo>
                    <a:lnTo>
                      <a:pt x="0" y="171"/>
                    </a:lnTo>
                    <a:lnTo>
                      <a:pt x="9" y="156"/>
                    </a:lnTo>
                    <a:lnTo>
                      <a:pt x="16" y="133"/>
                    </a:lnTo>
                    <a:lnTo>
                      <a:pt x="19" y="116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3" y="90"/>
                    </a:lnTo>
                    <a:lnTo>
                      <a:pt x="21" y="83"/>
                    </a:lnTo>
                    <a:lnTo>
                      <a:pt x="12" y="78"/>
                    </a:lnTo>
                    <a:lnTo>
                      <a:pt x="9" y="76"/>
                    </a:lnTo>
                    <a:lnTo>
                      <a:pt x="9" y="67"/>
                    </a:lnTo>
                    <a:lnTo>
                      <a:pt x="12" y="62"/>
                    </a:lnTo>
                    <a:lnTo>
                      <a:pt x="14" y="55"/>
                    </a:lnTo>
                    <a:lnTo>
                      <a:pt x="14" y="48"/>
                    </a:lnTo>
                    <a:lnTo>
                      <a:pt x="7" y="33"/>
                    </a:lnTo>
                    <a:lnTo>
                      <a:pt x="4" y="22"/>
                    </a:lnTo>
                    <a:lnTo>
                      <a:pt x="26" y="22"/>
                    </a:lnTo>
                    <a:lnTo>
                      <a:pt x="75" y="22"/>
                    </a:lnTo>
                    <a:lnTo>
                      <a:pt x="127" y="22"/>
                    </a:lnTo>
                    <a:lnTo>
                      <a:pt x="177" y="22"/>
                    </a:lnTo>
                    <a:lnTo>
                      <a:pt x="227" y="19"/>
                    </a:lnTo>
                    <a:lnTo>
                      <a:pt x="276" y="19"/>
                    </a:lnTo>
                    <a:lnTo>
                      <a:pt x="326" y="19"/>
                    </a:lnTo>
                    <a:lnTo>
                      <a:pt x="376" y="17"/>
                    </a:lnTo>
                    <a:lnTo>
                      <a:pt x="425" y="17"/>
                    </a:lnTo>
                    <a:lnTo>
                      <a:pt x="475" y="15"/>
                    </a:lnTo>
                    <a:lnTo>
                      <a:pt x="527" y="15"/>
                    </a:lnTo>
                    <a:lnTo>
                      <a:pt x="576" y="12"/>
                    </a:lnTo>
                    <a:lnTo>
                      <a:pt x="626" y="10"/>
                    </a:lnTo>
                    <a:lnTo>
                      <a:pt x="676" y="10"/>
                    </a:lnTo>
                    <a:lnTo>
                      <a:pt x="725" y="7"/>
                    </a:lnTo>
                    <a:lnTo>
                      <a:pt x="775" y="5"/>
                    </a:lnTo>
                    <a:lnTo>
                      <a:pt x="827" y="0"/>
                    </a:lnTo>
                    <a:lnTo>
                      <a:pt x="827" y="15"/>
                    </a:lnTo>
                    <a:lnTo>
                      <a:pt x="832" y="24"/>
                    </a:lnTo>
                    <a:lnTo>
                      <a:pt x="839" y="31"/>
                    </a:lnTo>
                    <a:lnTo>
                      <a:pt x="848" y="36"/>
                    </a:lnTo>
                    <a:lnTo>
                      <a:pt x="851" y="48"/>
                    </a:lnTo>
                    <a:lnTo>
                      <a:pt x="844" y="64"/>
                    </a:lnTo>
                    <a:lnTo>
                      <a:pt x="844" y="85"/>
                    </a:lnTo>
                    <a:lnTo>
                      <a:pt x="846" y="109"/>
                    </a:lnTo>
                    <a:lnTo>
                      <a:pt x="853" y="130"/>
                    </a:lnTo>
                    <a:lnTo>
                      <a:pt x="860" y="149"/>
                    </a:lnTo>
                    <a:lnTo>
                      <a:pt x="879" y="163"/>
                    </a:lnTo>
                    <a:lnTo>
                      <a:pt x="905" y="171"/>
                    </a:lnTo>
                    <a:lnTo>
                      <a:pt x="922" y="185"/>
                    </a:lnTo>
                    <a:lnTo>
                      <a:pt x="929" y="204"/>
                    </a:lnTo>
                    <a:lnTo>
                      <a:pt x="929" y="20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998" name="Freeform 55">
                <a:extLst>
                  <a:ext uri="{FF2B5EF4-FFF2-40B4-BE49-F238E27FC236}">
                    <a16:creationId xmlns:a16="http://schemas.microsoft.com/office/drawing/2014/main" id="{84DA701E-2D94-3E6C-7D23-809598662B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7" y="-1135"/>
                <a:ext cx="1005" cy="1629"/>
              </a:xfrm>
              <a:custGeom>
                <a:avLst/>
                <a:gdLst>
                  <a:gd name="T0" fmla="*/ 988 w 1005"/>
                  <a:gd name="T1" fmla="*/ 1206 h 1629"/>
                  <a:gd name="T2" fmla="*/ 967 w 1005"/>
                  <a:gd name="T3" fmla="*/ 1336 h 1629"/>
                  <a:gd name="T4" fmla="*/ 946 w 1005"/>
                  <a:gd name="T5" fmla="*/ 1466 h 1629"/>
                  <a:gd name="T6" fmla="*/ 924 w 1005"/>
                  <a:gd name="T7" fmla="*/ 1596 h 1629"/>
                  <a:gd name="T8" fmla="*/ 832 w 1005"/>
                  <a:gd name="T9" fmla="*/ 1615 h 1629"/>
                  <a:gd name="T10" fmla="*/ 716 w 1005"/>
                  <a:gd name="T11" fmla="*/ 1594 h 1629"/>
                  <a:gd name="T12" fmla="*/ 601 w 1005"/>
                  <a:gd name="T13" fmla="*/ 1572 h 1629"/>
                  <a:gd name="T14" fmla="*/ 485 w 1005"/>
                  <a:gd name="T15" fmla="*/ 1549 h 1629"/>
                  <a:gd name="T16" fmla="*/ 286 w 1005"/>
                  <a:gd name="T17" fmla="*/ 1509 h 1629"/>
                  <a:gd name="T18" fmla="*/ 57 w 1005"/>
                  <a:gd name="T19" fmla="*/ 1457 h 1629"/>
                  <a:gd name="T20" fmla="*/ 33 w 1005"/>
                  <a:gd name="T21" fmla="*/ 1308 h 1629"/>
                  <a:gd name="T22" fmla="*/ 76 w 1005"/>
                  <a:gd name="T23" fmla="*/ 1123 h 1629"/>
                  <a:gd name="T24" fmla="*/ 109 w 1005"/>
                  <a:gd name="T25" fmla="*/ 1029 h 1629"/>
                  <a:gd name="T26" fmla="*/ 123 w 1005"/>
                  <a:gd name="T27" fmla="*/ 996 h 1629"/>
                  <a:gd name="T28" fmla="*/ 88 w 1005"/>
                  <a:gd name="T29" fmla="*/ 958 h 1629"/>
                  <a:gd name="T30" fmla="*/ 166 w 1005"/>
                  <a:gd name="T31" fmla="*/ 854 h 1629"/>
                  <a:gd name="T32" fmla="*/ 255 w 1005"/>
                  <a:gd name="T33" fmla="*/ 714 h 1629"/>
                  <a:gd name="T34" fmla="*/ 213 w 1005"/>
                  <a:gd name="T35" fmla="*/ 636 h 1629"/>
                  <a:gd name="T36" fmla="*/ 215 w 1005"/>
                  <a:gd name="T37" fmla="*/ 591 h 1629"/>
                  <a:gd name="T38" fmla="*/ 213 w 1005"/>
                  <a:gd name="T39" fmla="*/ 534 h 1629"/>
                  <a:gd name="T40" fmla="*/ 237 w 1005"/>
                  <a:gd name="T41" fmla="*/ 433 h 1629"/>
                  <a:gd name="T42" fmla="*/ 267 w 1005"/>
                  <a:gd name="T43" fmla="*/ 300 h 1629"/>
                  <a:gd name="T44" fmla="*/ 298 w 1005"/>
                  <a:gd name="T45" fmla="*/ 168 h 1629"/>
                  <a:gd name="T46" fmla="*/ 329 w 1005"/>
                  <a:gd name="T47" fmla="*/ 33 h 1629"/>
                  <a:gd name="T48" fmla="*/ 473 w 1005"/>
                  <a:gd name="T49" fmla="*/ 33 h 1629"/>
                  <a:gd name="T50" fmla="*/ 426 w 1005"/>
                  <a:gd name="T51" fmla="*/ 239 h 1629"/>
                  <a:gd name="T52" fmla="*/ 456 w 1005"/>
                  <a:gd name="T53" fmla="*/ 310 h 1629"/>
                  <a:gd name="T54" fmla="*/ 456 w 1005"/>
                  <a:gd name="T55" fmla="*/ 355 h 1629"/>
                  <a:gd name="T56" fmla="*/ 447 w 1005"/>
                  <a:gd name="T57" fmla="*/ 364 h 1629"/>
                  <a:gd name="T58" fmla="*/ 492 w 1005"/>
                  <a:gd name="T59" fmla="*/ 414 h 1629"/>
                  <a:gd name="T60" fmla="*/ 534 w 1005"/>
                  <a:gd name="T61" fmla="*/ 497 h 1629"/>
                  <a:gd name="T62" fmla="*/ 553 w 1005"/>
                  <a:gd name="T63" fmla="*/ 542 h 1629"/>
                  <a:gd name="T64" fmla="*/ 570 w 1005"/>
                  <a:gd name="T65" fmla="*/ 549 h 1629"/>
                  <a:gd name="T66" fmla="*/ 582 w 1005"/>
                  <a:gd name="T67" fmla="*/ 568 h 1629"/>
                  <a:gd name="T68" fmla="*/ 608 w 1005"/>
                  <a:gd name="T69" fmla="*/ 575 h 1629"/>
                  <a:gd name="T70" fmla="*/ 593 w 1005"/>
                  <a:gd name="T71" fmla="*/ 612 h 1629"/>
                  <a:gd name="T72" fmla="*/ 565 w 1005"/>
                  <a:gd name="T73" fmla="*/ 669 h 1629"/>
                  <a:gd name="T74" fmla="*/ 567 w 1005"/>
                  <a:gd name="T75" fmla="*/ 709 h 1629"/>
                  <a:gd name="T76" fmla="*/ 546 w 1005"/>
                  <a:gd name="T77" fmla="*/ 740 h 1629"/>
                  <a:gd name="T78" fmla="*/ 534 w 1005"/>
                  <a:gd name="T79" fmla="*/ 787 h 1629"/>
                  <a:gd name="T80" fmla="*/ 560 w 1005"/>
                  <a:gd name="T81" fmla="*/ 813 h 1629"/>
                  <a:gd name="T82" fmla="*/ 596 w 1005"/>
                  <a:gd name="T83" fmla="*/ 802 h 1629"/>
                  <a:gd name="T84" fmla="*/ 619 w 1005"/>
                  <a:gd name="T85" fmla="*/ 780 h 1629"/>
                  <a:gd name="T86" fmla="*/ 641 w 1005"/>
                  <a:gd name="T87" fmla="*/ 806 h 1629"/>
                  <a:gd name="T88" fmla="*/ 641 w 1005"/>
                  <a:gd name="T89" fmla="*/ 839 h 1629"/>
                  <a:gd name="T90" fmla="*/ 660 w 1005"/>
                  <a:gd name="T91" fmla="*/ 908 h 1629"/>
                  <a:gd name="T92" fmla="*/ 671 w 1005"/>
                  <a:gd name="T93" fmla="*/ 941 h 1629"/>
                  <a:gd name="T94" fmla="*/ 679 w 1005"/>
                  <a:gd name="T95" fmla="*/ 984 h 1629"/>
                  <a:gd name="T96" fmla="*/ 705 w 1005"/>
                  <a:gd name="T97" fmla="*/ 998 h 1629"/>
                  <a:gd name="T98" fmla="*/ 716 w 1005"/>
                  <a:gd name="T99" fmla="*/ 1050 h 1629"/>
                  <a:gd name="T100" fmla="*/ 733 w 1005"/>
                  <a:gd name="T101" fmla="*/ 1083 h 1629"/>
                  <a:gd name="T102" fmla="*/ 745 w 1005"/>
                  <a:gd name="T103" fmla="*/ 1071 h 1629"/>
                  <a:gd name="T104" fmla="*/ 806 w 1005"/>
                  <a:gd name="T105" fmla="*/ 1081 h 1629"/>
                  <a:gd name="T106" fmla="*/ 832 w 1005"/>
                  <a:gd name="T107" fmla="*/ 1066 h 1629"/>
                  <a:gd name="T108" fmla="*/ 917 w 1005"/>
                  <a:gd name="T109" fmla="*/ 1081 h 1629"/>
                  <a:gd name="T110" fmla="*/ 943 w 1005"/>
                  <a:gd name="T111" fmla="*/ 1081 h 1629"/>
                  <a:gd name="T112" fmla="*/ 960 w 1005"/>
                  <a:gd name="T113" fmla="*/ 1050 h 1629"/>
                  <a:gd name="T114" fmla="*/ 981 w 1005"/>
                  <a:gd name="T115" fmla="*/ 1064 h 1629"/>
                  <a:gd name="T116" fmla="*/ 1005 w 1005"/>
                  <a:gd name="T117" fmla="*/ 1109 h 1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05" h="1629">
                    <a:moveTo>
                      <a:pt x="1005" y="1109"/>
                    </a:moveTo>
                    <a:lnTo>
                      <a:pt x="1000" y="1142"/>
                    </a:lnTo>
                    <a:lnTo>
                      <a:pt x="995" y="1175"/>
                    </a:lnTo>
                    <a:lnTo>
                      <a:pt x="988" y="1206"/>
                    </a:lnTo>
                    <a:lnTo>
                      <a:pt x="983" y="1239"/>
                    </a:lnTo>
                    <a:lnTo>
                      <a:pt x="979" y="1272"/>
                    </a:lnTo>
                    <a:lnTo>
                      <a:pt x="974" y="1305"/>
                    </a:lnTo>
                    <a:lnTo>
                      <a:pt x="967" y="1336"/>
                    </a:lnTo>
                    <a:lnTo>
                      <a:pt x="962" y="1369"/>
                    </a:lnTo>
                    <a:lnTo>
                      <a:pt x="957" y="1402"/>
                    </a:lnTo>
                    <a:lnTo>
                      <a:pt x="950" y="1433"/>
                    </a:lnTo>
                    <a:lnTo>
                      <a:pt x="946" y="1466"/>
                    </a:lnTo>
                    <a:lnTo>
                      <a:pt x="941" y="1499"/>
                    </a:lnTo>
                    <a:lnTo>
                      <a:pt x="936" y="1532"/>
                    </a:lnTo>
                    <a:lnTo>
                      <a:pt x="929" y="1563"/>
                    </a:lnTo>
                    <a:lnTo>
                      <a:pt x="924" y="1596"/>
                    </a:lnTo>
                    <a:lnTo>
                      <a:pt x="920" y="1629"/>
                    </a:lnTo>
                    <a:lnTo>
                      <a:pt x="889" y="1624"/>
                    </a:lnTo>
                    <a:lnTo>
                      <a:pt x="861" y="1620"/>
                    </a:lnTo>
                    <a:lnTo>
                      <a:pt x="832" y="1615"/>
                    </a:lnTo>
                    <a:lnTo>
                      <a:pt x="804" y="1608"/>
                    </a:lnTo>
                    <a:lnTo>
                      <a:pt x="773" y="1603"/>
                    </a:lnTo>
                    <a:lnTo>
                      <a:pt x="745" y="1598"/>
                    </a:lnTo>
                    <a:lnTo>
                      <a:pt x="716" y="1594"/>
                    </a:lnTo>
                    <a:lnTo>
                      <a:pt x="688" y="1589"/>
                    </a:lnTo>
                    <a:lnTo>
                      <a:pt x="660" y="1582"/>
                    </a:lnTo>
                    <a:lnTo>
                      <a:pt x="629" y="1577"/>
                    </a:lnTo>
                    <a:lnTo>
                      <a:pt x="601" y="1572"/>
                    </a:lnTo>
                    <a:lnTo>
                      <a:pt x="572" y="1565"/>
                    </a:lnTo>
                    <a:lnTo>
                      <a:pt x="544" y="1561"/>
                    </a:lnTo>
                    <a:lnTo>
                      <a:pt x="515" y="1556"/>
                    </a:lnTo>
                    <a:lnTo>
                      <a:pt x="485" y="1549"/>
                    </a:lnTo>
                    <a:lnTo>
                      <a:pt x="456" y="1544"/>
                    </a:lnTo>
                    <a:lnTo>
                      <a:pt x="400" y="1532"/>
                    </a:lnTo>
                    <a:lnTo>
                      <a:pt x="343" y="1520"/>
                    </a:lnTo>
                    <a:lnTo>
                      <a:pt x="286" y="1509"/>
                    </a:lnTo>
                    <a:lnTo>
                      <a:pt x="229" y="1497"/>
                    </a:lnTo>
                    <a:lnTo>
                      <a:pt x="170" y="1483"/>
                    </a:lnTo>
                    <a:lnTo>
                      <a:pt x="114" y="1471"/>
                    </a:lnTo>
                    <a:lnTo>
                      <a:pt x="57" y="1457"/>
                    </a:lnTo>
                    <a:lnTo>
                      <a:pt x="0" y="1445"/>
                    </a:lnTo>
                    <a:lnTo>
                      <a:pt x="12" y="1397"/>
                    </a:lnTo>
                    <a:lnTo>
                      <a:pt x="21" y="1353"/>
                    </a:lnTo>
                    <a:lnTo>
                      <a:pt x="33" y="1308"/>
                    </a:lnTo>
                    <a:lnTo>
                      <a:pt x="43" y="1260"/>
                    </a:lnTo>
                    <a:lnTo>
                      <a:pt x="55" y="1215"/>
                    </a:lnTo>
                    <a:lnTo>
                      <a:pt x="64" y="1170"/>
                    </a:lnTo>
                    <a:lnTo>
                      <a:pt x="76" y="1123"/>
                    </a:lnTo>
                    <a:lnTo>
                      <a:pt x="88" y="1074"/>
                    </a:lnTo>
                    <a:lnTo>
                      <a:pt x="88" y="1071"/>
                    </a:lnTo>
                    <a:lnTo>
                      <a:pt x="104" y="1043"/>
                    </a:lnTo>
                    <a:lnTo>
                      <a:pt x="109" y="1029"/>
                    </a:lnTo>
                    <a:lnTo>
                      <a:pt x="109" y="1019"/>
                    </a:lnTo>
                    <a:lnTo>
                      <a:pt x="114" y="1012"/>
                    </a:lnTo>
                    <a:lnTo>
                      <a:pt x="121" y="1005"/>
                    </a:lnTo>
                    <a:lnTo>
                      <a:pt x="123" y="996"/>
                    </a:lnTo>
                    <a:lnTo>
                      <a:pt x="118" y="986"/>
                    </a:lnTo>
                    <a:lnTo>
                      <a:pt x="109" y="977"/>
                    </a:lnTo>
                    <a:lnTo>
                      <a:pt x="92" y="969"/>
                    </a:lnTo>
                    <a:lnTo>
                      <a:pt x="88" y="958"/>
                    </a:lnTo>
                    <a:lnTo>
                      <a:pt x="90" y="939"/>
                    </a:lnTo>
                    <a:lnTo>
                      <a:pt x="111" y="910"/>
                    </a:lnTo>
                    <a:lnTo>
                      <a:pt x="144" y="877"/>
                    </a:lnTo>
                    <a:lnTo>
                      <a:pt x="166" y="854"/>
                    </a:lnTo>
                    <a:lnTo>
                      <a:pt x="170" y="837"/>
                    </a:lnTo>
                    <a:lnTo>
                      <a:pt x="194" y="802"/>
                    </a:lnTo>
                    <a:lnTo>
                      <a:pt x="237" y="750"/>
                    </a:lnTo>
                    <a:lnTo>
                      <a:pt x="255" y="714"/>
                    </a:lnTo>
                    <a:lnTo>
                      <a:pt x="253" y="695"/>
                    </a:lnTo>
                    <a:lnTo>
                      <a:pt x="241" y="676"/>
                    </a:lnTo>
                    <a:lnTo>
                      <a:pt x="225" y="657"/>
                    </a:lnTo>
                    <a:lnTo>
                      <a:pt x="213" y="636"/>
                    </a:lnTo>
                    <a:lnTo>
                      <a:pt x="211" y="627"/>
                    </a:lnTo>
                    <a:lnTo>
                      <a:pt x="208" y="612"/>
                    </a:lnTo>
                    <a:lnTo>
                      <a:pt x="211" y="598"/>
                    </a:lnTo>
                    <a:lnTo>
                      <a:pt x="215" y="591"/>
                    </a:lnTo>
                    <a:lnTo>
                      <a:pt x="215" y="577"/>
                    </a:lnTo>
                    <a:lnTo>
                      <a:pt x="211" y="553"/>
                    </a:lnTo>
                    <a:lnTo>
                      <a:pt x="211" y="539"/>
                    </a:lnTo>
                    <a:lnTo>
                      <a:pt x="213" y="534"/>
                    </a:lnTo>
                    <a:lnTo>
                      <a:pt x="213" y="532"/>
                    </a:lnTo>
                    <a:lnTo>
                      <a:pt x="222" y="499"/>
                    </a:lnTo>
                    <a:lnTo>
                      <a:pt x="229" y="466"/>
                    </a:lnTo>
                    <a:lnTo>
                      <a:pt x="237" y="433"/>
                    </a:lnTo>
                    <a:lnTo>
                      <a:pt x="244" y="400"/>
                    </a:lnTo>
                    <a:lnTo>
                      <a:pt x="253" y="367"/>
                    </a:lnTo>
                    <a:lnTo>
                      <a:pt x="260" y="333"/>
                    </a:lnTo>
                    <a:lnTo>
                      <a:pt x="267" y="300"/>
                    </a:lnTo>
                    <a:lnTo>
                      <a:pt x="274" y="267"/>
                    </a:lnTo>
                    <a:lnTo>
                      <a:pt x="284" y="234"/>
                    </a:lnTo>
                    <a:lnTo>
                      <a:pt x="291" y="201"/>
                    </a:lnTo>
                    <a:lnTo>
                      <a:pt x="298" y="168"/>
                    </a:lnTo>
                    <a:lnTo>
                      <a:pt x="307" y="135"/>
                    </a:lnTo>
                    <a:lnTo>
                      <a:pt x="315" y="102"/>
                    </a:lnTo>
                    <a:lnTo>
                      <a:pt x="322" y="69"/>
                    </a:lnTo>
                    <a:lnTo>
                      <a:pt x="329" y="33"/>
                    </a:lnTo>
                    <a:lnTo>
                      <a:pt x="338" y="0"/>
                    </a:lnTo>
                    <a:lnTo>
                      <a:pt x="381" y="12"/>
                    </a:lnTo>
                    <a:lnTo>
                      <a:pt x="440" y="24"/>
                    </a:lnTo>
                    <a:lnTo>
                      <a:pt x="473" y="33"/>
                    </a:lnTo>
                    <a:lnTo>
                      <a:pt x="461" y="83"/>
                    </a:lnTo>
                    <a:lnTo>
                      <a:pt x="449" y="135"/>
                    </a:lnTo>
                    <a:lnTo>
                      <a:pt x="437" y="187"/>
                    </a:lnTo>
                    <a:lnTo>
                      <a:pt x="426" y="239"/>
                    </a:lnTo>
                    <a:lnTo>
                      <a:pt x="437" y="263"/>
                    </a:lnTo>
                    <a:lnTo>
                      <a:pt x="445" y="277"/>
                    </a:lnTo>
                    <a:lnTo>
                      <a:pt x="449" y="293"/>
                    </a:lnTo>
                    <a:lnTo>
                      <a:pt x="456" y="310"/>
                    </a:lnTo>
                    <a:lnTo>
                      <a:pt x="459" y="315"/>
                    </a:lnTo>
                    <a:lnTo>
                      <a:pt x="459" y="331"/>
                    </a:lnTo>
                    <a:lnTo>
                      <a:pt x="454" y="343"/>
                    </a:lnTo>
                    <a:lnTo>
                      <a:pt x="456" y="355"/>
                    </a:lnTo>
                    <a:lnTo>
                      <a:pt x="454" y="362"/>
                    </a:lnTo>
                    <a:lnTo>
                      <a:pt x="449" y="362"/>
                    </a:lnTo>
                    <a:lnTo>
                      <a:pt x="447" y="364"/>
                    </a:lnTo>
                    <a:lnTo>
                      <a:pt x="447" y="364"/>
                    </a:lnTo>
                    <a:lnTo>
                      <a:pt x="449" y="367"/>
                    </a:lnTo>
                    <a:lnTo>
                      <a:pt x="461" y="381"/>
                    </a:lnTo>
                    <a:lnTo>
                      <a:pt x="473" y="400"/>
                    </a:lnTo>
                    <a:lnTo>
                      <a:pt x="492" y="414"/>
                    </a:lnTo>
                    <a:lnTo>
                      <a:pt x="497" y="421"/>
                    </a:lnTo>
                    <a:lnTo>
                      <a:pt x="515" y="459"/>
                    </a:lnTo>
                    <a:lnTo>
                      <a:pt x="523" y="480"/>
                    </a:lnTo>
                    <a:lnTo>
                      <a:pt x="534" y="497"/>
                    </a:lnTo>
                    <a:lnTo>
                      <a:pt x="539" y="516"/>
                    </a:lnTo>
                    <a:lnTo>
                      <a:pt x="549" y="532"/>
                    </a:lnTo>
                    <a:lnTo>
                      <a:pt x="551" y="539"/>
                    </a:lnTo>
                    <a:lnTo>
                      <a:pt x="553" y="542"/>
                    </a:lnTo>
                    <a:lnTo>
                      <a:pt x="553" y="542"/>
                    </a:lnTo>
                    <a:lnTo>
                      <a:pt x="563" y="542"/>
                    </a:lnTo>
                    <a:lnTo>
                      <a:pt x="565" y="542"/>
                    </a:lnTo>
                    <a:lnTo>
                      <a:pt x="570" y="549"/>
                    </a:lnTo>
                    <a:lnTo>
                      <a:pt x="567" y="558"/>
                    </a:lnTo>
                    <a:lnTo>
                      <a:pt x="570" y="563"/>
                    </a:lnTo>
                    <a:lnTo>
                      <a:pt x="577" y="565"/>
                    </a:lnTo>
                    <a:lnTo>
                      <a:pt x="582" y="568"/>
                    </a:lnTo>
                    <a:lnTo>
                      <a:pt x="603" y="568"/>
                    </a:lnTo>
                    <a:lnTo>
                      <a:pt x="608" y="568"/>
                    </a:lnTo>
                    <a:lnTo>
                      <a:pt x="608" y="570"/>
                    </a:lnTo>
                    <a:lnTo>
                      <a:pt x="608" y="575"/>
                    </a:lnTo>
                    <a:lnTo>
                      <a:pt x="608" y="582"/>
                    </a:lnTo>
                    <a:lnTo>
                      <a:pt x="603" y="591"/>
                    </a:lnTo>
                    <a:lnTo>
                      <a:pt x="596" y="601"/>
                    </a:lnTo>
                    <a:lnTo>
                      <a:pt x="593" y="612"/>
                    </a:lnTo>
                    <a:lnTo>
                      <a:pt x="584" y="634"/>
                    </a:lnTo>
                    <a:lnTo>
                      <a:pt x="577" y="648"/>
                    </a:lnTo>
                    <a:lnTo>
                      <a:pt x="575" y="662"/>
                    </a:lnTo>
                    <a:lnTo>
                      <a:pt x="565" y="669"/>
                    </a:lnTo>
                    <a:lnTo>
                      <a:pt x="567" y="681"/>
                    </a:lnTo>
                    <a:lnTo>
                      <a:pt x="563" y="695"/>
                    </a:lnTo>
                    <a:lnTo>
                      <a:pt x="563" y="700"/>
                    </a:lnTo>
                    <a:lnTo>
                      <a:pt x="567" y="709"/>
                    </a:lnTo>
                    <a:lnTo>
                      <a:pt x="567" y="728"/>
                    </a:lnTo>
                    <a:lnTo>
                      <a:pt x="565" y="731"/>
                    </a:lnTo>
                    <a:lnTo>
                      <a:pt x="551" y="735"/>
                    </a:lnTo>
                    <a:lnTo>
                      <a:pt x="546" y="740"/>
                    </a:lnTo>
                    <a:lnTo>
                      <a:pt x="544" y="747"/>
                    </a:lnTo>
                    <a:lnTo>
                      <a:pt x="544" y="769"/>
                    </a:lnTo>
                    <a:lnTo>
                      <a:pt x="537" y="778"/>
                    </a:lnTo>
                    <a:lnTo>
                      <a:pt x="534" y="787"/>
                    </a:lnTo>
                    <a:lnTo>
                      <a:pt x="534" y="790"/>
                    </a:lnTo>
                    <a:lnTo>
                      <a:pt x="546" y="797"/>
                    </a:lnTo>
                    <a:lnTo>
                      <a:pt x="558" y="811"/>
                    </a:lnTo>
                    <a:lnTo>
                      <a:pt x="560" y="813"/>
                    </a:lnTo>
                    <a:lnTo>
                      <a:pt x="565" y="813"/>
                    </a:lnTo>
                    <a:lnTo>
                      <a:pt x="572" y="811"/>
                    </a:lnTo>
                    <a:lnTo>
                      <a:pt x="579" y="806"/>
                    </a:lnTo>
                    <a:lnTo>
                      <a:pt x="596" y="802"/>
                    </a:lnTo>
                    <a:lnTo>
                      <a:pt x="615" y="787"/>
                    </a:lnTo>
                    <a:lnTo>
                      <a:pt x="617" y="783"/>
                    </a:lnTo>
                    <a:lnTo>
                      <a:pt x="617" y="780"/>
                    </a:lnTo>
                    <a:lnTo>
                      <a:pt x="619" y="780"/>
                    </a:lnTo>
                    <a:lnTo>
                      <a:pt x="624" y="785"/>
                    </a:lnTo>
                    <a:lnTo>
                      <a:pt x="634" y="797"/>
                    </a:lnTo>
                    <a:lnTo>
                      <a:pt x="641" y="804"/>
                    </a:lnTo>
                    <a:lnTo>
                      <a:pt x="641" y="806"/>
                    </a:lnTo>
                    <a:lnTo>
                      <a:pt x="643" y="809"/>
                    </a:lnTo>
                    <a:lnTo>
                      <a:pt x="641" y="818"/>
                    </a:lnTo>
                    <a:lnTo>
                      <a:pt x="643" y="828"/>
                    </a:lnTo>
                    <a:lnTo>
                      <a:pt x="641" y="839"/>
                    </a:lnTo>
                    <a:lnTo>
                      <a:pt x="645" y="854"/>
                    </a:lnTo>
                    <a:lnTo>
                      <a:pt x="645" y="870"/>
                    </a:lnTo>
                    <a:lnTo>
                      <a:pt x="655" y="891"/>
                    </a:lnTo>
                    <a:lnTo>
                      <a:pt x="660" y="908"/>
                    </a:lnTo>
                    <a:lnTo>
                      <a:pt x="664" y="915"/>
                    </a:lnTo>
                    <a:lnTo>
                      <a:pt x="669" y="925"/>
                    </a:lnTo>
                    <a:lnTo>
                      <a:pt x="671" y="934"/>
                    </a:lnTo>
                    <a:lnTo>
                      <a:pt x="671" y="941"/>
                    </a:lnTo>
                    <a:lnTo>
                      <a:pt x="662" y="955"/>
                    </a:lnTo>
                    <a:lnTo>
                      <a:pt x="664" y="960"/>
                    </a:lnTo>
                    <a:lnTo>
                      <a:pt x="667" y="967"/>
                    </a:lnTo>
                    <a:lnTo>
                      <a:pt x="679" y="984"/>
                    </a:lnTo>
                    <a:lnTo>
                      <a:pt x="681" y="986"/>
                    </a:lnTo>
                    <a:lnTo>
                      <a:pt x="693" y="986"/>
                    </a:lnTo>
                    <a:lnTo>
                      <a:pt x="700" y="991"/>
                    </a:lnTo>
                    <a:lnTo>
                      <a:pt x="705" y="998"/>
                    </a:lnTo>
                    <a:lnTo>
                      <a:pt x="709" y="1010"/>
                    </a:lnTo>
                    <a:lnTo>
                      <a:pt x="712" y="1022"/>
                    </a:lnTo>
                    <a:lnTo>
                      <a:pt x="712" y="1033"/>
                    </a:lnTo>
                    <a:lnTo>
                      <a:pt x="716" y="1050"/>
                    </a:lnTo>
                    <a:lnTo>
                      <a:pt x="714" y="1062"/>
                    </a:lnTo>
                    <a:lnTo>
                      <a:pt x="719" y="1066"/>
                    </a:lnTo>
                    <a:lnTo>
                      <a:pt x="726" y="1076"/>
                    </a:lnTo>
                    <a:lnTo>
                      <a:pt x="733" y="1083"/>
                    </a:lnTo>
                    <a:lnTo>
                      <a:pt x="738" y="1083"/>
                    </a:lnTo>
                    <a:lnTo>
                      <a:pt x="740" y="1083"/>
                    </a:lnTo>
                    <a:lnTo>
                      <a:pt x="742" y="1076"/>
                    </a:lnTo>
                    <a:lnTo>
                      <a:pt x="745" y="1071"/>
                    </a:lnTo>
                    <a:lnTo>
                      <a:pt x="757" y="1066"/>
                    </a:lnTo>
                    <a:lnTo>
                      <a:pt x="768" y="1066"/>
                    </a:lnTo>
                    <a:lnTo>
                      <a:pt x="804" y="1081"/>
                    </a:lnTo>
                    <a:lnTo>
                      <a:pt x="806" y="1081"/>
                    </a:lnTo>
                    <a:lnTo>
                      <a:pt x="809" y="1078"/>
                    </a:lnTo>
                    <a:lnTo>
                      <a:pt x="818" y="1069"/>
                    </a:lnTo>
                    <a:lnTo>
                      <a:pt x="823" y="1066"/>
                    </a:lnTo>
                    <a:lnTo>
                      <a:pt x="832" y="1066"/>
                    </a:lnTo>
                    <a:lnTo>
                      <a:pt x="856" y="1074"/>
                    </a:lnTo>
                    <a:lnTo>
                      <a:pt x="882" y="1076"/>
                    </a:lnTo>
                    <a:lnTo>
                      <a:pt x="896" y="1081"/>
                    </a:lnTo>
                    <a:lnTo>
                      <a:pt x="917" y="1081"/>
                    </a:lnTo>
                    <a:lnTo>
                      <a:pt x="941" y="1088"/>
                    </a:lnTo>
                    <a:lnTo>
                      <a:pt x="943" y="1088"/>
                    </a:lnTo>
                    <a:lnTo>
                      <a:pt x="946" y="1085"/>
                    </a:lnTo>
                    <a:lnTo>
                      <a:pt x="943" y="1081"/>
                    </a:lnTo>
                    <a:lnTo>
                      <a:pt x="943" y="1071"/>
                    </a:lnTo>
                    <a:lnTo>
                      <a:pt x="950" y="1062"/>
                    </a:lnTo>
                    <a:lnTo>
                      <a:pt x="955" y="1055"/>
                    </a:lnTo>
                    <a:lnTo>
                      <a:pt x="960" y="1050"/>
                    </a:lnTo>
                    <a:lnTo>
                      <a:pt x="967" y="1050"/>
                    </a:lnTo>
                    <a:lnTo>
                      <a:pt x="972" y="1050"/>
                    </a:lnTo>
                    <a:lnTo>
                      <a:pt x="976" y="1057"/>
                    </a:lnTo>
                    <a:lnTo>
                      <a:pt x="981" y="1064"/>
                    </a:lnTo>
                    <a:lnTo>
                      <a:pt x="986" y="1085"/>
                    </a:lnTo>
                    <a:lnTo>
                      <a:pt x="991" y="1095"/>
                    </a:lnTo>
                    <a:lnTo>
                      <a:pt x="998" y="1102"/>
                    </a:lnTo>
                    <a:lnTo>
                      <a:pt x="1005" y="110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999" name="Freeform 56">
                <a:extLst>
                  <a:ext uri="{FF2B5EF4-FFF2-40B4-BE49-F238E27FC236}">
                    <a16:creationId xmlns:a16="http://schemas.microsoft.com/office/drawing/2014/main" id="{2A67434C-01A8-A0FE-5FB7-13609D7B03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2" y="527"/>
                <a:ext cx="669" cy="1171"/>
              </a:xfrm>
              <a:custGeom>
                <a:avLst/>
                <a:gdLst>
                  <a:gd name="T0" fmla="*/ 558 w 669"/>
                  <a:gd name="T1" fmla="*/ 59 h 1171"/>
                  <a:gd name="T2" fmla="*/ 577 w 669"/>
                  <a:gd name="T3" fmla="*/ 85 h 1171"/>
                  <a:gd name="T4" fmla="*/ 605 w 669"/>
                  <a:gd name="T5" fmla="*/ 149 h 1171"/>
                  <a:gd name="T6" fmla="*/ 622 w 669"/>
                  <a:gd name="T7" fmla="*/ 277 h 1171"/>
                  <a:gd name="T8" fmla="*/ 638 w 669"/>
                  <a:gd name="T9" fmla="*/ 464 h 1171"/>
                  <a:gd name="T10" fmla="*/ 655 w 669"/>
                  <a:gd name="T11" fmla="*/ 648 h 1171"/>
                  <a:gd name="T12" fmla="*/ 643 w 669"/>
                  <a:gd name="T13" fmla="*/ 669 h 1171"/>
                  <a:gd name="T14" fmla="*/ 641 w 669"/>
                  <a:gd name="T15" fmla="*/ 695 h 1171"/>
                  <a:gd name="T16" fmla="*/ 664 w 669"/>
                  <a:gd name="T17" fmla="*/ 747 h 1171"/>
                  <a:gd name="T18" fmla="*/ 659 w 669"/>
                  <a:gd name="T19" fmla="*/ 797 h 1171"/>
                  <a:gd name="T20" fmla="*/ 641 w 669"/>
                  <a:gd name="T21" fmla="*/ 842 h 1171"/>
                  <a:gd name="T22" fmla="*/ 619 w 669"/>
                  <a:gd name="T23" fmla="*/ 882 h 1171"/>
                  <a:gd name="T24" fmla="*/ 603 w 669"/>
                  <a:gd name="T25" fmla="*/ 892 h 1171"/>
                  <a:gd name="T26" fmla="*/ 610 w 669"/>
                  <a:gd name="T27" fmla="*/ 913 h 1171"/>
                  <a:gd name="T28" fmla="*/ 605 w 669"/>
                  <a:gd name="T29" fmla="*/ 927 h 1171"/>
                  <a:gd name="T30" fmla="*/ 598 w 669"/>
                  <a:gd name="T31" fmla="*/ 944 h 1171"/>
                  <a:gd name="T32" fmla="*/ 591 w 669"/>
                  <a:gd name="T33" fmla="*/ 967 h 1171"/>
                  <a:gd name="T34" fmla="*/ 596 w 669"/>
                  <a:gd name="T35" fmla="*/ 993 h 1171"/>
                  <a:gd name="T36" fmla="*/ 596 w 669"/>
                  <a:gd name="T37" fmla="*/ 1043 h 1171"/>
                  <a:gd name="T38" fmla="*/ 534 w 669"/>
                  <a:gd name="T39" fmla="*/ 1086 h 1171"/>
                  <a:gd name="T40" fmla="*/ 544 w 669"/>
                  <a:gd name="T41" fmla="*/ 1123 h 1171"/>
                  <a:gd name="T42" fmla="*/ 518 w 669"/>
                  <a:gd name="T43" fmla="*/ 1140 h 1171"/>
                  <a:gd name="T44" fmla="*/ 430 w 669"/>
                  <a:gd name="T45" fmla="*/ 1149 h 1171"/>
                  <a:gd name="T46" fmla="*/ 416 w 669"/>
                  <a:gd name="T47" fmla="*/ 1159 h 1171"/>
                  <a:gd name="T48" fmla="*/ 404 w 669"/>
                  <a:gd name="T49" fmla="*/ 1157 h 1171"/>
                  <a:gd name="T50" fmla="*/ 407 w 669"/>
                  <a:gd name="T51" fmla="*/ 1166 h 1171"/>
                  <a:gd name="T52" fmla="*/ 395 w 669"/>
                  <a:gd name="T53" fmla="*/ 1166 h 1171"/>
                  <a:gd name="T54" fmla="*/ 366 w 669"/>
                  <a:gd name="T55" fmla="*/ 1112 h 1171"/>
                  <a:gd name="T56" fmla="*/ 364 w 669"/>
                  <a:gd name="T57" fmla="*/ 1069 h 1171"/>
                  <a:gd name="T58" fmla="*/ 340 w 669"/>
                  <a:gd name="T59" fmla="*/ 1019 h 1171"/>
                  <a:gd name="T60" fmla="*/ 262 w 669"/>
                  <a:gd name="T61" fmla="*/ 972 h 1171"/>
                  <a:gd name="T62" fmla="*/ 208 w 669"/>
                  <a:gd name="T63" fmla="*/ 920 h 1171"/>
                  <a:gd name="T64" fmla="*/ 239 w 669"/>
                  <a:gd name="T65" fmla="*/ 809 h 1171"/>
                  <a:gd name="T66" fmla="*/ 239 w 669"/>
                  <a:gd name="T67" fmla="*/ 795 h 1171"/>
                  <a:gd name="T68" fmla="*/ 203 w 669"/>
                  <a:gd name="T69" fmla="*/ 778 h 1171"/>
                  <a:gd name="T70" fmla="*/ 151 w 669"/>
                  <a:gd name="T71" fmla="*/ 771 h 1171"/>
                  <a:gd name="T72" fmla="*/ 54 w 669"/>
                  <a:gd name="T73" fmla="*/ 646 h 1171"/>
                  <a:gd name="T74" fmla="*/ 9 w 669"/>
                  <a:gd name="T75" fmla="*/ 577 h 1171"/>
                  <a:gd name="T76" fmla="*/ 9 w 669"/>
                  <a:gd name="T77" fmla="*/ 485 h 1171"/>
                  <a:gd name="T78" fmla="*/ 14 w 669"/>
                  <a:gd name="T79" fmla="*/ 452 h 1171"/>
                  <a:gd name="T80" fmla="*/ 59 w 669"/>
                  <a:gd name="T81" fmla="*/ 405 h 1171"/>
                  <a:gd name="T82" fmla="*/ 78 w 669"/>
                  <a:gd name="T83" fmla="*/ 334 h 1171"/>
                  <a:gd name="T84" fmla="*/ 57 w 669"/>
                  <a:gd name="T85" fmla="*/ 293 h 1171"/>
                  <a:gd name="T86" fmla="*/ 106 w 669"/>
                  <a:gd name="T87" fmla="*/ 253 h 1171"/>
                  <a:gd name="T88" fmla="*/ 168 w 669"/>
                  <a:gd name="T89" fmla="*/ 213 h 1171"/>
                  <a:gd name="T90" fmla="*/ 187 w 669"/>
                  <a:gd name="T91" fmla="*/ 173 h 1171"/>
                  <a:gd name="T92" fmla="*/ 194 w 669"/>
                  <a:gd name="T93" fmla="*/ 121 h 1171"/>
                  <a:gd name="T94" fmla="*/ 161 w 669"/>
                  <a:gd name="T95" fmla="*/ 90 h 1171"/>
                  <a:gd name="T96" fmla="*/ 137 w 669"/>
                  <a:gd name="T97" fmla="*/ 55 h 1171"/>
                  <a:gd name="T98" fmla="*/ 182 w 669"/>
                  <a:gd name="T99" fmla="*/ 26 h 1171"/>
                  <a:gd name="T100" fmla="*/ 390 w 669"/>
                  <a:gd name="T101" fmla="*/ 12 h 1171"/>
                  <a:gd name="T102" fmla="*/ 551 w 669"/>
                  <a:gd name="T103" fmla="*/ 0 h 1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69" h="1171">
                    <a:moveTo>
                      <a:pt x="551" y="0"/>
                    </a:moveTo>
                    <a:lnTo>
                      <a:pt x="553" y="33"/>
                    </a:lnTo>
                    <a:lnTo>
                      <a:pt x="558" y="59"/>
                    </a:lnTo>
                    <a:lnTo>
                      <a:pt x="565" y="71"/>
                    </a:lnTo>
                    <a:lnTo>
                      <a:pt x="570" y="81"/>
                    </a:lnTo>
                    <a:lnTo>
                      <a:pt x="577" y="85"/>
                    </a:lnTo>
                    <a:lnTo>
                      <a:pt x="586" y="102"/>
                    </a:lnTo>
                    <a:lnTo>
                      <a:pt x="596" y="130"/>
                    </a:lnTo>
                    <a:lnTo>
                      <a:pt x="605" y="149"/>
                    </a:lnTo>
                    <a:lnTo>
                      <a:pt x="610" y="156"/>
                    </a:lnTo>
                    <a:lnTo>
                      <a:pt x="617" y="213"/>
                    </a:lnTo>
                    <a:lnTo>
                      <a:pt x="622" y="277"/>
                    </a:lnTo>
                    <a:lnTo>
                      <a:pt x="626" y="338"/>
                    </a:lnTo>
                    <a:lnTo>
                      <a:pt x="633" y="402"/>
                    </a:lnTo>
                    <a:lnTo>
                      <a:pt x="638" y="464"/>
                    </a:lnTo>
                    <a:lnTo>
                      <a:pt x="645" y="528"/>
                    </a:lnTo>
                    <a:lnTo>
                      <a:pt x="650" y="589"/>
                    </a:lnTo>
                    <a:lnTo>
                      <a:pt x="655" y="648"/>
                    </a:lnTo>
                    <a:lnTo>
                      <a:pt x="655" y="651"/>
                    </a:lnTo>
                    <a:lnTo>
                      <a:pt x="648" y="658"/>
                    </a:lnTo>
                    <a:lnTo>
                      <a:pt x="643" y="669"/>
                    </a:lnTo>
                    <a:lnTo>
                      <a:pt x="648" y="681"/>
                    </a:lnTo>
                    <a:lnTo>
                      <a:pt x="645" y="688"/>
                    </a:lnTo>
                    <a:lnTo>
                      <a:pt x="641" y="695"/>
                    </a:lnTo>
                    <a:lnTo>
                      <a:pt x="645" y="707"/>
                    </a:lnTo>
                    <a:lnTo>
                      <a:pt x="657" y="729"/>
                    </a:lnTo>
                    <a:lnTo>
                      <a:pt x="664" y="747"/>
                    </a:lnTo>
                    <a:lnTo>
                      <a:pt x="669" y="769"/>
                    </a:lnTo>
                    <a:lnTo>
                      <a:pt x="669" y="783"/>
                    </a:lnTo>
                    <a:lnTo>
                      <a:pt x="659" y="797"/>
                    </a:lnTo>
                    <a:lnTo>
                      <a:pt x="655" y="826"/>
                    </a:lnTo>
                    <a:lnTo>
                      <a:pt x="648" y="837"/>
                    </a:lnTo>
                    <a:lnTo>
                      <a:pt x="641" y="842"/>
                    </a:lnTo>
                    <a:lnTo>
                      <a:pt x="633" y="854"/>
                    </a:lnTo>
                    <a:lnTo>
                      <a:pt x="626" y="873"/>
                    </a:lnTo>
                    <a:lnTo>
                      <a:pt x="619" y="882"/>
                    </a:lnTo>
                    <a:lnTo>
                      <a:pt x="612" y="882"/>
                    </a:lnTo>
                    <a:lnTo>
                      <a:pt x="607" y="885"/>
                    </a:lnTo>
                    <a:lnTo>
                      <a:pt x="603" y="892"/>
                    </a:lnTo>
                    <a:lnTo>
                      <a:pt x="605" y="899"/>
                    </a:lnTo>
                    <a:lnTo>
                      <a:pt x="610" y="906"/>
                    </a:lnTo>
                    <a:lnTo>
                      <a:pt x="610" y="913"/>
                    </a:lnTo>
                    <a:lnTo>
                      <a:pt x="603" y="920"/>
                    </a:lnTo>
                    <a:lnTo>
                      <a:pt x="603" y="925"/>
                    </a:lnTo>
                    <a:lnTo>
                      <a:pt x="605" y="927"/>
                    </a:lnTo>
                    <a:lnTo>
                      <a:pt x="605" y="930"/>
                    </a:lnTo>
                    <a:lnTo>
                      <a:pt x="600" y="932"/>
                    </a:lnTo>
                    <a:lnTo>
                      <a:pt x="598" y="944"/>
                    </a:lnTo>
                    <a:lnTo>
                      <a:pt x="598" y="958"/>
                    </a:lnTo>
                    <a:lnTo>
                      <a:pt x="596" y="967"/>
                    </a:lnTo>
                    <a:lnTo>
                      <a:pt x="591" y="967"/>
                    </a:lnTo>
                    <a:lnTo>
                      <a:pt x="591" y="972"/>
                    </a:lnTo>
                    <a:lnTo>
                      <a:pt x="603" y="989"/>
                    </a:lnTo>
                    <a:lnTo>
                      <a:pt x="596" y="993"/>
                    </a:lnTo>
                    <a:lnTo>
                      <a:pt x="589" y="1010"/>
                    </a:lnTo>
                    <a:lnTo>
                      <a:pt x="589" y="1026"/>
                    </a:lnTo>
                    <a:lnTo>
                      <a:pt x="596" y="1043"/>
                    </a:lnTo>
                    <a:lnTo>
                      <a:pt x="584" y="1060"/>
                    </a:lnTo>
                    <a:lnTo>
                      <a:pt x="551" y="1074"/>
                    </a:lnTo>
                    <a:lnTo>
                      <a:pt x="534" y="1086"/>
                    </a:lnTo>
                    <a:lnTo>
                      <a:pt x="532" y="1093"/>
                    </a:lnTo>
                    <a:lnTo>
                      <a:pt x="537" y="1107"/>
                    </a:lnTo>
                    <a:lnTo>
                      <a:pt x="544" y="1123"/>
                    </a:lnTo>
                    <a:lnTo>
                      <a:pt x="546" y="1135"/>
                    </a:lnTo>
                    <a:lnTo>
                      <a:pt x="541" y="1142"/>
                    </a:lnTo>
                    <a:lnTo>
                      <a:pt x="518" y="1140"/>
                    </a:lnTo>
                    <a:lnTo>
                      <a:pt x="473" y="1128"/>
                    </a:lnTo>
                    <a:lnTo>
                      <a:pt x="444" y="1131"/>
                    </a:lnTo>
                    <a:lnTo>
                      <a:pt x="430" y="1149"/>
                    </a:lnTo>
                    <a:lnTo>
                      <a:pt x="428" y="1161"/>
                    </a:lnTo>
                    <a:lnTo>
                      <a:pt x="430" y="1171"/>
                    </a:lnTo>
                    <a:lnTo>
                      <a:pt x="416" y="1159"/>
                    </a:lnTo>
                    <a:lnTo>
                      <a:pt x="409" y="1154"/>
                    </a:lnTo>
                    <a:lnTo>
                      <a:pt x="407" y="1157"/>
                    </a:lnTo>
                    <a:lnTo>
                      <a:pt x="404" y="1157"/>
                    </a:lnTo>
                    <a:lnTo>
                      <a:pt x="404" y="1161"/>
                    </a:lnTo>
                    <a:lnTo>
                      <a:pt x="404" y="1164"/>
                    </a:lnTo>
                    <a:lnTo>
                      <a:pt x="407" y="1166"/>
                    </a:lnTo>
                    <a:lnTo>
                      <a:pt x="407" y="1168"/>
                    </a:lnTo>
                    <a:lnTo>
                      <a:pt x="404" y="1168"/>
                    </a:lnTo>
                    <a:lnTo>
                      <a:pt x="395" y="1166"/>
                    </a:lnTo>
                    <a:lnTo>
                      <a:pt x="383" y="1152"/>
                    </a:lnTo>
                    <a:lnTo>
                      <a:pt x="371" y="1131"/>
                    </a:lnTo>
                    <a:lnTo>
                      <a:pt x="366" y="1112"/>
                    </a:lnTo>
                    <a:lnTo>
                      <a:pt x="371" y="1097"/>
                    </a:lnTo>
                    <a:lnTo>
                      <a:pt x="371" y="1083"/>
                    </a:lnTo>
                    <a:lnTo>
                      <a:pt x="364" y="1069"/>
                    </a:lnTo>
                    <a:lnTo>
                      <a:pt x="359" y="1055"/>
                    </a:lnTo>
                    <a:lnTo>
                      <a:pt x="357" y="1041"/>
                    </a:lnTo>
                    <a:lnTo>
                      <a:pt x="340" y="1019"/>
                    </a:lnTo>
                    <a:lnTo>
                      <a:pt x="305" y="993"/>
                    </a:lnTo>
                    <a:lnTo>
                      <a:pt x="279" y="977"/>
                    </a:lnTo>
                    <a:lnTo>
                      <a:pt x="262" y="972"/>
                    </a:lnTo>
                    <a:lnTo>
                      <a:pt x="243" y="958"/>
                    </a:lnTo>
                    <a:lnTo>
                      <a:pt x="222" y="937"/>
                    </a:lnTo>
                    <a:lnTo>
                      <a:pt x="208" y="920"/>
                    </a:lnTo>
                    <a:lnTo>
                      <a:pt x="208" y="911"/>
                    </a:lnTo>
                    <a:lnTo>
                      <a:pt x="215" y="878"/>
                    </a:lnTo>
                    <a:lnTo>
                      <a:pt x="239" y="809"/>
                    </a:lnTo>
                    <a:lnTo>
                      <a:pt x="241" y="799"/>
                    </a:lnTo>
                    <a:lnTo>
                      <a:pt x="241" y="797"/>
                    </a:lnTo>
                    <a:lnTo>
                      <a:pt x="239" y="795"/>
                    </a:lnTo>
                    <a:lnTo>
                      <a:pt x="236" y="792"/>
                    </a:lnTo>
                    <a:lnTo>
                      <a:pt x="225" y="785"/>
                    </a:lnTo>
                    <a:lnTo>
                      <a:pt x="203" y="778"/>
                    </a:lnTo>
                    <a:lnTo>
                      <a:pt x="182" y="776"/>
                    </a:lnTo>
                    <a:lnTo>
                      <a:pt x="165" y="785"/>
                    </a:lnTo>
                    <a:lnTo>
                      <a:pt x="151" y="771"/>
                    </a:lnTo>
                    <a:lnTo>
                      <a:pt x="137" y="731"/>
                    </a:lnTo>
                    <a:lnTo>
                      <a:pt x="104" y="688"/>
                    </a:lnTo>
                    <a:lnTo>
                      <a:pt x="54" y="646"/>
                    </a:lnTo>
                    <a:lnTo>
                      <a:pt x="26" y="617"/>
                    </a:lnTo>
                    <a:lnTo>
                      <a:pt x="16" y="601"/>
                    </a:lnTo>
                    <a:lnTo>
                      <a:pt x="9" y="577"/>
                    </a:lnTo>
                    <a:lnTo>
                      <a:pt x="2" y="544"/>
                    </a:lnTo>
                    <a:lnTo>
                      <a:pt x="0" y="518"/>
                    </a:lnTo>
                    <a:lnTo>
                      <a:pt x="9" y="485"/>
                    </a:lnTo>
                    <a:lnTo>
                      <a:pt x="16" y="480"/>
                    </a:lnTo>
                    <a:lnTo>
                      <a:pt x="19" y="471"/>
                    </a:lnTo>
                    <a:lnTo>
                      <a:pt x="14" y="452"/>
                    </a:lnTo>
                    <a:lnTo>
                      <a:pt x="24" y="438"/>
                    </a:lnTo>
                    <a:lnTo>
                      <a:pt x="43" y="426"/>
                    </a:lnTo>
                    <a:lnTo>
                      <a:pt x="59" y="405"/>
                    </a:lnTo>
                    <a:lnTo>
                      <a:pt x="73" y="372"/>
                    </a:lnTo>
                    <a:lnTo>
                      <a:pt x="80" y="348"/>
                    </a:lnTo>
                    <a:lnTo>
                      <a:pt x="78" y="334"/>
                    </a:lnTo>
                    <a:lnTo>
                      <a:pt x="71" y="320"/>
                    </a:lnTo>
                    <a:lnTo>
                      <a:pt x="59" y="308"/>
                    </a:lnTo>
                    <a:lnTo>
                      <a:pt x="57" y="293"/>
                    </a:lnTo>
                    <a:lnTo>
                      <a:pt x="61" y="275"/>
                    </a:lnTo>
                    <a:lnTo>
                      <a:pt x="78" y="260"/>
                    </a:lnTo>
                    <a:lnTo>
                      <a:pt x="106" y="253"/>
                    </a:lnTo>
                    <a:lnTo>
                      <a:pt x="132" y="244"/>
                    </a:lnTo>
                    <a:lnTo>
                      <a:pt x="156" y="227"/>
                    </a:lnTo>
                    <a:lnTo>
                      <a:pt x="168" y="213"/>
                    </a:lnTo>
                    <a:lnTo>
                      <a:pt x="173" y="197"/>
                    </a:lnTo>
                    <a:lnTo>
                      <a:pt x="177" y="182"/>
                    </a:lnTo>
                    <a:lnTo>
                      <a:pt x="187" y="173"/>
                    </a:lnTo>
                    <a:lnTo>
                      <a:pt x="191" y="156"/>
                    </a:lnTo>
                    <a:lnTo>
                      <a:pt x="194" y="137"/>
                    </a:lnTo>
                    <a:lnTo>
                      <a:pt x="194" y="121"/>
                    </a:lnTo>
                    <a:lnTo>
                      <a:pt x="189" y="111"/>
                    </a:lnTo>
                    <a:lnTo>
                      <a:pt x="180" y="102"/>
                    </a:lnTo>
                    <a:lnTo>
                      <a:pt x="161" y="90"/>
                    </a:lnTo>
                    <a:lnTo>
                      <a:pt x="149" y="78"/>
                    </a:lnTo>
                    <a:lnTo>
                      <a:pt x="147" y="67"/>
                    </a:lnTo>
                    <a:lnTo>
                      <a:pt x="137" y="55"/>
                    </a:lnTo>
                    <a:lnTo>
                      <a:pt x="121" y="43"/>
                    </a:lnTo>
                    <a:lnTo>
                      <a:pt x="109" y="29"/>
                    </a:lnTo>
                    <a:lnTo>
                      <a:pt x="182" y="26"/>
                    </a:lnTo>
                    <a:lnTo>
                      <a:pt x="251" y="22"/>
                    </a:lnTo>
                    <a:lnTo>
                      <a:pt x="321" y="17"/>
                    </a:lnTo>
                    <a:lnTo>
                      <a:pt x="390" y="12"/>
                    </a:lnTo>
                    <a:lnTo>
                      <a:pt x="461" y="7"/>
                    </a:lnTo>
                    <a:lnTo>
                      <a:pt x="532" y="3"/>
                    </a:lnTo>
                    <a:lnTo>
                      <a:pt x="55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00" name="Freeform 57">
                <a:extLst>
                  <a:ext uri="{FF2B5EF4-FFF2-40B4-BE49-F238E27FC236}">
                    <a16:creationId xmlns:a16="http://schemas.microsoft.com/office/drawing/2014/main" id="{057BCD67-D8FD-8FD9-7F67-753B2C1E6D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3" y="631"/>
                <a:ext cx="522" cy="885"/>
              </a:xfrm>
              <a:custGeom>
                <a:avLst/>
                <a:gdLst>
                  <a:gd name="T0" fmla="*/ 463 w 522"/>
                  <a:gd name="T1" fmla="*/ 149 h 885"/>
                  <a:gd name="T2" fmla="*/ 487 w 522"/>
                  <a:gd name="T3" fmla="*/ 353 h 885"/>
                  <a:gd name="T4" fmla="*/ 510 w 522"/>
                  <a:gd name="T5" fmla="*/ 558 h 885"/>
                  <a:gd name="T6" fmla="*/ 510 w 522"/>
                  <a:gd name="T7" fmla="*/ 577 h 885"/>
                  <a:gd name="T8" fmla="*/ 510 w 522"/>
                  <a:gd name="T9" fmla="*/ 596 h 885"/>
                  <a:gd name="T10" fmla="*/ 522 w 522"/>
                  <a:gd name="T11" fmla="*/ 613 h 885"/>
                  <a:gd name="T12" fmla="*/ 470 w 522"/>
                  <a:gd name="T13" fmla="*/ 646 h 885"/>
                  <a:gd name="T14" fmla="*/ 461 w 522"/>
                  <a:gd name="T15" fmla="*/ 648 h 885"/>
                  <a:gd name="T16" fmla="*/ 442 w 522"/>
                  <a:gd name="T17" fmla="*/ 641 h 885"/>
                  <a:gd name="T18" fmla="*/ 425 w 522"/>
                  <a:gd name="T19" fmla="*/ 672 h 885"/>
                  <a:gd name="T20" fmla="*/ 399 w 522"/>
                  <a:gd name="T21" fmla="*/ 712 h 885"/>
                  <a:gd name="T22" fmla="*/ 373 w 522"/>
                  <a:gd name="T23" fmla="*/ 745 h 885"/>
                  <a:gd name="T24" fmla="*/ 350 w 522"/>
                  <a:gd name="T25" fmla="*/ 804 h 885"/>
                  <a:gd name="T26" fmla="*/ 310 w 522"/>
                  <a:gd name="T27" fmla="*/ 804 h 885"/>
                  <a:gd name="T28" fmla="*/ 288 w 522"/>
                  <a:gd name="T29" fmla="*/ 778 h 885"/>
                  <a:gd name="T30" fmla="*/ 281 w 522"/>
                  <a:gd name="T31" fmla="*/ 778 h 885"/>
                  <a:gd name="T32" fmla="*/ 269 w 522"/>
                  <a:gd name="T33" fmla="*/ 785 h 885"/>
                  <a:gd name="T34" fmla="*/ 267 w 522"/>
                  <a:gd name="T35" fmla="*/ 804 h 885"/>
                  <a:gd name="T36" fmla="*/ 260 w 522"/>
                  <a:gd name="T37" fmla="*/ 826 h 885"/>
                  <a:gd name="T38" fmla="*/ 236 w 522"/>
                  <a:gd name="T39" fmla="*/ 842 h 885"/>
                  <a:gd name="T40" fmla="*/ 187 w 522"/>
                  <a:gd name="T41" fmla="*/ 837 h 885"/>
                  <a:gd name="T42" fmla="*/ 161 w 522"/>
                  <a:gd name="T43" fmla="*/ 868 h 885"/>
                  <a:gd name="T44" fmla="*/ 104 w 522"/>
                  <a:gd name="T45" fmla="*/ 844 h 885"/>
                  <a:gd name="T46" fmla="*/ 85 w 522"/>
                  <a:gd name="T47" fmla="*/ 844 h 885"/>
                  <a:gd name="T48" fmla="*/ 83 w 522"/>
                  <a:gd name="T49" fmla="*/ 859 h 885"/>
                  <a:gd name="T50" fmla="*/ 73 w 522"/>
                  <a:gd name="T51" fmla="*/ 868 h 885"/>
                  <a:gd name="T52" fmla="*/ 54 w 522"/>
                  <a:gd name="T53" fmla="*/ 861 h 885"/>
                  <a:gd name="T54" fmla="*/ 33 w 522"/>
                  <a:gd name="T55" fmla="*/ 859 h 885"/>
                  <a:gd name="T56" fmla="*/ 31 w 522"/>
                  <a:gd name="T57" fmla="*/ 878 h 885"/>
                  <a:gd name="T58" fmla="*/ 14 w 522"/>
                  <a:gd name="T59" fmla="*/ 882 h 885"/>
                  <a:gd name="T60" fmla="*/ 0 w 522"/>
                  <a:gd name="T61" fmla="*/ 863 h 885"/>
                  <a:gd name="T62" fmla="*/ 7 w 522"/>
                  <a:gd name="T63" fmla="*/ 840 h 885"/>
                  <a:gd name="T64" fmla="*/ 14 w 522"/>
                  <a:gd name="T65" fmla="*/ 823 h 885"/>
                  <a:gd name="T66" fmla="*/ 19 w 522"/>
                  <a:gd name="T67" fmla="*/ 809 h 885"/>
                  <a:gd name="T68" fmla="*/ 12 w 522"/>
                  <a:gd name="T69" fmla="*/ 788 h 885"/>
                  <a:gd name="T70" fmla="*/ 28 w 522"/>
                  <a:gd name="T71" fmla="*/ 778 h 885"/>
                  <a:gd name="T72" fmla="*/ 50 w 522"/>
                  <a:gd name="T73" fmla="*/ 738 h 885"/>
                  <a:gd name="T74" fmla="*/ 68 w 522"/>
                  <a:gd name="T75" fmla="*/ 693 h 885"/>
                  <a:gd name="T76" fmla="*/ 73 w 522"/>
                  <a:gd name="T77" fmla="*/ 643 h 885"/>
                  <a:gd name="T78" fmla="*/ 50 w 522"/>
                  <a:gd name="T79" fmla="*/ 591 h 885"/>
                  <a:gd name="T80" fmla="*/ 52 w 522"/>
                  <a:gd name="T81" fmla="*/ 565 h 885"/>
                  <a:gd name="T82" fmla="*/ 64 w 522"/>
                  <a:gd name="T83" fmla="*/ 544 h 885"/>
                  <a:gd name="T84" fmla="*/ 47 w 522"/>
                  <a:gd name="T85" fmla="*/ 360 h 885"/>
                  <a:gd name="T86" fmla="*/ 31 w 522"/>
                  <a:gd name="T87" fmla="*/ 173 h 885"/>
                  <a:gd name="T88" fmla="*/ 21 w 522"/>
                  <a:gd name="T89" fmla="*/ 55 h 885"/>
                  <a:gd name="T90" fmla="*/ 35 w 522"/>
                  <a:gd name="T91" fmla="*/ 62 h 885"/>
                  <a:gd name="T92" fmla="*/ 64 w 522"/>
                  <a:gd name="T93" fmla="*/ 69 h 885"/>
                  <a:gd name="T94" fmla="*/ 123 w 522"/>
                  <a:gd name="T95" fmla="*/ 36 h 885"/>
                  <a:gd name="T96" fmla="*/ 258 w 522"/>
                  <a:gd name="T97" fmla="*/ 22 h 885"/>
                  <a:gd name="T98" fmla="*/ 399 w 522"/>
                  <a:gd name="T99" fmla="*/ 5 h 8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22" h="885">
                    <a:moveTo>
                      <a:pt x="447" y="12"/>
                    </a:moveTo>
                    <a:lnTo>
                      <a:pt x="456" y="81"/>
                    </a:lnTo>
                    <a:lnTo>
                      <a:pt x="463" y="149"/>
                    </a:lnTo>
                    <a:lnTo>
                      <a:pt x="470" y="216"/>
                    </a:lnTo>
                    <a:lnTo>
                      <a:pt x="480" y="284"/>
                    </a:lnTo>
                    <a:lnTo>
                      <a:pt x="487" y="353"/>
                    </a:lnTo>
                    <a:lnTo>
                      <a:pt x="494" y="421"/>
                    </a:lnTo>
                    <a:lnTo>
                      <a:pt x="503" y="487"/>
                    </a:lnTo>
                    <a:lnTo>
                      <a:pt x="510" y="558"/>
                    </a:lnTo>
                    <a:lnTo>
                      <a:pt x="508" y="561"/>
                    </a:lnTo>
                    <a:lnTo>
                      <a:pt x="506" y="570"/>
                    </a:lnTo>
                    <a:lnTo>
                      <a:pt x="510" y="577"/>
                    </a:lnTo>
                    <a:lnTo>
                      <a:pt x="513" y="584"/>
                    </a:lnTo>
                    <a:lnTo>
                      <a:pt x="508" y="591"/>
                    </a:lnTo>
                    <a:lnTo>
                      <a:pt x="510" y="596"/>
                    </a:lnTo>
                    <a:lnTo>
                      <a:pt x="518" y="596"/>
                    </a:lnTo>
                    <a:lnTo>
                      <a:pt x="522" y="603"/>
                    </a:lnTo>
                    <a:lnTo>
                      <a:pt x="522" y="613"/>
                    </a:lnTo>
                    <a:lnTo>
                      <a:pt x="506" y="627"/>
                    </a:lnTo>
                    <a:lnTo>
                      <a:pt x="477" y="641"/>
                    </a:lnTo>
                    <a:lnTo>
                      <a:pt x="470" y="646"/>
                    </a:lnTo>
                    <a:lnTo>
                      <a:pt x="466" y="648"/>
                    </a:lnTo>
                    <a:lnTo>
                      <a:pt x="461" y="648"/>
                    </a:lnTo>
                    <a:lnTo>
                      <a:pt x="461" y="648"/>
                    </a:lnTo>
                    <a:lnTo>
                      <a:pt x="458" y="646"/>
                    </a:lnTo>
                    <a:lnTo>
                      <a:pt x="451" y="641"/>
                    </a:lnTo>
                    <a:lnTo>
                      <a:pt x="442" y="641"/>
                    </a:lnTo>
                    <a:lnTo>
                      <a:pt x="425" y="643"/>
                    </a:lnTo>
                    <a:lnTo>
                      <a:pt x="421" y="655"/>
                    </a:lnTo>
                    <a:lnTo>
                      <a:pt x="425" y="672"/>
                    </a:lnTo>
                    <a:lnTo>
                      <a:pt x="421" y="686"/>
                    </a:lnTo>
                    <a:lnTo>
                      <a:pt x="409" y="698"/>
                    </a:lnTo>
                    <a:lnTo>
                      <a:pt x="399" y="712"/>
                    </a:lnTo>
                    <a:lnTo>
                      <a:pt x="395" y="729"/>
                    </a:lnTo>
                    <a:lnTo>
                      <a:pt x="385" y="740"/>
                    </a:lnTo>
                    <a:lnTo>
                      <a:pt x="373" y="745"/>
                    </a:lnTo>
                    <a:lnTo>
                      <a:pt x="364" y="759"/>
                    </a:lnTo>
                    <a:lnTo>
                      <a:pt x="359" y="788"/>
                    </a:lnTo>
                    <a:lnTo>
                      <a:pt x="350" y="804"/>
                    </a:lnTo>
                    <a:lnTo>
                      <a:pt x="340" y="811"/>
                    </a:lnTo>
                    <a:lnTo>
                      <a:pt x="328" y="811"/>
                    </a:lnTo>
                    <a:lnTo>
                      <a:pt x="310" y="804"/>
                    </a:lnTo>
                    <a:lnTo>
                      <a:pt x="298" y="795"/>
                    </a:lnTo>
                    <a:lnTo>
                      <a:pt x="295" y="785"/>
                    </a:lnTo>
                    <a:lnTo>
                      <a:pt x="288" y="778"/>
                    </a:lnTo>
                    <a:lnTo>
                      <a:pt x="284" y="776"/>
                    </a:lnTo>
                    <a:lnTo>
                      <a:pt x="281" y="776"/>
                    </a:lnTo>
                    <a:lnTo>
                      <a:pt x="281" y="778"/>
                    </a:lnTo>
                    <a:lnTo>
                      <a:pt x="281" y="781"/>
                    </a:lnTo>
                    <a:lnTo>
                      <a:pt x="281" y="785"/>
                    </a:lnTo>
                    <a:lnTo>
                      <a:pt x="269" y="785"/>
                    </a:lnTo>
                    <a:lnTo>
                      <a:pt x="267" y="790"/>
                    </a:lnTo>
                    <a:lnTo>
                      <a:pt x="269" y="797"/>
                    </a:lnTo>
                    <a:lnTo>
                      <a:pt x="267" y="804"/>
                    </a:lnTo>
                    <a:lnTo>
                      <a:pt x="260" y="807"/>
                    </a:lnTo>
                    <a:lnTo>
                      <a:pt x="258" y="814"/>
                    </a:lnTo>
                    <a:lnTo>
                      <a:pt x="260" y="826"/>
                    </a:lnTo>
                    <a:lnTo>
                      <a:pt x="255" y="835"/>
                    </a:lnTo>
                    <a:lnTo>
                      <a:pt x="248" y="844"/>
                    </a:lnTo>
                    <a:lnTo>
                      <a:pt x="236" y="842"/>
                    </a:lnTo>
                    <a:lnTo>
                      <a:pt x="217" y="830"/>
                    </a:lnTo>
                    <a:lnTo>
                      <a:pt x="201" y="828"/>
                    </a:lnTo>
                    <a:lnTo>
                      <a:pt x="187" y="837"/>
                    </a:lnTo>
                    <a:lnTo>
                      <a:pt x="175" y="849"/>
                    </a:lnTo>
                    <a:lnTo>
                      <a:pt x="168" y="863"/>
                    </a:lnTo>
                    <a:lnTo>
                      <a:pt x="161" y="868"/>
                    </a:lnTo>
                    <a:lnTo>
                      <a:pt x="146" y="859"/>
                    </a:lnTo>
                    <a:lnTo>
                      <a:pt x="118" y="847"/>
                    </a:lnTo>
                    <a:lnTo>
                      <a:pt x="104" y="844"/>
                    </a:lnTo>
                    <a:lnTo>
                      <a:pt x="94" y="849"/>
                    </a:lnTo>
                    <a:lnTo>
                      <a:pt x="87" y="849"/>
                    </a:lnTo>
                    <a:lnTo>
                      <a:pt x="85" y="844"/>
                    </a:lnTo>
                    <a:lnTo>
                      <a:pt x="83" y="844"/>
                    </a:lnTo>
                    <a:lnTo>
                      <a:pt x="80" y="847"/>
                    </a:lnTo>
                    <a:lnTo>
                      <a:pt x="83" y="859"/>
                    </a:lnTo>
                    <a:lnTo>
                      <a:pt x="80" y="866"/>
                    </a:lnTo>
                    <a:lnTo>
                      <a:pt x="76" y="870"/>
                    </a:lnTo>
                    <a:lnTo>
                      <a:pt x="73" y="868"/>
                    </a:lnTo>
                    <a:lnTo>
                      <a:pt x="68" y="861"/>
                    </a:lnTo>
                    <a:lnTo>
                      <a:pt x="64" y="859"/>
                    </a:lnTo>
                    <a:lnTo>
                      <a:pt x="54" y="861"/>
                    </a:lnTo>
                    <a:lnTo>
                      <a:pt x="45" y="861"/>
                    </a:lnTo>
                    <a:lnTo>
                      <a:pt x="35" y="856"/>
                    </a:lnTo>
                    <a:lnTo>
                      <a:pt x="33" y="859"/>
                    </a:lnTo>
                    <a:lnTo>
                      <a:pt x="31" y="861"/>
                    </a:lnTo>
                    <a:lnTo>
                      <a:pt x="33" y="870"/>
                    </a:lnTo>
                    <a:lnTo>
                      <a:pt x="31" y="878"/>
                    </a:lnTo>
                    <a:lnTo>
                      <a:pt x="28" y="882"/>
                    </a:lnTo>
                    <a:lnTo>
                      <a:pt x="21" y="885"/>
                    </a:lnTo>
                    <a:lnTo>
                      <a:pt x="14" y="882"/>
                    </a:lnTo>
                    <a:lnTo>
                      <a:pt x="12" y="885"/>
                    </a:lnTo>
                    <a:lnTo>
                      <a:pt x="0" y="868"/>
                    </a:lnTo>
                    <a:lnTo>
                      <a:pt x="0" y="863"/>
                    </a:lnTo>
                    <a:lnTo>
                      <a:pt x="5" y="863"/>
                    </a:lnTo>
                    <a:lnTo>
                      <a:pt x="7" y="854"/>
                    </a:lnTo>
                    <a:lnTo>
                      <a:pt x="7" y="840"/>
                    </a:lnTo>
                    <a:lnTo>
                      <a:pt x="9" y="828"/>
                    </a:lnTo>
                    <a:lnTo>
                      <a:pt x="14" y="826"/>
                    </a:lnTo>
                    <a:lnTo>
                      <a:pt x="14" y="823"/>
                    </a:lnTo>
                    <a:lnTo>
                      <a:pt x="12" y="821"/>
                    </a:lnTo>
                    <a:lnTo>
                      <a:pt x="12" y="816"/>
                    </a:lnTo>
                    <a:lnTo>
                      <a:pt x="19" y="809"/>
                    </a:lnTo>
                    <a:lnTo>
                      <a:pt x="19" y="802"/>
                    </a:lnTo>
                    <a:lnTo>
                      <a:pt x="14" y="795"/>
                    </a:lnTo>
                    <a:lnTo>
                      <a:pt x="12" y="788"/>
                    </a:lnTo>
                    <a:lnTo>
                      <a:pt x="16" y="781"/>
                    </a:lnTo>
                    <a:lnTo>
                      <a:pt x="21" y="778"/>
                    </a:lnTo>
                    <a:lnTo>
                      <a:pt x="28" y="778"/>
                    </a:lnTo>
                    <a:lnTo>
                      <a:pt x="35" y="769"/>
                    </a:lnTo>
                    <a:lnTo>
                      <a:pt x="42" y="750"/>
                    </a:lnTo>
                    <a:lnTo>
                      <a:pt x="50" y="738"/>
                    </a:lnTo>
                    <a:lnTo>
                      <a:pt x="57" y="733"/>
                    </a:lnTo>
                    <a:lnTo>
                      <a:pt x="64" y="722"/>
                    </a:lnTo>
                    <a:lnTo>
                      <a:pt x="68" y="693"/>
                    </a:lnTo>
                    <a:lnTo>
                      <a:pt x="78" y="679"/>
                    </a:lnTo>
                    <a:lnTo>
                      <a:pt x="78" y="665"/>
                    </a:lnTo>
                    <a:lnTo>
                      <a:pt x="73" y="643"/>
                    </a:lnTo>
                    <a:lnTo>
                      <a:pt x="66" y="625"/>
                    </a:lnTo>
                    <a:lnTo>
                      <a:pt x="54" y="603"/>
                    </a:lnTo>
                    <a:lnTo>
                      <a:pt x="50" y="591"/>
                    </a:lnTo>
                    <a:lnTo>
                      <a:pt x="54" y="584"/>
                    </a:lnTo>
                    <a:lnTo>
                      <a:pt x="57" y="577"/>
                    </a:lnTo>
                    <a:lnTo>
                      <a:pt x="52" y="565"/>
                    </a:lnTo>
                    <a:lnTo>
                      <a:pt x="57" y="554"/>
                    </a:lnTo>
                    <a:lnTo>
                      <a:pt x="64" y="547"/>
                    </a:lnTo>
                    <a:lnTo>
                      <a:pt x="64" y="544"/>
                    </a:lnTo>
                    <a:lnTo>
                      <a:pt x="59" y="485"/>
                    </a:lnTo>
                    <a:lnTo>
                      <a:pt x="54" y="424"/>
                    </a:lnTo>
                    <a:lnTo>
                      <a:pt x="47" y="360"/>
                    </a:lnTo>
                    <a:lnTo>
                      <a:pt x="42" y="298"/>
                    </a:lnTo>
                    <a:lnTo>
                      <a:pt x="35" y="234"/>
                    </a:lnTo>
                    <a:lnTo>
                      <a:pt x="31" y="173"/>
                    </a:lnTo>
                    <a:lnTo>
                      <a:pt x="26" y="109"/>
                    </a:lnTo>
                    <a:lnTo>
                      <a:pt x="19" y="52"/>
                    </a:lnTo>
                    <a:lnTo>
                      <a:pt x="21" y="55"/>
                    </a:lnTo>
                    <a:lnTo>
                      <a:pt x="28" y="59"/>
                    </a:lnTo>
                    <a:lnTo>
                      <a:pt x="33" y="62"/>
                    </a:lnTo>
                    <a:lnTo>
                      <a:pt x="35" y="62"/>
                    </a:lnTo>
                    <a:lnTo>
                      <a:pt x="38" y="67"/>
                    </a:lnTo>
                    <a:lnTo>
                      <a:pt x="47" y="69"/>
                    </a:lnTo>
                    <a:lnTo>
                      <a:pt x="64" y="69"/>
                    </a:lnTo>
                    <a:lnTo>
                      <a:pt x="78" y="64"/>
                    </a:lnTo>
                    <a:lnTo>
                      <a:pt x="92" y="59"/>
                    </a:lnTo>
                    <a:lnTo>
                      <a:pt x="123" y="36"/>
                    </a:lnTo>
                    <a:lnTo>
                      <a:pt x="161" y="33"/>
                    </a:lnTo>
                    <a:lnTo>
                      <a:pt x="208" y="26"/>
                    </a:lnTo>
                    <a:lnTo>
                      <a:pt x="258" y="22"/>
                    </a:lnTo>
                    <a:lnTo>
                      <a:pt x="305" y="17"/>
                    </a:lnTo>
                    <a:lnTo>
                      <a:pt x="352" y="12"/>
                    </a:lnTo>
                    <a:lnTo>
                      <a:pt x="399" y="5"/>
                    </a:lnTo>
                    <a:lnTo>
                      <a:pt x="447" y="0"/>
                    </a:lnTo>
                    <a:lnTo>
                      <a:pt x="447" y="1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01" name="Freeform 58">
                <a:extLst>
                  <a:ext uri="{FF2B5EF4-FFF2-40B4-BE49-F238E27FC236}">
                    <a16:creationId xmlns:a16="http://schemas.microsoft.com/office/drawing/2014/main" id="{11F196B9-1B0E-B524-208A-DC0DF8808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5" y="1078"/>
                <a:ext cx="1245" cy="662"/>
              </a:xfrm>
              <a:custGeom>
                <a:avLst/>
                <a:gdLst>
                  <a:gd name="T0" fmla="*/ 1207 w 1245"/>
                  <a:gd name="T1" fmla="*/ 662 h 662"/>
                  <a:gd name="T2" fmla="*/ 1129 w 1245"/>
                  <a:gd name="T3" fmla="*/ 662 h 662"/>
                  <a:gd name="T4" fmla="*/ 1051 w 1245"/>
                  <a:gd name="T5" fmla="*/ 662 h 662"/>
                  <a:gd name="T6" fmla="*/ 973 w 1245"/>
                  <a:gd name="T7" fmla="*/ 662 h 662"/>
                  <a:gd name="T8" fmla="*/ 895 w 1245"/>
                  <a:gd name="T9" fmla="*/ 662 h 662"/>
                  <a:gd name="T10" fmla="*/ 817 w 1245"/>
                  <a:gd name="T11" fmla="*/ 662 h 662"/>
                  <a:gd name="T12" fmla="*/ 739 w 1245"/>
                  <a:gd name="T13" fmla="*/ 660 h 662"/>
                  <a:gd name="T14" fmla="*/ 661 w 1245"/>
                  <a:gd name="T15" fmla="*/ 658 h 662"/>
                  <a:gd name="T16" fmla="*/ 583 w 1245"/>
                  <a:gd name="T17" fmla="*/ 658 h 662"/>
                  <a:gd name="T18" fmla="*/ 505 w 1245"/>
                  <a:gd name="T19" fmla="*/ 655 h 662"/>
                  <a:gd name="T20" fmla="*/ 427 w 1245"/>
                  <a:gd name="T21" fmla="*/ 650 h 662"/>
                  <a:gd name="T22" fmla="*/ 349 w 1245"/>
                  <a:gd name="T23" fmla="*/ 648 h 662"/>
                  <a:gd name="T24" fmla="*/ 271 w 1245"/>
                  <a:gd name="T25" fmla="*/ 643 h 662"/>
                  <a:gd name="T26" fmla="*/ 196 w 1245"/>
                  <a:gd name="T27" fmla="*/ 641 h 662"/>
                  <a:gd name="T28" fmla="*/ 118 w 1245"/>
                  <a:gd name="T29" fmla="*/ 636 h 662"/>
                  <a:gd name="T30" fmla="*/ 40 w 1245"/>
                  <a:gd name="T31" fmla="*/ 632 h 662"/>
                  <a:gd name="T32" fmla="*/ 2 w 1245"/>
                  <a:gd name="T33" fmla="*/ 589 h 662"/>
                  <a:gd name="T34" fmla="*/ 7 w 1245"/>
                  <a:gd name="T35" fmla="*/ 511 h 662"/>
                  <a:gd name="T36" fmla="*/ 14 w 1245"/>
                  <a:gd name="T37" fmla="*/ 433 h 662"/>
                  <a:gd name="T38" fmla="*/ 18 w 1245"/>
                  <a:gd name="T39" fmla="*/ 353 h 662"/>
                  <a:gd name="T40" fmla="*/ 23 w 1245"/>
                  <a:gd name="T41" fmla="*/ 275 h 662"/>
                  <a:gd name="T42" fmla="*/ 28 w 1245"/>
                  <a:gd name="T43" fmla="*/ 196 h 662"/>
                  <a:gd name="T44" fmla="*/ 33 w 1245"/>
                  <a:gd name="T45" fmla="*/ 118 h 662"/>
                  <a:gd name="T46" fmla="*/ 37 w 1245"/>
                  <a:gd name="T47" fmla="*/ 38 h 662"/>
                  <a:gd name="T48" fmla="*/ 73 w 1245"/>
                  <a:gd name="T49" fmla="*/ 3 h 662"/>
                  <a:gd name="T50" fmla="*/ 141 w 1245"/>
                  <a:gd name="T51" fmla="*/ 5 h 662"/>
                  <a:gd name="T52" fmla="*/ 210 w 1245"/>
                  <a:gd name="T53" fmla="*/ 10 h 662"/>
                  <a:gd name="T54" fmla="*/ 276 w 1245"/>
                  <a:gd name="T55" fmla="*/ 14 h 662"/>
                  <a:gd name="T56" fmla="*/ 345 w 1245"/>
                  <a:gd name="T57" fmla="*/ 17 h 662"/>
                  <a:gd name="T58" fmla="*/ 413 w 1245"/>
                  <a:gd name="T59" fmla="*/ 19 h 662"/>
                  <a:gd name="T60" fmla="*/ 479 w 1245"/>
                  <a:gd name="T61" fmla="*/ 22 h 662"/>
                  <a:gd name="T62" fmla="*/ 548 w 1245"/>
                  <a:gd name="T63" fmla="*/ 24 h 662"/>
                  <a:gd name="T64" fmla="*/ 617 w 1245"/>
                  <a:gd name="T65" fmla="*/ 26 h 662"/>
                  <a:gd name="T66" fmla="*/ 683 w 1245"/>
                  <a:gd name="T67" fmla="*/ 29 h 662"/>
                  <a:gd name="T68" fmla="*/ 751 w 1245"/>
                  <a:gd name="T69" fmla="*/ 29 h 662"/>
                  <a:gd name="T70" fmla="*/ 820 w 1245"/>
                  <a:gd name="T71" fmla="*/ 31 h 662"/>
                  <a:gd name="T72" fmla="*/ 886 w 1245"/>
                  <a:gd name="T73" fmla="*/ 31 h 662"/>
                  <a:gd name="T74" fmla="*/ 955 w 1245"/>
                  <a:gd name="T75" fmla="*/ 31 h 662"/>
                  <a:gd name="T76" fmla="*/ 1023 w 1245"/>
                  <a:gd name="T77" fmla="*/ 31 h 662"/>
                  <a:gd name="T78" fmla="*/ 1089 w 1245"/>
                  <a:gd name="T79" fmla="*/ 31 h 662"/>
                  <a:gd name="T80" fmla="*/ 1155 w 1245"/>
                  <a:gd name="T81" fmla="*/ 59 h 662"/>
                  <a:gd name="T82" fmla="*/ 1177 w 1245"/>
                  <a:gd name="T83" fmla="*/ 55 h 662"/>
                  <a:gd name="T84" fmla="*/ 1193 w 1245"/>
                  <a:gd name="T85" fmla="*/ 76 h 662"/>
                  <a:gd name="T86" fmla="*/ 1184 w 1245"/>
                  <a:gd name="T87" fmla="*/ 85 h 662"/>
                  <a:gd name="T88" fmla="*/ 1163 w 1245"/>
                  <a:gd name="T89" fmla="*/ 116 h 662"/>
                  <a:gd name="T90" fmla="*/ 1184 w 1245"/>
                  <a:gd name="T91" fmla="*/ 152 h 662"/>
                  <a:gd name="T92" fmla="*/ 1200 w 1245"/>
                  <a:gd name="T93" fmla="*/ 187 h 662"/>
                  <a:gd name="T94" fmla="*/ 1238 w 1245"/>
                  <a:gd name="T95" fmla="*/ 215 h 662"/>
                  <a:gd name="T96" fmla="*/ 1238 w 1245"/>
                  <a:gd name="T97" fmla="*/ 251 h 662"/>
                  <a:gd name="T98" fmla="*/ 1241 w 1245"/>
                  <a:gd name="T99" fmla="*/ 305 h 662"/>
                  <a:gd name="T100" fmla="*/ 1241 w 1245"/>
                  <a:gd name="T101" fmla="*/ 360 h 662"/>
                  <a:gd name="T102" fmla="*/ 1243 w 1245"/>
                  <a:gd name="T103" fmla="*/ 414 h 662"/>
                  <a:gd name="T104" fmla="*/ 1243 w 1245"/>
                  <a:gd name="T105" fmla="*/ 468 h 662"/>
                  <a:gd name="T106" fmla="*/ 1243 w 1245"/>
                  <a:gd name="T107" fmla="*/ 523 h 662"/>
                  <a:gd name="T108" fmla="*/ 1245 w 1245"/>
                  <a:gd name="T109" fmla="*/ 580 h 662"/>
                  <a:gd name="T110" fmla="*/ 1245 w 1245"/>
                  <a:gd name="T111" fmla="*/ 634 h 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45" h="662">
                    <a:moveTo>
                      <a:pt x="1245" y="660"/>
                    </a:moveTo>
                    <a:lnTo>
                      <a:pt x="1207" y="662"/>
                    </a:lnTo>
                    <a:lnTo>
                      <a:pt x="1167" y="662"/>
                    </a:lnTo>
                    <a:lnTo>
                      <a:pt x="1129" y="662"/>
                    </a:lnTo>
                    <a:lnTo>
                      <a:pt x="1089" y="662"/>
                    </a:lnTo>
                    <a:lnTo>
                      <a:pt x="1051" y="662"/>
                    </a:lnTo>
                    <a:lnTo>
                      <a:pt x="1011" y="662"/>
                    </a:lnTo>
                    <a:lnTo>
                      <a:pt x="973" y="662"/>
                    </a:lnTo>
                    <a:lnTo>
                      <a:pt x="936" y="662"/>
                    </a:lnTo>
                    <a:lnTo>
                      <a:pt x="895" y="662"/>
                    </a:lnTo>
                    <a:lnTo>
                      <a:pt x="858" y="662"/>
                    </a:lnTo>
                    <a:lnTo>
                      <a:pt x="817" y="662"/>
                    </a:lnTo>
                    <a:lnTo>
                      <a:pt x="780" y="660"/>
                    </a:lnTo>
                    <a:lnTo>
                      <a:pt x="739" y="660"/>
                    </a:lnTo>
                    <a:lnTo>
                      <a:pt x="702" y="660"/>
                    </a:lnTo>
                    <a:lnTo>
                      <a:pt x="661" y="658"/>
                    </a:lnTo>
                    <a:lnTo>
                      <a:pt x="624" y="658"/>
                    </a:lnTo>
                    <a:lnTo>
                      <a:pt x="583" y="658"/>
                    </a:lnTo>
                    <a:lnTo>
                      <a:pt x="546" y="655"/>
                    </a:lnTo>
                    <a:lnTo>
                      <a:pt x="505" y="655"/>
                    </a:lnTo>
                    <a:lnTo>
                      <a:pt x="468" y="653"/>
                    </a:lnTo>
                    <a:lnTo>
                      <a:pt x="427" y="650"/>
                    </a:lnTo>
                    <a:lnTo>
                      <a:pt x="390" y="650"/>
                    </a:lnTo>
                    <a:lnTo>
                      <a:pt x="349" y="648"/>
                    </a:lnTo>
                    <a:lnTo>
                      <a:pt x="312" y="646"/>
                    </a:lnTo>
                    <a:lnTo>
                      <a:pt x="271" y="643"/>
                    </a:lnTo>
                    <a:lnTo>
                      <a:pt x="234" y="643"/>
                    </a:lnTo>
                    <a:lnTo>
                      <a:pt x="196" y="641"/>
                    </a:lnTo>
                    <a:lnTo>
                      <a:pt x="156" y="639"/>
                    </a:lnTo>
                    <a:lnTo>
                      <a:pt x="118" y="636"/>
                    </a:lnTo>
                    <a:lnTo>
                      <a:pt x="78" y="634"/>
                    </a:lnTo>
                    <a:lnTo>
                      <a:pt x="40" y="632"/>
                    </a:lnTo>
                    <a:lnTo>
                      <a:pt x="0" y="629"/>
                    </a:lnTo>
                    <a:lnTo>
                      <a:pt x="2" y="589"/>
                    </a:lnTo>
                    <a:lnTo>
                      <a:pt x="4" y="551"/>
                    </a:lnTo>
                    <a:lnTo>
                      <a:pt x="7" y="511"/>
                    </a:lnTo>
                    <a:lnTo>
                      <a:pt x="11" y="471"/>
                    </a:lnTo>
                    <a:lnTo>
                      <a:pt x="14" y="433"/>
                    </a:lnTo>
                    <a:lnTo>
                      <a:pt x="16" y="393"/>
                    </a:lnTo>
                    <a:lnTo>
                      <a:pt x="18" y="353"/>
                    </a:lnTo>
                    <a:lnTo>
                      <a:pt x="21" y="315"/>
                    </a:lnTo>
                    <a:lnTo>
                      <a:pt x="23" y="275"/>
                    </a:lnTo>
                    <a:lnTo>
                      <a:pt x="26" y="237"/>
                    </a:lnTo>
                    <a:lnTo>
                      <a:pt x="28" y="196"/>
                    </a:lnTo>
                    <a:lnTo>
                      <a:pt x="30" y="156"/>
                    </a:lnTo>
                    <a:lnTo>
                      <a:pt x="33" y="118"/>
                    </a:lnTo>
                    <a:lnTo>
                      <a:pt x="35" y="78"/>
                    </a:lnTo>
                    <a:lnTo>
                      <a:pt x="37" y="38"/>
                    </a:lnTo>
                    <a:lnTo>
                      <a:pt x="40" y="0"/>
                    </a:lnTo>
                    <a:lnTo>
                      <a:pt x="73" y="3"/>
                    </a:lnTo>
                    <a:lnTo>
                      <a:pt x="108" y="5"/>
                    </a:lnTo>
                    <a:lnTo>
                      <a:pt x="141" y="5"/>
                    </a:lnTo>
                    <a:lnTo>
                      <a:pt x="174" y="7"/>
                    </a:lnTo>
                    <a:lnTo>
                      <a:pt x="210" y="10"/>
                    </a:lnTo>
                    <a:lnTo>
                      <a:pt x="243" y="12"/>
                    </a:lnTo>
                    <a:lnTo>
                      <a:pt x="276" y="14"/>
                    </a:lnTo>
                    <a:lnTo>
                      <a:pt x="312" y="14"/>
                    </a:lnTo>
                    <a:lnTo>
                      <a:pt x="345" y="17"/>
                    </a:lnTo>
                    <a:lnTo>
                      <a:pt x="378" y="19"/>
                    </a:lnTo>
                    <a:lnTo>
                      <a:pt x="413" y="19"/>
                    </a:lnTo>
                    <a:lnTo>
                      <a:pt x="446" y="22"/>
                    </a:lnTo>
                    <a:lnTo>
                      <a:pt x="479" y="22"/>
                    </a:lnTo>
                    <a:lnTo>
                      <a:pt x="515" y="24"/>
                    </a:lnTo>
                    <a:lnTo>
                      <a:pt x="548" y="24"/>
                    </a:lnTo>
                    <a:lnTo>
                      <a:pt x="581" y="26"/>
                    </a:lnTo>
                    <a:lnTo>
                      <a:pt x="617" y="26"/>
                    </a:lnTo>
                    <a:lnTo>
                      <a:pt x="650" y="26"/>
                    </a:lnTo>
                    <a:lnTo>
                      <a:pt x="683" y="29"/>
                    </a:lnTo>
                    <a:lnTo>
                      <a:pt x="718" y="29"/>
                    </a:lnTo>
                    <a:lnTo>
                      <a:pt x="751" y="29"/>
                    </a:lnTo>
                    <a:lnTo>
                      <a:pt x="784" y="31"/>
                    </a:lnTo>
                    <a:lnTo>
                      <a:pt x="820" y="31"/>
                    </a:lnTo>
                    <a:lnTo>
                      <a:pt x="853" y="31"/>
                    </a:lnTo>
                    <a:lnTo>
                      <a:pt x="886" y="31"/>
                    </a:lnTo>
                    <a:lnTo>
                      <a:pt x="921" y="31"/>
                    </a:lnTo>
                    <a:lnTo>
                      <a:pt x="955" y="31"/>
                    </a:lnTo>
                    <a:lnTo>
                      <a:pt x="988" y="31"/>
                    </a:lnTo>
                    <a:lnTo>
                      <a:pt x="1023" y="31"/>
                    </a:lnTo>
                    <a:lnTo>
                      <a:pt x="1056" y="31"/>
                    </a:lnTo>
                    <a:lnTo>
                      <a:pt x="1089" y="31"/>
                    </a:lnTo>
                    <a:lnTo>
                      <a:pt x="1118" y="31"/>
                    </a:lnTo>
                    <a:lnTo>
                      <a:pt x="1155" y="59"/>
                    </a:lnTo>
                    <a:lnTo>
                      <a:pt x="1167" y="59"/>
                    </a:lnTo>
                    <a:lnTo>
                      <a:pt x="1177" y="55"/>
                    </a:lnTo>
                    <a:lnTo>
                      <a:pt x="1186" y="59"/>
                    </a:lnTo>
                    <a:lnTo>
                      <a:pt x="1193" y="76"/>
                    </a:lnTo>
                    <a:lnTo>
                      <a:pt x="1191" y="85"/>
                    </a:lnTo>
                    <a:lnTo>
                      <a:pt x="1184" y="85"/>
                    </a:lnTo>
                    <a:lnTo>
                      <a:pt x="1174" y="95"/>
                    </a:lnTo>
                    <a:lnTo>
                      <a:pt x="1163" y="116"/>
                    </a:lnTo>
                    <a:lnTo>
                      <a:pt x="1167" y="135"/>
                    </a:lnTo>
                    <a:lnTo>
                      <a:pt x="1184" y="152"/>
                    </a:lnTo>
                    <a:lnTo>
                      <a:pt x="1196" y="168"/>
                    </a:lnTo>
                    <a:lnTo>
                      <a:pt x="1200" y="187"/>
                    </a:lnTo>
                    <a:lnTo>
                      <a:pt x="1212" y="201"/>
                    </a:lnTo>
                    <a:lnTo>
                      <a:pt x="1238" y="215"/>
                    </a:lnTo>
                    <a:lnTo>
                      <a:pt x="1238" y="222"/>
                    </a:lnTo>
                    <a:lnTo>
                      <a:pt x="1238" y="251"/>
                    </a:lnTo>
                    <a:lnTo>
                      <a:pt x="1241" y="277"/>
                    </a:lnTo>
                    <a:lnTo>
                      <a:pt x="1241" y="305"/>
                    </a:lnTo>
                    <a:lnTo>
                      <a:pt x="1241" y="331"/>
                    </a:lnTo>
                    <a:lnTo>
                      <a:pt x="1241" y="360"/>
                    </a:lnTo>
                    <a:lnTo>
                      <a:pt x="1241" y="386"/>
                    </a:lnTo>
                    <a:lnTo>
                      <a:pt x="1243" y="414"/>
                    </a:lnTo>
                    <a:lnTo>
                      <a:pt x="1243" y="442"/>
                    </a:lnTo>
                    <a:lnTo>
                      <a:pt x="1243" y="468"/>
                    </a:lnTo>
                    <a:lnTo>
                      <a:pt x="1243" y="497"/>
                    </a:lnTo>
                    <a:lnTo>
                      <a:pt x="1243" y="523"/>
                    </a:lnTo>
                    <a:lnTo>
                      <a:pt x="1245" y="551"/>
                    </a:lnTo>
                    <a:lnTo>
                      <a:pt x="1245" y="580"/>
                    </a:lnTo>
                    <a:lnTo>
                      <a:pt x="1245" y="606"/>
                    </a:lnTo>
                    <a:lnTo>
                      <a:pt x="1245" y="634"/>
                    </a:lnTo>
                    <a:lnTo>
                      <a:pt x="1245" y="66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02" name="Freeform 59">
                <a:extLst>
                  <a:ext uri="{FF2B5EF4-FFF2-40B4-BE49-F238E27FC236}">
                    <a16:creationId xmlns:a16="http://schemas.microsoft.com/office/drawing/2014/main" id="{D9CD3C80-0E9C-B500-09B7-88483D37F3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1" y="1178"/>
                <a:ext cx="1245" cy="628"/>
              </a:xfrm>
              <a:custGeom>
                <a:avLst/>
                <a:gdLst>
                  <a:gd name="T0" fmla="*/ 1123 w 1245"/>
                  <a:gd name="T1" fmla="*/ 137 h 628"/>
                  <a:gd name="T2" fmla="*/ 1146 w 1245"/>
                  <a:gd name="T3" fmla="*/ 189 h 628"/>
                  <a:gd name="T4" fmla="*/ 1189 w 1245"/>
                  <a:gd name="T5" fmla="*/ 245 h 628"/>
                  <a:gd name="T6" fmla="*/ 1165 w 1245"/>
                  <a:gd name="T7" fmla="*/ 349 h 628"/>
                  <a:gd name="T8" fmla="*/ 1120 w 1245"/>
                  <a:gd name="T9" fmla="*/ 406 h 628"/>
                  <a:gd name="T10" fmla="*/ 1030 w 1245"/>
                  <a:gd name="T11" fmla="*/ 482 h 628"/>
                  <a:gd name="T12" fmla="*/ 988 w 1245"/>
                  <a:gd name="T13" fmla="*/ 506 h 628"/>
                  <a:gd name="T14" fmla="*/ 983 w 1245"/>
                  <a:gd name="T15" fmla="*/ 508 h 628"/>
                  <a:gd name="T16" fmla="*/ 865 w 1245"/>
                  <a:gd name="T17" fmla="*/ 520 h 628"/>
                  <a:gd name="T18" fmla="*/ 628 w 1245"/>
                  <a:gd name="T19" fmla="*/ 541 h 628"/>
                  <a:gd name="T20" fmla="*/ 399 w 1245"/>
                  <a:gd name="T21" fmla="*/ 562 h 628"/>
                  <a:gd name="T22" fmla="*/ 267 w 1245"/>
                  <a:gd name="T23" fmla="*/ 569 h 628"/>
                  <a:gd name="T24" fmla="*/ 255 w 1245"/>
                  <a:gd name="T25" fmla="*/ 607 h 628"/>
                  <a:gd name="T26" fmla="*/ 170 w 1245"/>
                  <a:gd name="T27" fmla="*/ 617 h 628"/>
                  <a:gd name="T28" fmla="*/ 52 w 1245"/>
                  <a:gd name="T29" fmla="*/ 624 h 628"/>
                  <a:gd name="T30" fmla="*/ 38 w 1245"/>
                  <a:gd name="T31" fmla="*/ 602 h 628"/>
                  <a:gd name="T32" fmla="*/ 66 w 1245"/>
                  <a:gd name="T33" fmla="*/ 579 h 628"/>
                  <a:gd name="T34" fmla="*/ 59 w 1245"/>
                  <a:gd name="T35" fmla="*/ 510 h 628"/>
                  <a:gd name="T36" fmla="*/ 149 w 1245"/>
                  <a:gd name="T37" fmla="*/ 489 h 628"/>
                  <a:gd name="T38" fmla="*/ 168 w 1245"/>
                  <a:gd name="T39" fmla="*/ 456 h 628"/>
                  <a:gd name="T40" fmla="*/ 215 w 1245"/>
                  <a:gd name="T41" fmla="*/ 409 h 628"/>
                  <a:gd name="T42" fmla="*/ 229 w 1245"/>
                  <a:gd name="T43" fmla="*/ 342 h 628"/>
                  <a:gd name="T44" fmla="*/ 250 w 1245"/>
                  <a:gd name="T45" fmla="*/ 335 h 628"/>
                  <a:gd name="T46" fmla="*/ 255 w 1245"/>
                  <a:gd name="T47" fmla="*/ 309 h 628"/>
                  <a:gd name="T48" fmla="*/ 286 w 1245"/>
                  <a:gd name="T49" fmla="*/ 309 h 628"/>
                  <a:gd name="T50" fmla="*/ 302 w 1245"/>
                  <a:gd name="T51" fmla="*/ 319 h 628"/>
                  <a:gd name="T52" fmla="*/ 307 w 1245"/>
                  <a:gd name="T53" fmla="*/ 297 h 628"/>
                  <a:gd name="T54" fmla="*/ 342 w 1245"/>
                  <a:gd name="T55" fmla="*/ 300 h 628"/>
                  <a:gd name="T56" fmla="*/ 397 w 1245"/>
                  <a:gd name="T57" fmla="*/ 302 h 628"/>
                  <a:gd name="T58" fmla="*/ 458 w 1245"/>
                  <a:gd name="T59" fmla="*/ 295 h 628"/>
                  <a:gd name="T60" fmla="*/ 480 w 1245"/>
                  <a:gd name="T61" fmla="*/ 267 h 628"/>
                  <a:gd name="T62" fmla="*/ 489 w 1245"/>
                  <a:gd name="T63" fmla="*/ 243 h 628"/>
                  <a:gd name="T64" fmla="*/ 503 w 1245"/>
                  <a:gd name="T65" fmla="*/ 231 h 628"/>
                  <a:gd name="T66" fmla="*/ 517 w 1245"/>
                  <a:gd name="T67" fmla="*/ 238 h 628"/>
                  <a:gd name="T68" fmla="*/ 565 w 1245"/>
                  <a:gd name="T69" fmla="*/ 264 h 628"/>
                  <a:gd name="T70" fmla="*/ 595 w 1245"/>
                  <a:gd name="T71" fmla="*/ 198 h 628"/>
                  <a:gd name="T72" fmla="*/ 631 w 1245"/>
                  <a:gd name="T73" fmla="*/ 151 h 628"/>
                  <a:gd name="T74" fmla="*/ 647 w 1245"/>
                  <a:gd name="T75" fmla="*/ 96 h 628"/>
                  <a:gd name="T76" fmla="*/ 683 w 1245"/>
                  <a:gd name="T77" fmla="*/ 101 h 628"/>
                  <a:gd name="T78" fmla="*/ 699 w 1245"/>
                  <a:gd name="T79" fmla="*/ 94 h 628"/>
                  <a:gd name="T80" fmla="*/ 740 w 1245"/>
                  <a:gd name="T81" fmla="*/ 49 h 628"/>
                  <a:gd name="T82" fmla="*/ 732 w 1245"/>
                  <a:gd name="T83" fmla="*/ 30 h 628"/>
                  <a:gd name="T84" fmla="*/ 742 w 1245"/>
                  <a:gd name="T85" fmla="*/ 2 h 628"/>
                  <a:gd name="T86" fmla="*/ 784 w 1245"/>
                  <a:gd name="T87" fmla="*/ 2 h 628"/>
                  <a:gd name="T88" fmla="*/ 836 w 1245"/>
                  <a:gd name="T89" fmla="*/ 44 h 628"/>
                  <a:gd name="T90" fmla="*/ 919 w 1245"/>
                  <a:gd name="T91" fmla="*/ 75 h 628"/>
                  <a:gd name="T92" fmla="*/ 966 w 1245"/>
                  <a:gd name="T93" fmla="*/ 68 h 628"/>
                  <a:gd name="T94" fmla="*/ 1059 w 1245"/>
                  <a:gd name="T95" fmla="*/ 47 h 628"/>
                  <a:gd name="T96" fmla="*/ 1111 w 1245"/>
                  <a:gd name="T97" fmla="*/ 96 h 628"/>
                  <a:gd name="T98" fmla="*/ 0 w 1245"/>
                  <a:gd name="T99" fmla="*/ 621 h 628"/>
                  <a:gd name="T100" fmla="*/ 9 w 1245"/>
                  <a:gd name="T101" fmla="*/ 621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245" h="628">
                    <a:moveTo>
                      <a:pt x="1111" y="96"/>
                    </a:moveTo>
                    <a:lnTo>
                      <a:pt x="1115" y="101"/>
                    </a:lnTo>
                    <a:lnTo>
                      <a:pt x="1123" y="132"/>
                    </a:lnTo>
                    <a:lnTo>
                      <a:pt x="1123" y="137"/>
                    </a:lnTo>
                    <a:lnTo>
                      <a:pt x="1118" y="151"/>
                    </a:lnTo>
                    <a:lnTo>
                      <a:pt x="1120" y="158"/>
                    </a:lnTo>
                    <a:lnTo>
                      <a:pt x="1127" y="167"/>
                    </a:lnTo>
                    <a:lnTo>
                      <a:pt x="1146" y="189"/>
                    </a:lnTo>
                    <a:lnTo>
                      <a:pt x="1151" y="198"/>
                    </a:lnTo>
                    <a:lnTo>
                      <a:pt x="1158" y="205"/>
                    </a:lnTo>
                    <a:lnTo>
                      <a:pt x="1167" y="219"/>
                    </a:lnTo>
                    <a:lnTo>
                      <a:pt x="1189" y="245"/>
                    </a:lnTo>
                    <a:lnTo>
                      <a:pt x="1222" y="264"/>
                    </a:lnTo>
                    <a:lnTo>
                      <a:pt x="1245" y="269"/>
                    </a:lnTo>
                    <a:lnTo>
                      <a:pt x="1191" y="328"/>
                    </a:lnTo>
                    <a:lnTo>
                      <a:pt x="1165" y="349"/>
                    </a:lnTo>
                    <a:lnTo>
                      <a:pt x="1141" y="368"/>
                    </a:lnTo>
                    <a:lnTo>
                      <a:pt x="1139" y="373"/>
                    </a:lnTo>
                    <a:lnTo>
                      <a:pt x="1134" y="390"/>
                    </a:lnTo>
                    <a:lnTo>
                      <a:pt x="1120" y="406"/>
                    </a:lnTo>
                    <a:lnTo>
                      <a:pt x="1113" y="423"/>
                    </a:lnTo>
                    <a:lnTo>
                      <a:pt x="1089" y="439"/>
                    </a:lnTo>
                    <a:lnTo>
                      <a:pt x="1073" y="458"/>
                    </a:lnTo>
                    <a:lnTo>
                      <a:pt x="1030" y="482"/>
                    </a:lnTo>
                    <a:lnTo>
                      <a:pt x="1007" y="491"/>
                    </a:lnTo>
                    <a:lnTo>
                      <a:pt x="990" y="503"/>
                    </a:lnTo>
                    <a:lnTo>
                      <a:pt x="990" y="506"/>
                    </a:lnTo>
                    <a:lnTo>
                      <a:pt x="988" y="506"/>
                    </a:lnTo>
                    <a:lnTo>
                      <a:pt x="988" y="506"/>
                    </a:lnTo>
                    <a:lnTo>
                      <a:pt x="985" y="506"/>
                    </a:lnTo>
                    <a:lnTo>
                      <a:pt x="985" y="508"/>
                    </a:lnTo>
                    <a:lnTo>
                      <a:pt x="983" y="508"/>
                    </a:lnTo>
                    <a:lnTo>
                      <a:pt x="983" y="508"/>
                    </a:lnTo>
                    <a:lnTo>
                      <a:pt x="981" y="508"/>
                    </a:lnTo>
                    <a:lnTo>
                      <a:pt x="924" y="515"/>
                    </a:lnTo>
                    <a:lnTo>
                      <a:pt x="865" y="520"/>
                    </a:lnTo>
                    <a:lnTo>
                      <a:pt x="806" y="527"/>
                    </a:lnTo>
                    <a:lnTo>
                      <a:pt x="747" y="532"/>
                    </a:lnTo>
                    <a:lnTo>
                      <a:pt x="688" y="536"/>
                    </a:lnTo>
                    <a:lnTo>
                      <a:pt x="628" y="541"/>
                    </a:lnTo>
                    <a:lnTo>
                      <a:pt x="572" y="546"/>
                    </a:lnTo>
                    <a:lnTo>
                      <a:pt x="513" y="548"/>
                    </a:lnTo>
                    <a:lnTo>
                      <a:pt x="456" y="555"/>
                    </a:lnTo>
                    <a:lnTo>
                      <a:pt x="399" y="562"/>
                    </a:lnTo>
                    <a:lnTo>
                      <a:pt x="345" y="569"/>
                    </a:lnTo>
                    <a:lnTo>
                      <a:pt x="288" y="574"/>
                    </a:lnTo>
                    <a:lnTo>
                      <a:pt x="283" y="569"/>
                    </a:lnTo>
                    <a:lnTo>
                      <a:pt x="267" y="569"/>
                    </a:lnTo>
                    <a:lnTo>
                      <a:pt x="246" y="569"/>
                    </a:lnTo>
                    <a:lnTo>
                      <a:pt x="243" y="569"/>
                    </a:lnTo>
                    <a:lnTo>
                      <a:pt x="253" y="591"/>
                    </a:lnTo>
                    <a:lnTo>
                      <a:pt x="255" y="607"/>
                    </a:lnTo>
                    <a:lnTo>
                      <a:pt x="253" y="610"/>
                    </a:lnTo>
                    <a:lnTo>
                      <a:pt x="227" y="612"/>
                    </a:lnTo>
                    <a:lnTo>
                      <a:pt x="198" y="614"/>
                    </a:lnTo>
                    <a:lnTo>
                      <a:pt x="170" y="617"/>
                    </a:lnTo>
                    <a:lnTo>
                      <a:pt x="139" y="619"/>
                    </a:lnTo>
                    <a:lnTo>
                      <a:pt x="111" y="621"/>
                    </a:lnTo>
                    <a:lnTo>
                      <a:pt x="80" y="624"/>
                    </a:lnTo>
                    <a:lnTo>
                      <a:pt x="52" y="624"/>
                    </a:lnTo>
                    <a:lnTo>
                      <a:pt x="19" y="628"/>
                    </a:lnTo>
                    <a:lnTo>
                      <a:pt x="26" y="607"/>
                    </a:lnTo>
                    <a:lnTo>
                      <a:pt x="33" y="602"/>
                    </a:lnTo>
                    <a:lnTo>
                      <a:pt x="38" y="602"/>
                    </a:lnTo>
                    <a:lnTo>
                      <a:pt x="45" y="605"/>
                    </a:lnTo>
                    <a:lnTo>
                      <a:pt x="49" y="605"/>
                    </a:lnTo>
                    <a:lnTo>
                      <a:pt x="59" y="598"/>
                    </a:lnTo>
                    <a:lnTo>
                      <a:pt x="66" y="579"/>
                    </a:lnTo>
                    <a:lnTo>
                      <a:pt x="68" y="558"/>
                    </a:lnTo>
                    <a:lnTo>
                      <a:pt x="68" y="536"/>
                    </a:lnTo>
                    <a:lnTo>
                      <a:pt x="61" y="520"/>
                    </a:lnTo>
                    <a:lnTo>
                      <a:pt x="59" y="510"/>
                    </a:lnTo>
                    <a:lnTo>
                      <a:pt x="64" y="496"/>
                    </a:lnTo>
                    <a:lnTo>
                      <a:pt x="75" y="480"/>
                    </a:lnTo>
                    <a:lnTo>
                      <a:pt x="106" y="477"/>
                    </a:lnTo>
                    <a:lnTo>
                      <a:pt x="149" y="489"/>
                    </a:lnTo>
                    <a:lnTo>
                      <a:pt x="175" y="491"/>
                    </a:lnTo>
                    <a:lnTo>
                      <a:pt x="177" y="484"/>
                    </a:lnTo>
                    <a:lnTo>
                      <a:pt x="175" y="472"/>
                    </a:lnTo>
                    <a:lnTo>
                      <a:pt x="168" y="456"/>
                    </a:lnTo>
                    <a:lnTo>
                      <a:pt x="163" y="442"/>
                    </a:lnTo>
                    <a:lnTo>
                      <a:pt x="165" y="435"/>
                    </a:lnTo>
                    <a:lnTo>
                      <a:pt x="182" y="423"/>
                    </a:lnTo>
                    <a:lnTo>
                      <a:pt x="215" y="409"/>
                    </a:lnTo>
                    <a:lnTo>
                      <a:pt x="227" y="392"/>
                    </a:lnTo>
                    <a:lnTo>
                      <a:pt x="220" y="375"/>
                    </a:lnTo>
                    <a:lnTo>
                      <a:pt x="220" y="359"/>
                    </a:lnTo>
                    <a:lnTo>
                      <a:pt x="229" y="342"/>
                    </a:lnTo>
                    <a:lnTo>
                      <a:pt x="234" y="338"/>
                    </a:lnTo>
                    <a:lnTo>
                      <a:pt x="236" y="335"/>
                    </a:lnTo>
                    <a:lnTo>
                      <a:pt x="243" y="338"/>
                    </a:lnTo>
                    <a:lnTo>
                      <a:pt x="250" y="335"/>
                    </a:lnTo>
                    <a:lnTo>
                      <a:pt x="253" y="331"/>
                    </a:lnTo>
                    <a:lnTo>
                      <a:pt x="255" y="323"/>
                    </a:lnTo>
                    <a:lnTo>
                      <a:pt x="253" y="312"/>
                    </a:lnTo>
                    <a:lnTo>
                      <a:pt x="255" y="309"/>
                    </a:lnTo>
                    <a:lnTo>
                      <a:pt x="257" y="309"/>
                    </a:lnTo>
                    <a:lnTo>
                      <a:pt x="267" y="314"/>
                    </a:lnTo>
                    <a:lnTo>
                      <a:pt x="276" y="314"/>
                    </a:lnTo>
                    <a:lnTo>
                      <a:pt x="286" y="309"/>
                    </a:lnTo>
                    <a:lnTo>
                      <a:pt x="290" y="312"/>
                    </a:lnTo>
                    <a:lnTo>
                      <a:pt x="295" y="321"/>
                    </a:lnTo>
                    <a:lnTo>
                      <a:pt x="298" y="323"/>
                    </a:lnTo>
                    <a:lnTo>
                      <a:pt x="302" y="319"/>
                    </a:lnTo>
                    <a:lnTo>
                      <a:pt x="305" y="312"/>
                    </a:lnTo>
                    <a:lnTo>
                      <a:pt x="302" y="300"/>
                    </a:lnTo>
                    <a:lnTo>
                      <a:pt x="305" y="297"/>
                    </a:lnTo>
                    <a:lnTo>
                      <a:pt x="307" y="297"/>
                    </a:lnTo>
                    <a:lnTo>
                      <a:pt x="309" y="302"/>
                    </a:lnTo>
                    <a:lnTo>
                      <a:pt x="316" y="302"/>
                    </a:lnTo>
                    <a:lnTo>
                      <a:pt x="326" y="297"/>
                    </a:lnTo>
                    <a:lnTo>
                      <a:pt x="342" y="300"/>
                    </a:lnTo>
                    <a:lnTo>
                      <a:pt x="371" y="312"/>
                    </a:lnTo>
                    <a:lnTo>
                      <a:pt x="383" y="321"/>
                    </a:lnTo>
                    <a:lnTo>
                      <a:pt x="390" y="316"/>
                    </a:lnTo>
                    <a:lnTo>
                      <a:pt x="397" y="302"/>
                    </a:lnTo>
                    <a:lnTo>
                      <a:pt x="409" y="290"/>
                    </a:lnTo>
                    <a:lnTo>
                      <a:pt x="423" y="281"/>
                    </a:lnTo>
                    <a:lnTo>
                      <a:pt x="439" y="283"/>
                    </a:lnTo>
                    <a:lnTo>
                      <a:pt x="458" y="295"/>
                    </a:lnTo>
                    <a:lnTo>
                      <a:pt x="470" y="297"/>
                    </a:lnTo>
                    <a:lnTo>
                      <a:pt x="477" y="288"/>
                    </a:lnTo>
                    <a:lnTo>
                      <a:pt x="482" y="279"/>
                    </a:lnTo>
                    <a:lnTo>
                      <a:pt x="480" y="267"/>
                    </a:lnTo>
                    <a:lnTo>
                      <a:pt x="484" y="260"/>
                    </a:lnTo>
                    <a:lnTo>
                      <a:pt x="489" y="255"/>
                    </a:lnTo>
                    <a:lnTo>
                      <a:pt x="491" y="250"/>
                    </a:lnTo>
                    <a:lnTo>
                      <a:pt x="489" y="243"/>
                    </a:lnTo>
                    <a:lnTo>
                      <a:pt x="494" y="238"/>
                    </a:lnTo>
                    <a:lnTo>
                      <a:pt x="503" y="236"/>
                    </a:lnTo>
                    <a:lnTo>
                      <a:pt x="506" y="234"/>
                    </a:lnTo>
                    <a:lnTo>
                      <a:pt x="503" y="231"/>
                    </a:lnTo>
                    <a:lnTo>
                      <a:pt x="503" y="229"/>
                    </a:lnTo>
                    <a:lnTo>
                      <a:pt x="506" y="229"/>
                    </a:lnTo>
                    <a:lnTo>
                      <a:pt x="510" y="231"/>
                    </a:lnTo>
                    <a:lnTo>
                      <a:pt x="517" y="238"/>
                    </a:lnTo>
                    <a:lnTo>
                      <a:pt x="520" y="248"/>
                    </a:lnTo>
                    <a:lnTo>
                      <a:pt x="532" y="257"/>
                    </a:lnTo>
                    <a:lnTo>
                      <a:pt x="550" y="264"/>
                    </a:lnTo>
                    <a:lnTo>
                      <a:pt x="565" y="264"/>
                    </a:lnTo>
                    <a:lnTo>
                      <a:pt x="572" y="257"/>
                    </a:lnTo>
                    <a:lnTo>
                      <a:pt x="581" y="241"/>
                    </a:lnTo>
                    <a:lnTo>
                      <a:pt x="586" y="212"/>
                    </a:lnTo>
                    <a:lnTo>
                      <a:pt x="595" y="198"/>
                    </a:lnTo>
                    <a:lnTo>
                      <a:pt x="607" y="193"/>
                    </a:lnTo>
                    <a:lnTo>
                      <a:pt x="617" y="182"/>
                    </a:lnTo>
                    <a:lnTo>
                      <a:pt x="621" y="165"/>
                    </a:lnTo>
                    <a:lnTo>
                      <a:pt x="631" y="151"/>
                    </a:lnTo>
                    <a:lnTo>
                      <a:pt x="643" y="139"/>
                    </a:lnTo>
                    <a:lnTo>
                      <a:pt x="647" y="125"/>
                    </a:lnTo>
                    <a:lnTo>
                      <a:pt x="643" y="108"/>
                    </a:lnTo>
                    <a:lnTo>
                      <a:pt x="647" y="96"/>
                    </a:lnTo>
                    <a:lnTo>
                      <a:pt x="664" y="94"/>
                    </a:lnTo>
                    <a:lnTo>
                      <a:pt x="673" y="94"/>
                    </a:lnTo>
                    <a:lnTo>
                      <a:pt x="680" y="99"/>
                    </a:lnTo>
                    <a:lnTo>
                      <a:pt x="683" y="101"/>
                    </a:lnTo>
                    <a:lnTo>
                      <a:pt x="683" y="101"/>
                    </a:lnTo>
                    <a:lnTo>
                      <a:pt x="688" y="101"/>
                    </a:lnTo>
                    <a:lnTo>
                      <a:pt x="692" y="99"/>
                    </a:lnTo>
                    <a:lnTo>
                      <a:pt x="699" y="94"/>
                    </a:lnTo>
                    <a:lnTo>
                      <a:pt x="728" y="80"/>
                    </a:lnTo>
                    <a:lnTo>
                      <a:pt x="744" y="66"/>
                    </a:lnTo>
                    <a:lnTo>
                      <a:pt x="744" y="56"/>
                    </a:lnTo>
                    <a:lnTo>
                      <a:pt x="740" y="49"/>
                    </a:lnTo>
                    <a:lnTo>
                      <a:pt x="732" y="49"/>
                    </a:lnTo>
                    <a:lnTo>
                      <a:pt x="730" y="44"/>
                    </a:lnTo>
                    <a:lnTo>
                      <a:pt x="735" y="37"/>
                    </a:lnTo>
                    <a:lnTo>
                      <a:pt x="732" y="30"/>
                    </a:lnTo>
                    <a:lnTo>
                      <a:pt x="728" y="21"/>
                    </a:lnTo>
                    <a:lnTo>
                      <a:pt x="730" y="11"/>
                    </a:lnTo>
                    <a:lnTo>
                      <a:pt x="732" y="9"/>
                    </a:lnTo>
                    <a:lnTo>
                      <a:pt x="742" y="2"/>
                    </a:lnTo>
                    <a:lnTo>
                      <a:pt x="751" y="0"/>
                    </a:lnTo>
                    <a:lnTo>
                      <a:pt x="758" y="7"/>
                    </a:lnTo>
                    <a:lnTo>
                      <a:pt x="770" y="7"/>
                    </a:lnTo>
                    <a:lnTo>
                      <a:pt x="784" y="2"/>
                    </a:lnTo>
                    <a:lnTo>
                      <a:pt x="796" y="2"/>
                    </a:lnTo>
                    <a:lnTo>
                      <a:pt x="810" y="9"/>
                    </a:lnTo>
                    <a:lnTo>
                      <a:pt x="822" y="23"/>
                    </a:lnTo>
                    <a:lnTo>
                      <a:pt x="836" y="44"/>
                    </a:lnTo>
                    <a:lnTo>
                      <a:pt x="855" y="56"/>
                    </a:lnTo>
                    <a:lnTo>
                      <a:pt x="884" y="59"/>
                    </a:lnTo>
                    <a:lnTo>
                      <a:pt x="905" y="63"/>
                    </a:lnTo>
                    <a:lnTo>
                      <a:pt x="919" y="75"/>
                    </a:lnTo>
                    <a:lnTo>
                      <a:pt x="929" y="78"/>
                    </a:lnTo>
                    <a:lnTo>
                      <a:pt x="940" y="70"/>
                    </a:lnTo>
                    <a:lnTo>
                      <a:pt x="952" y="66"/>
                    </a:lnTo>
                    <a:lnTo>
                      <a:pt x="966" y="68"/>
                    </a:lnTo>
                    <a:lnTo>
                      <a:pt x="985" y="75"/>
                    </a:lnTo>
                    <a:lnTo>
                      <a:pt x="1009" y="70"/>
                    </a:lnTo>
                    <a:lnTo>
                      <a:pt x="1040" y="49"/>
                    </a:lnTo>
                    <a:lnTo>
                      <a:pt x="1059" y="47"/>
                    </a:lnTo>
                    <a:lnTo>
                      <a:pt x="1068" y="63"/>
                    </a:lnTo>
                    <a:lnTo>
                      <a:pt x="1085" y="80"/>
                    </a:lnTo>
                    <a:lnTo>
                      <a:pt x="1111" y="94"/>
                    </a:lnTo>
                    <a:lnTo>
                      <a:pt x="1111" y="96"/>
                    </a:lnTo>
                    <a:close/>
                    <a:moveTo>
                      <a:pt x="12" y="628"/>
                    </a:moveTo>
                    <a:lnTo>
                      <a:pt x="0" y="628"/>
                    </a:lnTo>
                    <a:lnTo>
                      <a:pt x="0" y="626"/>
                    </a:lnTo>
                    <a:lnTo>
                      <a:pt x="0" y="621"/>
                    </a:lnTo>
                    <a:lnTo>
                      <a:pt x="0" y="617"/>
                    </a:lnTo>
                    <a:lnTo>
                      <a:pt x="2" y="617"/>
                    </a:lnTo>
                    <a:lnTo>
                      <a:pt x="4" y="617"/>
                    </a:lnTo>
                    <a:lnTo>
                      <a:pt x="9" y="621"/>
                    </a:lnTo>
                    <a:lnTo>
                      <a:pt x="12" y="62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03" name="Freeform 60">
                <a:extLst>
                  <a:ext uri="{FF2B5EF4-FFF2-40B4-BE49-F238E27FC236}">
                    <a16:creationId xmlns:a16="http://schemas.microsoft.com/office/drawing/2014/main" id="{99977FFE-D48F-82C2-F6D2-86CD3CB69E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556"/>
                <a:ext cx="981" cy="835"/>
              </a:xfrm>
              <a:custGeom>
                <a:avLst/>
                <a:gdLst>
                  <a:gd name="T0" fmla="*/ 733 w 981"/>
                  <a:gd name="T1" fmla="*/ 549 h 835"/>
                  <a:gd name="T2" fmla="*/ 728 w 981"/>
                  <a:gd name="T3" fmla="*/ 622 h 835"/>
                  <a:gd name="T4" fmla="*/ 806 w 981"/>
                  <a:gd name="T5" fmla="*/ 586 h 835"/>
                  <a:gd name="T6" fmla="*/ 794 w 981"/>
                  <a:gd name="T7" fmla="*/ 622 h 835"/>
                  <a:gd name="T8" fmla="*/ 853 w 981"/>
                  <a:gd name="T9" fmla="*/ 608 h 835"/>
                  <a:gd name="T10" fmla="*/ 879 w 981"/>
                  <a:gd name="T11" fmla="*/ 650 h 835"/>
                  <a:gd name="T12" fmla="*/ 846 w 981"/>
                  <a:gd name="T13" fmla="*/ 683 h 835"/>
                  <a:gd name="T14" fmla="*/ 818 w 981"/>
                  <a:gd name="T15" fmla="*/ 702 h 835"/>
                  <a:gd name="T16" fmla="*/ 922 w 981"/>
                  <a:gd name="T17" fmla="*/ 757 h 835"/>
                  <a:gd name="T18" fmla="*/ 939 w 981"/>
                  <a:gd name="T19" fmla="*/ 806 h 835"/>
                  <a:gd name="T20" fmla="*/ 898 w 981"/>
                  <a:gd name="T21" fmla="*/ 830 h 835"/>
                  <a:gd name="T22" fmla="*/ 861 w 981"/>
                  <a:gd name="T23" fmla="*/ 778 h 835"/>
                  <a:gd name="T24" fmla="*/ 809 w 981"/>
                  <a:gd name="T25" fmla="*/ 764 h 835"/>
                  <a:gd name="T26" fmla="*/ 738 w 981"/>
                  <a:gd name="T27" fmla="*/ 733 h 835"/>
                  <a:gd name="T28" fmla="*/ 757 w 981"/>
                  <a:gd name="T29" fmla="*/ 776 h 835"/>
                  <a:gd name="T30" fmla="*/ 726 w 981"/>
                  <a:gd name="T31" fmla="*/ 813 h 835"/>
                  <a:gd name="T32" fmla="*/ 645 w 981"/>
                  <a:gd name="T33" fmla="*/ 813 h 835"/>
                  <a:gd name="T34" fmla="*/ 539 w 981"/>
                  <a:gd name="T35" fmla="*/ 780 h 835"/>
                  <a:gd name="T36" fmla="*/ 534 w 981"/>
                  <a:gd name="T37" fmla="*/ 733 h 835"/>
                  <a:gd name="T38" fmla="*/ 454 w 981"/>
                  <a:gd name="T39" fmla="*/ 698 h 835"/>
                  <a:gd name="T40" fmla="*/ 369 w 981"/>
                  <a:gd name="T41" fmla="*/ 712 h 835"/>
                  <a:gd name="T42" fmla="*/ 270 w 981"/>
                  <a:gd name="T43" fmla="*/ 738 h 835"/>
                  <a:gd name="T44" fmla="*/ 137 w 981"/>
                  <a:gd name="T45" fmla="*/ 702 h 835"/>
                  <a:gd name="T46" fmla="*/ 45 w 981"/>
                  <a:gd name="T47" fmla="*/ 698 h 835"/>
                  <a:gd name="T48" fmla="*/ 62 w 981"/>
                  <a:gd name="T49" fmla="*/ 662 h 835"/>
                  <a:gd name="T50" fmla="*/ 66 w 981"/>
                  <a:gd name="T51" fmla="*/ 577 h 835"/>
                  <a:gd name="T52" fmla="*/ 95 w 981"/>
                  <a:gd name="T53" fmla="*/ 482 h 835"/>
                  <a:gd name="T54" fmla="*/ 99 w 981"/>
                  <a:gd name="T55" fmla="*/ 423 h 835"/>
                  <a:gd name="T56" fmla="*/ 64 w 981"/>
                  <a:gd name="T57" fmla="*/ 345 h 835"/>
                  <a:gd name="T58" fmla="*/ 43 w 981"/>
                  <a:gd name="T59" fmla="*/ 277 h 835"/>
                  <a:gd name="T60" fmla="*/ 2 w 981"/>
                  <a:gd name="T61" fmla="*/ 154 h 835"/>
                  <a:gd name="T62" fmla="*/ 0 w 981"/>
                  <a:gd name="T63" fmla="*/ 21 h 835"/>
                  <a:gd name="T64" fmla="*/ 161 w 981"/>
                  <a:gd name="T65" fmla="*/ 17 h 835"/>
                  <a:gd name="T66" fmla="*/ 319 w 981"/>
                  <a:gd name="T67" fmla="*/ 9 h 835"/>
                  <a:gd name="T68" fmla="*/ 480 w 981"/>
                  <a:gd name="T69" fmla="*/ 2 h 835"/>
                  <a:gd name="T70" fmla="*/ 520 w 981"/>
                  <a:gd name="T71" fmla="*/ 45 h 835"/>
                  <a:gd name="T72" fmla="*/ 520 w 981"/>
                  <a:gd name="T73" fmla="*/ 83 h 835"/>
                  <a:gd name="T74" fmla="*/ 551 w 981"/>
                  <a:gd name="T75" fmla="*/ 132 h 835"/>
                  <a:gd name="T76" fmla="*/ 551 w 981"/>
                  <a:gd name="T77" fmla="*/ 175 h 835"/>
                  <a:gd name="T78" fmla="*/ 525 w 981"/>
                  <a:gd name="T79" fmla="*/ 222 h 835"/>
                  <a:gd name="T80" fmla="*/ 468 w 981"/>
                  <a:gd name="T81" fmla="*/ 319 h 835"/>
                  <a:gd name="T82" fmla="*/ 447 w 981"/>
                  <a:gd name="T83" fmla="*/ 385 h 835"/>
                  <a:gd name="T84" fmla="*/ 489 w 981"/>
                  <a:gd name="T85" fmla="*/ 428 h 835"/>
                  <a:gd name="T86" fmla="*/ 707 w 981"/>
                  <a:gd name="T87" fmla="*/ 416 h 835"/>
                  <a:gd name="T88" fmla="*/ 780 w 981"/>
                  <a:gd name="T89" fmla="*/ 478 h 835"/>
                  <a:gd name="T90" fmla="*/ 811 w 981"/>
                  <a:gd name="T91" fmla="*/ 525 h 835"/>
                  <a:gd name="T92" fmla="*/ 842 w 981"/>
                  <a:gd name="T93" fmla="*/ 577 h 835"/>
                  <a:gd name="T94" fmla="*/ 882 w 981"/>
                  <a:gd name="T95" fmla="*/ 603 h 835"/>
                  <a:gd name="T96" fmla="*/ 903 w 981"/>
                  <a:gd name="T97" fmla="*/ 589 h 835"/>
                  <a:gd name="T98" fmla="*/ 969 w 981"/>
                  <a:gd name="T99" fmla="*/ 598 h 835"/>
                  <a:gd name="T100" fmla="*/ 960 w 981"/>
                  <a:gd name="T101" fmla="*/ 683 h 835"/>
                  <a:gd name="T102" fmla="*/ 435 w 981"/>
                  <a:gd name="T103" fmla="*/ 750 h 835"/>
                  <a:gd name="T104" fmla="*/ 419 w 981"/>
                  <a:gd name="T105" fmla="*/ 721 h 835"/>
                  <a:gd name="T106" fmla="*/ 435 w 981"/>
                  <a:gd name="T107" fmla="*/ 750 h 8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81" h="835">
                    <a:moveTo>
                      <a:pt x="846" y="579"/>
                    </a:moveTo>
                    <a:lnTo>
                      <a:pt x="835" y="586"/>
                    </a:lnTo>
                    <a:lnTo>
                      <a:pt x="766" y="568"/>
                    </a:lnTo>
                    <a:lnTo>
                      <a:pt x="747" y="551"/>
                    </a:lnTo>
                    <a:lnTo>
                      <a:pt x="733" y="549"/>
                    </a:lnTo>
                    <a:lnTo>
                      <a:pt x="714" y="549"/>
                    </a:lnTo>
                    <a:lnTo>
                      <a:pt x="695" y="570"/>
                    </a:lnTo>
                    <a:lnTo>
                      <a:pt x="683" y="601"/>
                    </a:lnTo>
                    <a:lnTo>
                      <a:pt x="707" y="615"/>
                    </a:lnTo>
                    <a:lnTo>
                      <a:pt x="728" y="622"/>
                    </a:lnTo>
                    <a:lnTo>
                      <a:pt x="761" y="612"/>
                    </a:lnTo>
                    <a:lnTo>
                      <a:pt x="778" y="598"/>
                    </a:lnTo>
                    <a:lnTo>
                      <a:pt x="794" y="598"/>
                    </a:lnTo>
                    <a:lnTo>
                      <a:pt x="801" y="594"/>
                    </a:lnTo>
                    <a:lnTo>
                      <a:pt x="806" y="586"/>
                    </a:lnTo>
                    <a:lnTo>
                      <a:pt x="820" y="591"/>
                    </a:lnTo>
                    <a:lnTo>
                      <a:pt x="820" y="596"/>
                    </a:lnTo>
                    <a:lnTo>
                      <a:pt x="811" y="605"/>
                    </a:lnTo>
                    <a:lnTo>
                      <a:pt x="801" y="612"/>
                    </a:lnTo>
                    <a:lnTo>
                      <a:pt x="794" y="622"/>
                    </a:lnTo>
                    <a:lnTo>
                      <a:pt x="809" y="636"/>
                    </a:lnTo>
                    <a:lnTo>
                      <a:pt x="830" y="641"/>
                    </a:lnTo>
                    <a:lnTo>
                      <a:pt x="837" y="638"/>
                    </a:lnTo>
                    <a:lnTo>
                      <a:pt x="842" y="620"/>
                    </a:lnTo>
                    <a:lnTo>
                      <a:pt x="853" y="608"/>
                    </a:lnTo>
                    <a:lnTo>
                      <a:pt x="870" y="608"/>
                    </a:lnTo>
                    <a:lnTo>
                      <a:pt x="868" y="615"/>
                    </a:lnTo>
                    <a:lnTo>
                      <a:pt x="872" y="622"/>
                    </a:lnTo>
                    <a:lnTo>
                      <a:pt x="879" y="634"/>
                    </a:lnTo>
                    <a:lnTo>
                      <a:pt x="879" y="650"/>
                    </a:lnTo>
                    <a:lnTo>
                      <a:pt x="882" y="655"/>
                    </a:lnTo>
                    <a:lnTo>
                      <a:pt x="865" y="664"/>
                    </a:lnTo>
                    <a:lnTo>
                      <a:pt x="851" y="669"/>
                    </a:lnTo>
                    <a:lnTo>
                      <a:pt x="839" y="679"/>
                    </a:lnTo>
                    <a:lnTo>
                      <a:pt x="846" y="683"/>
                    </a:lnTo>
                    <a:lnTo>
                      <a:pt x="835" y="690"/>
                    </a:lnTo>
                    <a:lnTo>
                      <a:pt x="827" y="688"/>
                    </a:lnTo>
                    <a:lnTo>
                      <a:pt x="823" y="690"/>
                    </a:lnTo>
                    <a:lnTo>
                      <a:pt x="823" y="698"/>
                    </a:lnTo>
                    <a:lnTo>
                      <a:pt x="818" y="702"/>
                    </a:lnTo>
                    <a:lnTo>
                      <a:pt x="827" y="719"/>
                    </a:lnTo>
                    <a:lnTo>
                      <a:pt x="846" y="728"/>
                    </a:lnTo>
                    <a:lnTo>
                      <a:pt x="858" y="742"/>
                    </a:lnTo>
                    <a:lnTo>
                      <a:pt x="910" y="757"/>
                    </a:lnTo>
                    <a:lnTo>
                      <a:pt x="922" y="757"/>
                    </a:lnTo>
                    <a:lnTo>
                      <a:pt x="936" y="773"/>
                    </a:lnTo>
                    <a:lnTo>
                      <a:pt x="946" y="780"/>
                    </a:lnTo>
                    <a:lnTo>
                      <a:pt x="955" y="783"/>
                    </a:lnTo>
                    <a:lnTo>
                      <a:pt x="955" y="795"/>
                    </a:lnTo>
                    <a:lnTo>
                      <a:pt x="939" y="806"/>
                    </a:lnTo>
                    <a:lnTo>
                      <a:pt x="936" y="816"/>
                    </a:lnTo>
                    <a:lnTo>
                      <a:pt x="931" y="823"/>
                    </a:lnTo>
                    <a:lnTo>
                      <a:pt x="924" y="816"/>
                    </a:lnTo>
                    <a:lnTo>
                      <a:pt x="915" y="811"/>
                    </a:lnTo>
                    <a:lnTo>
                      <a:pt x="898" y="830"/>
                    </a:lnTo>
                    <a:lnTo>
                      <a:pt x="891" y="835"/>
                    </a:lnTo>
                    <a:lnTo>
                      <a:pt x="894" y="816"/>
                    </a:lnTo>
                    <a:lnTo>
                      <a:pt x="887" y="809"/>
                    </a:lnTo>
                    <a:lnTo>
                      <a:pt x="875" y="790"/>
                    </a:lnTo>
                    <a:lnTo>
                      <a:pt x="861" y="778"/>
                    </a:lnTo>
                    <a:lnTo>
                      <a:pt x="849" y="776"/>
                    </a:lnTo>
                    <a:lnTo>
                      <a:pt x="842" y="768"/>
                    </a:lnTo>
                    <a:lnTo>
                      <a:pt x="830" y="766"/>
                    </a:lnTo>
                    <a:lnTo>
                      <a:pt x="823" y="768"/>
                    </a:lnTo>
                    <a:lnTo>
                      <a:pt x="809" y="764"/>
                    </a:lnTo>
                    <a:lnTo>
                      <a:pt x="806" y="754"/>
                    </a:lnTo>
                    <a:lnTo>
                      <a:pt x="801" y="747"/>
                    </a:lnTo>
                    <a:lnTo>
                      <a:pt x="792" y="740"/>
                    </a:lnTo>
                    <a:lnTo>
                      <a:pt x="738" y="726"/>
                    </a:lnTo>
                    <a:lnTo>
                      <a:pt x="738" y="733"/>
                    </a:lnTo>
                    <a:lnTo>
                      <a:pt x="742" y="738"/>
                    </a:lnTo>
                    <a:lnTo>
                      <a:pt x="749" y="740"/>
                    </a:lnTo>
                    <a:lnTo>
                      <a:pt x="759" y="747"/>
                    </a:lnTo>
                    <a:lnTo>
                      <a:pt x="759" y="766"/>
                    </a:lnTo>
                    <a:lnTo>
                      <a:pt x="757" y="776"/>
                    </a:lnTo>
                    <a:lnTo>
                      <a:pt x="757" y="787"/>
                    </a:lnTo>
                    <a:lnTo>
                      <a:pt x="754" y="802"/>
                    </a:lnTo>
                    <a:lnTo>
                      <a:pt x="747" y="811"/>
                    </a:lnTo>
                    <a:lnTo>
                      <a:pt x="733" y="818"/>
                    </a:lnTo>
                    <a:lnTo>
                      <a:pt x="726" y="813"/>
                    </a:lnTo>
                    <a:lnTo>
                      <a:pt x="714" y="787"/>
                    </a:lnTo>
                    <a:lnTo>
                      <a:pt x="700" y="780"/>
                    </a:lnTo>
                    <a:lnTo>
                      <a:pt x="676" y="780"/>
                    </a:lnTo>
                    <a:lnTo>
                      <a:pt x="662" y="787"/>
                    </a:lnTo>
                    <a:lnTo>
                      <a:pt x="645" y="813"/>
                    </a:lnTo>
                    <a:lnTo>
                      <a:pt x="634" y="818"/>
                    </a:lnTo>
                    <a:lnTo>
                      <a:pt x="584" y="809"/>
                    </a:lnTo>
                    <a:lnTo>
                      <a:pt x="530" y="790"/>
                    </a:lnTo>
                    <a:lnTo>
                      <a:pt x="532" y="785"/>
                    </a:lnTo>
                    <a:lnTo>
                      <a:pt x="539" y="780"/>
                    </a:lnTo>
                    <a:lnTo>
                      <a:pt x="556" y="783"/>
                    </a:lnTo>
                    <a:lnTo>
                      <a:pt x="556" y="776"/>
                    </a:lnTo>
                    <a:lnTo>
                      <a:pt x="537" y="754"/>
                    </a:lnTo>
                    <a:lnTo>
                      <a:pt x="534" y="745"/>
                    </a:lnTo>
                    <a:lnTo>
                      <a:pt x="534" y="733"/>
                    </a:lnTo>
                    <a:lnTo>
                      <a:pt x="530" y="733"/>
                    </a:lnTo>
                    <a:lnTo>
                      <a:pt x="520" y="742"/>
                    </a:lnTo>
                    <a:lnTo>
                      <a:pt x="485" y="735"/>
                    </a:lnTo>
                    <a:lnTo>
                      <a:pt x="475" y="726"/>
                    </a:lnTo>
                    <a:lnTo>
                      <a:pt x="454" y="698"/>
                    </a:lnTo>
                    <a:lnTo>
                      <a:pt x="426" y="698"/>
                    </a:lnTo>
                    <a:lnTo>
                      <a:pt x="414" y="681"/>
                    </a:lnTo>
                    <a:lnTo>
                      <a:pt x="390" y="688"/>
                    </a:lnTo>
                    <a:lnTo>
                      <a:pt x="378" y="698"/>
                    </a:lnTo>
                    <a:lnTo>
                      <a:pt x="369" y="712"/>
                    </a:lnTo>
                    <a:lnTo>
                      <a:pt x="374" y="719"/>
                    </a:lnTo>
                    <a:lnTo>
                      <a:pt x="383" y="728"/>
                    </a:lnTo>
                    <a:lnTo>
                      <a:pt x="381" y="733"/>
                    </a:lnTo>
                    <a:lnTo>
                      <a:pt x="348" y="742"/>
                    </a:lnTo>
                    <a:lnTo>
                      <a:pt x="270" y="738"/>
                    </a:lnTo>
                    <a:lnTo>
                      <a:pt x="248" y="731"/>
                    </a:lnTo>
                    <a:lnTo>
                      <a:pt x="218" y="714"/>
                    </a:lnTo>
                    <a:lnTo>
                      <a:pt x="175" y="702"/>
                    </a:lnTo>
                    <a:lnTo>
                      <a:pt x="156" y="700"/>
                    </a:lnTo>
                    <a:lnTo>
                      <a:pt x="137" y="702"/>
                    </a:lnTo>
                    <a:lnTo>
                      <a:pt x="80" y="707"/>
                    </a:lnTo>
                    <a:lnTo>
                      <a:pt x="66" y="709"/>
                    </a:lnTo>
                    <a:lnTo>
                      <a:pt x="54" y="716"/>
                    </a:lnTo>
                    <a:lnTo>
                      <a:pt x="47" y="709"/>
                    </a:lnTo>
                    <a:lnTo>
                      <a:pt x="45" y="698"/>
                    </a:lnTo>
                    <a:lnTo>
                      <a:pt x="52" y="698"/>
                    </a:lnTo>
                    <a:lnTo>
                      <a:pt x="59" y="690"/>
                    </a:lnTo>
                    <a:lnTo>
                      <a:pt x="64" y="676"/>
                    </a:lnTo>
                    <a:lnTo>
                      <a:pt x="66" y="667"/>
                    </a:lnTo>
                    <a:lnTo>
                      <a:pt x="62" y="662"/>
                    </a:lnTo>
                    <a:lnTo>
                      <a:pt x="73" y="641"/>
                    </a:lnTo>
                    <a:lnTo>
                      <a:pt x="76" y="634"/>
                    </a:lnTo>
                    <a:lnTo>
                      <a:pt x="73" y="598"/>
                    </a:lnTo>
                    <a:lnTo>
                      <a:pt x="66" y="584"/>
                    </a:lnTo>
                    <a:lnTo>
                      <a:pt x="66" y="577"/>
                    </a:lnTo>
                    <a:lnTo>
                      <a:pt x="73" y="558"/>
                    </a:lnTo>
                    <a:lnTo>
                      <a:pt x="71" y="539"/>
                    </a:lnTo>
                    <a:lnTo>
                      <a:pt x="80" y="518"/>
                    </a:lnTo>
                    <a:lnTo>
                      <a:pt x="88" y="506"/>
                    </a:lnTo>
                    <a:lnTo>
                      <a:pt x="95" y="482"/>
                    </a:lnTo>
                    <a:lnTo>
                      <a:pt x="97" y="466"/>
                    </a:lnTo>
                    <a:lnTo>
                      <a:pt x="99" y="456"/>
                    </a:lnTo>
                    <a:lnTo>
                      <a:pt x="97" y="445"/>
                    </a:lnTo>
                    <a:lnTo>
                      <a:pt x="102" y="435"/>
                    </a:lnTo>
                    <a:lnTo>
                      <a:pt x="99" y="423"/>
                    </a:lnTo>
                    <a:lnTo>
                      <a:pt x="97" y="407"/>
                    </a:lnTo>
                    <a:lnTo>
                      <a:pt x="90" y="400"/>
                    </a:lnTo>
                    <a:lnTo>
                      <a:pt x="76" y="376"/>
                    </a:lnTo>
                    <a:lnTo>
                      <a:pt x="76" y="367"/>
                    </a:lnTo>
                    <a:lnTo>
                      <a:pt x="64" y="345"/>
                    </a:lnTo>
                    <a:lnTo>
                      <a:pt x="62" y="336"/>
                    </a:lnTo>
                    <a:lnTo>
                      <a:pt x="50" y="324"/>
                    </a:lnTo>
                    <a:lnTo>
                      <a:pt x="47" y="317"/>
                    </a:lnTo>
                    <a:lnTo>
                      <a:pt x="45" y="286"/>
                    </a:lnTo>
                    <a:lnTo>
                      <a:pt x="43" y="277"/>
                    </a:lnTo>
                    <a:lnTo>
                      <a:pt x="31" y="260"/>
                    </a:lnTo>
                    <a:lnTo>
                      <a:pt x="5" y="234"/>
                    </a:lnTo>
                    <a:lnTo>
                      <a:pt x="5" y="208"/>
                    </a:lnTo>
                    <a:lnTo>
                      <a:pt x="5" y="182"/>
                    </a:lnTo>
                    <a:lnTo>
                      <a:pt x="2" y="154"/>
                    </a:lnTo>
                    <a:lnTo>
                      <a:pt x="2" y="128"/>
                    </a:lnTo>
                    <a:lnTo>
                      <a:pt x="2" y="102"/>
                    </a:lnTo>
                    <a:lnTo>
                      <a:pt x="2" y="73"/>
                    </a:lnTo>
                    <a:lnTo>
                      <a:pt x="0" y="47"/>
                    </a:lnTo>
                    <a:lnTo>
                      <a:pt x="0" y="21"/>
                    </a:lnTo>
                    <a:lnTo>
                      <a:pt x="33" y="21"/>
                    </a:lnTo>
                    <a:lnTo>
                      <a:pt x="64" y="19"/>
                    </a:lnTo>
                    <a:lnTo>
                      <a:pt x="97" y="19"/>
                    </a:lnTo>
                    <a:lnTo>
                      <a:pt x="128" y="17"/>
                    </a:lnTo>
                    <a:lnTo>
                      <a:pt x="161" y="17"/>
                    </a:lnTo>
                    <a:lnTo>
                      <a:pt x="192" y="17"/>
                    </a:lnTo>
                    <a:lnTo>
                      <a:pt x="225" y="14"/>
                    </a:lnTo>
                    <a:lnTo>
                      <a:pt x="255" y="14"/>
                    </a:lnTo>
                    <a:lnTo>
                      <a:pt x="288" y="12"/>
                    </a:lnTo>
                    <a:lnTo>
                      <a:pt x="319" y="9"/>
                    </a:lnTo>
                    <a:lnTo>
                      <a:pt x="352" y="9"/>
                    </a:lnTo>
                    <a:lnTo>
                      <a:pt x="383" y="7"/>
                    </a:lnTo>
                    <a:lnTo>
                      <a:pt x="416" y="7"/>
                    </a:lnTo>
                    <a:lnTo>
                      <a:pt x="447" y="5"/>
                    </a:lnTo>
                    <a:lnTo>
                      <a:pt x="480" y="2"/>
                    </a:lnTo>
                    <a:lnTo>
                      <a:pt x="515" y="0"/>
                    </a:lnTo>
                    <a:lnTo>
                      <a:pt x="515" y="12"/>
                    </a:lnTo>
                    <a:lnTo>
                      <a:pt x="525" y="17"/>
                    </a:lnTo>
                    <a:lnTo>
                      <a:pt x="527" y="28"/>
                    </a:lnTo>
                    <a:lnTo>
                      <a:pt x="520" y="45"/>
                    </a:lnTo>
                    <a:lnTo>
                      <a:pt x="520" y="57"/>
                    </a:lnTo>
                    <a:lnTo>
                      <a:pt x="527" y="62"/>
                    </a:lnTo>
                    <a:lnTo>
                      <a:pt x="527" y="69"/>
                    </a:lnTo>
                    <a:lnTo>
                      <a:pt x="520" y="76"/>
                    </a:lnTo>
                    <a:lnTo>
                      <a:pt x="520" y="83"/>
                    </a:lnTo>
                    <a:lnTo>
                      <a:pt x="525" y="92"/>
                    </a:lnTo>
                    <a:lnTo>
                      <a:pt x="530" y="102"/>
                    </a:lnTo>
                    <a:lnTo>
                      <a:pt x="530" y="111"/>
                    </a:lnTo>
                    <a:lnTo>
                      <a:pt x="537" y="125"/>
                    </a:lnTo>
                    <a:lnTo>
                      <a:pt x="551" y="132"/>
                    </a:lnTo>
                    <a:lnTo>
                      <a:pt x="558" y="144"/>
                    </a:lnTo>
                    <a:lnTo>
                      <a:pt x="560" y="149"/>
                    </a:lnTo>
                    <a:lnTo>
                      <a:pt x="560" y="154"/>
                    </a:lnTo>
                    <a:lnTo>
                      <a:pt x="560" y="163"/>
                    </a:lnTo>
                    <a:lnTo>
                      <a:pt x="551" y="175"/>
                    </a:lnTo>
                    <a:lnTo>
                      <a:pt x="541" y="184"/>
                    </a:lnTo>
                    <a:lnTo>
                      <a:pt x="539" y="187"/>
                    </a:lnTo>
                    <a:lnTo>
                      <a:pt x="537" y="192"/>
                    </a:lnTo>
                    <a:lnTo>
                      <a:pt x="537" y="206"/>
                    </a:lnTo>
                    <a:lnTo>
                      <a:pt x="525" y="222"/>
                    </a:lnTo>
                    <a:lnTo>
                      <a:pt x="504" y="241"/>
                    </a:lnTo>
                    <a:lnTo>
                      <a:pt x="489" y="265"/>
                    </a:lnTo>
                    <a:lnTo>
                      <a:pt x="482" y="293"/>
                    </a:lnTo>
                    <a:lnTo>
                      <a:pt x="475" y="312"/>
                    </a:lnTo>
                    <a:lnTo>
                      <a:pt x="468" y="319"/>
                    </a:lnTo>
                    <a:lnTo>
                      <a:pt x="463" y="336"/>
                    </a:lnTo>
                    <a:lnTo>
                      <a:pt x="463" y="357"/>
                    </a:lnTo>
                    <a:lnTo>
                      <a:pt x="459" y="369"/>
                    </a:lnTo>
                    <a:lnTo>
                      <a:pt x="449" y="374"/>
                    </a:lnTo>
                    <a:lnTo>
                      <a:pt x="447" y="385"/>
                    </a:lnTo>
                    <a:lnTo>
                      <a:pt x="454" y="407"/>
                    </a:lnTo>
                    <a:lnTo>
                      <a:pt x="452" y="416"/>
                    </a:lnTo>
                    <a:lnTo>
                      <a:pt x="445" y="426"/>
                    </a:lnTo>
                    <a:lnTo>
                      <a:pt x="445" y="430"/>
                    </a:lnTo>
                    <a:lnTo>
                      <a:pt x="489" y="428"/>
                    </a:lnTo>
                    <a:lnTo>
                      <a:pt x="532" y="426"/>
                    </a:lnTo>
                    <a:lnTo>
                      <a:pt x="577" y="423"/>
                    </a:lnTo>
                    <a:lnTo>
                      <a:pt x="619" y="421"/>
                    </a:lnTo>
                    <a:lnTo>
                      <a:pt x="664" y="419"/>
                    </a:lnTo>
                    <a:lnTo>
                      <a:pt x="707" y="416"/>
                    </a:lnTo>
                    <a:lnTo>
                      <a:pt x="752" y="414"/>
                    </a:lnTo>
                    <a:lnTo>
                      <a:pt x="794" y="411"/>
                    </a:lnTo>
                    <a:lnTo>
                      <a:pt x="792" y="435"/>
                    </a:lnTo>
                    <a:lnTo>
                      <a:pt x="780" y="468"/>
                    </a:lnTo>
                    <a:lnTo>
                      <a:pt x="780" y="478"/>
                    </a:lnTo>
                    <a:lnTo>
                      <a:pt x="785" y="489"/>
                    </a:lnTo>
                    <a:lnTo>
                      <a:pt x="785" y="494"/>
                    </a:lnTo>
                    <a:lnTo>
                      <a:pt x="790" y="504"/>
                    </a:lnTo>
                    <a:lnTo>
                      <a:pt x="801" y="511"/>
                    </a:lnTo>
                    <a:lnTo>
                      <a:pt x="811" y="525"/>
                    </a:lnTo>
                    <a:lnTo>
                      <a:pt x="823" y="549"/>
                    </a:lnTo>
                    <a:lnTo>
                      <a:pt x="825" y="558"/>
                    </a:lnTo>
                    <a:lnTo>
                      <a:pt x="832" y="575"/>
                    </a:lnTo>
                    <a:lnTo>
                      <a:pt x="837" y="577"/>
                    </a:lnTo>
                    <a:lnTo>
                      <a:pt x="842" y="577"/>
                    </a:lnTo>
                    <a:lnTo>
                      <a:pt x="846" y="579"/>
                    </a:lnTo>
                    <a:close/>
                    <a:moveTo>
                      <a:pt x="903" y="598"/>
                    </a:moveTo>
                    <a:lnTo>
                      <a:pt x="903" y="608"/>
                    </a:lnTo>
                    <a:lnTo>
                      <a:pt x="894" y="603"/>
                    </a:lnTo>
                    <a:lnTo>
                      <a:pt x="882" y="603"/>
                    </a:lnTo>
                    <a:lnTo>
                      <a:pt x="887" y="601"/>
                    </a:lnTo>
                    <a:lnTo>
                      <a:pt x="891" y="596"/>
                    </a:lnTo>
                    <a:lnTo>
                      <a:pt x="891" y="594"/>
                    </a:lnTo>
                    <a:lnTo>
                      <a:pt x="908" y="579"/>
                    </a:lnTo>
                    <a:lnTo>
                      <a:pt x="903" y="589"/>
                    </a:lnTo>
                    <a:lnTo>
                      <a:pt x="903" y="598"/>
                    </a:lnTo>
                    <a:close/>
                    <a:moveTo>
                      <a:pt x="979" y="650"/>
                    </a:moveTo>
                    <a:lnTo>
                      <a:pt x="976" y="657"/>
                    </a:lnTo>
                    <a:lnTo>
                      <a:pt x="979" y="624"/>
                    </a:lnTo>
                    <a:lnTo>
                      <a:pt x="969" y="598"/>
                    </a:lnTo>
                    <a:lnTo>
                      <a:pt x="976" y="610"/>
                    </a:lnTo>
                    <a:lnTo>
                      <a:pt x="981" y="624"/>
                    </a:lnTo>
                    <a:lnTo>
                      <a:pt x="979" y="650"/>
                    </a:lnTo>
                    <a:close/>
                    <a:moveTo>
                      <a:pt x="969" y="672"/>
                    </a:moveTo>
                    <a:lnTo>
                      <a:pt x="960" y="683"/>
                    </a:lnTo>
                    <a:lnTo>
                      <a:pt x="960" y="679"/>
                    </a:lnTo>
                    <a:lnTo>
                      <a:pt x="967" y="667"/>
                    </a:lnTo>
                    <a:lnTo>
                      <a:pt x="972" y="662"/>
                    </a:lnTo>
                    <a:lnTo>
                      <a:pt x="969" y="672"/>
                    </a:lnTo>
                    <a:close/>
                    <a:moveTo>
                      <a:pt x="435" y="750"/>
                    </a:moveTo>
                    <a:lnTo>
                      <a:pt x="428" y="754"/>
                    </a:lnTo>
                    <a:lnTo>
                      <a:pt x="395" y="738"/>
                    </a:lnTo>
                    <a:lnTo>
                      <a:pt x="395" y="728"/>
                    </a:lnTo>
                    <a:lnTo>
                      <a:pt x="409" y="721"/>
                    </a:lnTo>
                    <a:lnTo>
                      <a:pt x="419" y="721"/>
                    </a:lnTo>
                    <a:lnTo>
                      <a:pt x="433" y="731"/>
                    </a:lnTo>
                    <a:lnTo>
                      <a:pt x="437" y="733"/>
                    </a:lnTo>
                    <a:lnTo>
                      <a:pt x="442" y="735"/>
                    </a:lnTo>
                    <a:lnTo>
                      <a:pt x="440" y="742"/>
                    </a:lnTo>
                    <a:lnTo>
                      <a:pt x="435" y="75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04" name="Freeform 61">
                <a:extLst>
                  <a:ext uri="{FF2B5EF4-FFF2-40B4-BE49-F238E27FC236}">
                    <a16:creationId xmlns:a16="http://schemas.microsoft.com/office/drawing/2014/main" id="{63701B95-FA56-1D21-4B55-6BBF0CE23A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00" y="-33"/>
                <a:ext cx="581" cy="312"/>
              </a:xfrm>
              <a:custGeom>
                <a:avLst/>
                <a:gdLst>
                  <a:gd name="T0" fmla="*/ 371 w 581"/>
                  <a:gd name="T1" fmla="*/ 21 h 312"/>
                  <a:gd name="T2" fmla="*/ 392 w 581"/>
                  <a:gd name="T3" fmla="*/ 38 h 312"/>
                  <a:gd name="T4" fmla="*/ 407 w 581"/>
                  <a:gd name="T5" fmla="*/ 38 h 312"/>
                  <a:gd name="T6" fmla="*/ 390 w 581"/>
                  <a:gd name="T7" fmla="*/ 59 h 312"/>
                  <a:gd name="T8" fmla="*/ 371 w 581"/>
                  <a:gd name="T9" fmla="*/ 94 h 312"/>
                  <a:gd name="T10" fmla="*/ 397 w 581"/>
                  <a:gd name="T11" fmla="*/ 125 h 312"/>
                  <a:gd name="T12" fmla="*/ 437 w 581"/>
                  <a:gd name="T13" fmla="*/ 165 h 312"/>
                  <a:gd name="T14" fmla="*/ 468 w 581"/>
                  <a:gd name="T15" fmla="*/ 206 h 312"/>
                  <a:gd name="T16" fmla="*/ 529 w 581"/>
                  <a:gd name="T17" fmla="*/ 194 h 312"/>
                  <a:gd name="T18" fmla="*/ 522 w 581"/>
                  <a:gd name="T19" fmla="*/ 151 h 312"/>
                  <a:gd name="T20" fmla="*/ 503 w 581"/>
                  <a:gd name="T21" fmla="*/ 144 h 312"/>
                  <a:gd name="T22" fmla="*/ 499 w 581"/>
                  <a:gd name="T23" fmla="*/ 130 h 312"/>
                  <a:gd name="T24" fmla="*/ 541 w 581"/>
                  <a:gd name="T25" fmla="*/ 149 h 312"/>
                  <a:gd name="T26" fmla="*/ 563 w 581"/>
                  <a:gd name="T27" fmla="*/ 206 h 312"/>
                  <a:gd name="T28" fmla="*/ 496 w 581"/>
                  <a:gd name="T29" fmla="*/ 236 h 312"/>
                  <a:gd name="T30" fmla="*/ 461 w 581"/>
                  <a:gd name="T31" fmla="*/ 260 h 312"/>
                  <a:gd name="T32" fmla="*/ 447 w 581"/>
                  <a:gd name="T33" fmla="*/ 232 h 312"/>
                  <a:gd name="T34" fmla="*/ 388 w 581"/>
                  <a:gd name="T35" fmla="*/ 295 h 312"/>
                  <a:gd name="T36" fmla="*/ 376 w 581"/>
                  <a:gd name="T37" fmla="*/ 243 h 312"/>
                  <a:gd name="T38" fmla="*/ 357 w 581"/>
                  <a:gd name="T39" fmla="*/ 248 h 312"/>
                  <a:gd name="T40" fmla="*/ 343 w 581"/>
                  <a:gd name="T41" fmla="*/ 234 h 312"/>
                  <a:gd name="T42" fmla="*/ 329 w 581"/>
                  <a:gd name="T43" fmla="*/ 208 h 312"/>
                  <a:gd name="T44" fmla="*/ 305 w 581"/>
                  <a:gd name="T45" fmla="*/ 206 h 312"/>
                  <a:gd name="T46" fmla="*/ 262 w 581"/>
                  <a:gd name="T47" fmla="*/ 217 h 312"/>
                  <a:gd name="T48" fmla="*/ 225 w 581"/>
                  <a:gd name="T49" fmla="*/ 225 h 312"/>
                  <a:gd name="T50" fmla="*/ 170 w 581"/>
                  <a:gd name="T51" fmla="*/ 236 h 312"/>
                  <a:gd name="T52" fmla="*/ 116 w 581"/>
                  <a:gd name="T53" fmla="*/ 251 h 312"/>
                  <a:gd name="T54" fmla="*/ 109 w 581"/>
                  <a:gd name="T55" fmla="*/ 253 h 312"/>
                  <a:gd name="T56" fmla="*/ 71 w 581"/>
                  <a:gd name="T57" fmla="*/ 260 h 312"/>
                  <a:gd name="T58" fmla="*/ 31 w 581"/>
                  <a:gd name="T59" fmla="*/ 269 h 312"/>
                  <a:gd name="T60" fmla="*/ 0 w 581"/>
                  <a:gd name="T61" fmla="*/ 272 h 312"/>
                  <a:gd name="T62" fmla="*/ 2 w 581"/>
                  <a:gd name="T63" fmla="*/ 215 h 312"/>
                  <a:gd name="T64" fmla="*/ 2 w 581"/>
                  <a:gd name="T65" fmla="*/ 161 h 312"/>
                  <a:gd name="T66" fmla="*/ 19 w 581"/>
                  <a:gd name="T67" fmla="*/ 120 h 312"/>
                  <a:gd name="T68" fmla="*/ 64 w 581"/>
                  <a:gd name="T69" fmla="*/ 111 h 312"/>
                  <a:gd name="T70" fmla="*/ 109 w 581"/>
                  <a:gd name="T71" fmla="*/ 102 h 312"/>
                  <a:gd name="T72" fmla="*/ 165 w 581"/>
                  <a:gd name="T73" fmla="*/ 87 h 312"/>
                  <a:gd name="T74" fmla="*/ 229 w 581"/>
                  <a:gd name="T75" fmla="*/ 73 h 312"/>
                  <a:gd name="T76" fmla="*/ 295 w 581"/>
                  <a:gd name="T77" fmla="*/ 57 h 312"/>
                  <a:gd name="T78" fmla="*/ 326 w 581"/>
                  <a:gd name="T79" fmla="*/ 21 h 312"/>
                  <a:gd name="T80" fmla="*/ 364 w 581"/>
                  <a:gd name="T81" fmla="*/ 0 h 312"/>
                  <a:gd name="T82" fmla="*/ 447 w 581"/>
                  <a:gd name="T83" fmla="*/ 307 h 312"/>
                  <a:gd name="T84" fmla="*/ 473 w 581"/>
                  <a:gd name="T85" fmla="*/ 279 h 312"/>
                  <a:gd name="T86" fmla="*/ 581 w 581"/>
                  <a:gd name="T87" fmla="*/ 288 h 312"/>
                  <a:gd name="T88" fmla="*/ 563 w 581"/>
                  <a:gd name="T89" fmla="*/ 284 h 312"/>
                  <a:gd name="T90" fmla="*/ 565 w 581"/>
                  <a:gd name="T91" fmla="*/ 265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81" h="312">
                    <a:moveTo>
                      <a:pt x="364" y="0"/>
                    </a:moveTo>
                    <a:lnTo>
                      <a:pt x="362" y="12"/>
                    </a:lnTo>
                    <a:lnTo>
                      <a:pt x="371" y="21"/>
                    </a:lnTo>
                    <a:lnTo>
                      <a:pt x="376" y="31"/>
                    </a:lnTo>
                    <a:lnTo>
                      <a:pt x="385" y="38"/>
                    </a:lnTo>
                    <a:lnTo>
                      <a:pt x="392" y="38"/>
                    </a:lnTo>
                    <a:lnTo>
                      <a:pt x="397" y="35"/>
                    </a:lnTo>
                    <a:lnTo>
                      <a:pt x="402" y="33"/>
                    </a:lnTo>
                    <a:lnTo>
                      <a:pt x="407" y="38"/>
                    </a:lnTo>
                    <a:lnTo>
                      <a:pt x="407" y="42"/>
                    </a:lnTo>
                    <a:lnTo>
                      <a:pt x="399" y="47"/>
                    </a:lnTo>
                    <a:lnTo>
                      <a:pt x="390" y="59"/>
                    </a:lnTo>
                    <a:lnTo>
                      <a:pt x="378" y="66"/>
                    </a:lnTo>
                    <a:lnTo>
                      <a:pt x="376" y="80"/>
                    </a:lnTo>
                    <a:lnTo>
                      <a:pt x="371" y="94"/>
                    </a:lnTo>
                    <a:lnTo>
                      <a:pt x="359" y="120"/>
                    </a:lnTo>
                    <a:lnTo>
                      <a:pt x="369" y="125"/>
                    </a:lnTo>
                    <a:lnTo>
                      <a:pt x="397" y="125"/>
                    </a:lnTo>
                    <a:lnTo>
                      <a:pt x="411" y="128"/>
                    </a:lnTo>
                    <a:lnTo>
                      <a:pt x="440" y="161"/>
                    </a:lnTo>
                    <a:lnTo>
                      <a:pt x="437" y="165"/>
                    </a:lnTo>
                    <a:lnTo>
                      <a:pt x="437" y="173"/>
                    </a:lnTo>
                    <a:lnTo>
                      <a:pt x="456" y="180"/>
                    </a:lnTo>
                    <a:lnTo>
                      <a:pt x="468" y="206"/>
                    </a:lnTo>
                    <a:lnTo>
                      <a:pt x="485" y="210"/>
                    </a:lnTo>
                    <a:lnTo>
                      <a:pt x="506" y="210"/>
                    </a:lnTo>
                    <a:lnTo>
                      <a:pt x="529" y="194"/>
                    </a:lnTo>
                    <a:lnTo>
                      <a:pt x="546" y="177"/>
                    </a:lnTo>
                    <a:lnTo>
                      <a:pt x="541" y="168"/>
                    </a:lnTo>
                    <a:lnTo>
                      <a:pt x="522" y="151"/>
                    </a:lnTo>
                    <a:lnTo>
                      <a:pt x="518" y="142"/>
                    </a:lnTo>
                    <a:lnTo>
                      <a:pt x="506" y="137"/>
                    </a:lnTo>
                    <a:lnTo>
                      <a:pt x="503" y="144"/>
                    </a:lnTo>
                    <a:lnTo>
                      <a:pt x="496" y="139"/>
                    </a:lnTo>
                    <a:lnTo>
                      <a:pt x="494" y="135"/>
                    </a:lnTo>
                    <a:lnTo>
                      <a:pt x="499" y="130"/>
                    </a:lnTo>
                    <a:lnTo>
                      <a:pt x="506" y="130"/>
                    </a:lnTo>
                    <a:lnTo>
                      <a:pt x="515" y="132"/>
                    </a:lnTo>
                    <a:lnTo>
                      <a:pt x="541" y="149"/>
                    </a:lnTo>
                    <a:lnTo>
                      <a:pt x="555" y="180"/>
                    </a:lnTo>
                    <a:lnTo>
                      <a:pt x="563" y="199"/>
                    </a:lnTo>
                    <a:lnTo>
                      <a:pt x="563" y="206"/>
                    </a:lnTo>
                    <a:lnTo>
                      <a:pt x="555" y="206"/>
                    </a:lnTo>
                    <a:lnTo>
                      <a:pt x="546" y="210"/>
                    </a:lnTo>
                    <a:lnTo>
                      <a:pt x="496" y="236"/>
                    </a:lnTo>
                    <a:lnTo>
                      <a:pt x="487" y="248"/>
                    </a:lnTo>
                    <a:lnTo>
                      <a:pt x="463" y="265"/>
                    </a:lnTo>
                    <a:lnTo>
                      <a:pt x="461" y="260"/>
                    </a:lnTo>
                    <a:lnTo>
                      <a:pt x="459" y="251"/>
                    </a:lnTo>
                    <a:lnTo>
                      <a:pt x="451" y="229"/>
                    </a:lnTo>
                    <a:lnTo>
                      <a:pt x="447" y="232"/>
                    </a:lnTo>
                    <a:lnTo>
                      <a:pt x="414" y="277"/>
                    </a:lnTo>
                    <a:lnTo>
                      <a:pt x="399" y="284"/>
                    </a:lnTo>
                    <a:lnTo>
                      <a:pt x="388" y="295"/>
                    </a:lnTo>
                    <a:lnTo>
                      <a:pt x="383" y="291"/>
                    </a:lnTo>
                    <a:lnTo>
                      <a:pt x="373" y="267"/>
                    </a:lnTo>
                    <a:lnTo>
                      <a:pt x="376" y="243"/>
                    </a:lnTo>
                    <a:lnTo>
                      <a:pt x="371" y="246"/>
                    </a:lnTo>
                    <a:lnTo>
                      <a:pt x="366" y="255"/>
                    </a:lnTo>
                    <a:lnTo>
                      <a:pt x="357" y="248"/>
                    </a:lnTo>
                    <a:lnTo>
                      <a:pt x="352" y="243"/>
                    </a:lnTo>
                    <a:lnTo>
                      <a:pt x="345" y="241"/>
                    </a:lnTo>
                    <a:lnTo>
                      <a:pt x="343" y="234"/>
                    </a:lnTo>
                    <a:lnTo>
                      <a:pt x="340" y="222"/>
                    </a:lnTo>
                    <a:lnTo>
                      <a:pt x="333" y="222"/>
                    </a:lnTo>
                    <a:lnTo>
                      <a:pt x="329" y="208"/>
                    </a:lnTo>
                    <a:lnTo>
                      <a:pt x="324" y="199"/>
                    </a:lnTo>
                    <a:lnTo>
                      <a:pt x="314" y="201"/>
                    </a:lnTo>
                    <a:lnTo>
                      <a:pt x="305" y="206"/>
                    </a:lnTo>
                    <a:lnTo>
                      <a:pt x="288" y="208"/>
                    </a:lnTo>
                    <a:lnTo>
                      <a:pt x="274" y="213"/>
                    </a:lnTo>
                    <a:lnTo>
                      <a:pt x="262" y="217"/>
                    </a:lnTo>
                    <a:lnTo>
                      <a:pt x="262" y="215"/>
                    </a:lnTo>
                    <a:lnTo>
                      <a:pt x="243" y="220"/>
                    </a:lnTo>
                    <a:lnTo>
                      <a:pt x="225" y="225"/>
                    </a:lnTo>
                    <a:lnTo>
                      <a:pt x="208" y="229"/>
                    </a:lnTo>
                    <a:lnTo>
                      <a:pt x="189" y="234"/>
                    </a:lnTo>
                    <a:lnTo>
                      <a:pt x="170" y="236"/>
                    </a:lnTo>
                    <a:lnTo>
                      <a:pt x="154" y="241"/>
                    </a:lnTo>
                    <a:lnTo>
                      <a:pt x="135" y="246"/>
                    </a:lnTo>
                    <a:lnTo>
                      <a:pt x="116" y="251"/>
                    </a:lnTo>
                    <a:lnTo>
                      <a:pt x="116" y="255"/>
                    </a:lnTo>
                    <a:lnTo>
                      <a:pt x="111" y="258"/>
                    </a:lnTo>
                    <a:lnTo>
                      <a:pt x="109" y="253"/>
                    </a:lnTo>
                    <a:lnTo>
                      <a:pt x="97" y="255"/>
                    </a:lnTo>
                    <a:lnTo>
                      <a:pt x="83" y="258"/>
                    </a:lnTo>
                    <a:lnTo>
                      <a:pt x="71" y="260"/>
                    </a:lnTo>
                    <a:lnTo>
                      <a:pt x="57" y="265"/>
                    </a:lnTo>
                    <a:lnTo>
                      <a:pt x="45" y="267"/>
                    </a:lnTo>
                    <a:lnTo>
                      <a:pt x="31" y="269"/>
                    </a:lnTo>
                    <a:lnTo>
                      <a:pt x="19" y="272"/>
                    </a:lnTo>
                    <a:lnTo>
                      <a:pt x="5" y="274"/>
                    </a:lnTo>
                    <a:lnTo>
                      <a:pt x="0" y="272"/>
                    </a:lnTo>
                    <a:lnTo>
                      <a:pt x="0" y="253"/>
                    </a:lnTo>
                    <a:lnTo>
                      <a:pt x="0" y="234"/>
                    </a:lnTo>
                    <a:lnTo>
                      <a:pt x="2" y="215"/>
                    </a:lnTo>
                    <a:lnTo>
                      <a:pt x="2" y="199"/>
                    </a:lnTo>
                    <a:lnTo>
                      <a:pt x="2" y="180"/>
                    </a:lnTo>
                    <a:lnTo>
                      <a:pt x="2" y="161"/>
                    </a:lnTo>
                    <a:lnTo>
                      <a:pt x="2" y="142"/>
                    </a:lnTo>
                    <a:lnTo>
                      <a:pt x="2" y="123"/>
                    </a:lnTo>
                    <a:lnTo>
                      <a:pt x="19" y="120"/>
                    </a:lnTo>
                    <a:lnTo>
                      <a:pt x="33" y="118"/>
                    </a:lnTo>
                    <a:lnTo>
                      <a:pt x="47" y="113"/>
                    </a:lnTo>
                    <a:lnTo>
                      <a:pt x="64" y="111"/>
                    </a:lnTo>
                    <a:lnTo>
                      <a:pt x="78" y="109"/>
                    </a:lnTo>
                    <a:lnTo>
                      <a:pt x="92" y="104"/>
                    </a:lnTo>
                    <a:lnTo>
                      <a:pt x="109" y="102"/>
                    </a:lnTo>
                    <a:lnTo>
                      <a:pt x="123" y="97"/>
                    </a:lnTo>
                    <a:lnTo>
                      <a:pt x="144" y="92"/>
                    </a:lnTo>
                    <a:lnTo>
                      <a:pt x="165" y="87"/>
                    </a:lnTo>
                    <a:lnTo>
                      <a:pt x="187" y="83"/>
                    </a:lnTo>
                    <a:lnTo>
                      <a:pt x="208" y="78"/>
                    </a:lnTo>
                    <a:lnTo>
                      <a:pt x="229" y="73"/>
                    </a:lnTo>
                    <a:lnTo>
                      <a:pt x="253" y="68"/>
                    </a:lnTo>
                    <a:lnTo>
                      <a:pt x="274" y="61"/>
                    </a:lnTo>
                    <a:lnTo>
                      <a:pt x="295" y="57"/>
                    </a:lnTo>
                    <a:lnTo>
                      <a:pt x="307" y="47"/>
                    </a:lnTo>
                    <a:lnTo>
                      <a:pt x="317" y="28"/>
                    </a:lnTo>
                    <a:lnTo>
                      <a:pt x="326" y="21"/>
                    </a:lnTo>
                    <a:lnTo>
                      <a:pt x="338" y="7"/>
                    </a:lnTo>
                    <a:lnTo>
                      <a:pt x="345" y="5"/>
                    </a:lnTo>
                    <a:lnTo>
                      <a:pt x="364" y="0"/>
                    </a:lnTo>
                    <a:close/>
                    <a:moveTo>
                      <a:pt x="494" y="291"/>
                    </a:moveTo>
                    <a:lnTo>
                      <a:pt x="456" y="312"/>
                    </a:lnTo>
                    <a:lnTo>
                      <a:pt x="447" y="307"/>
                    </a:lnTo>
                    <a:lnTo>
                      <a:pt x="456" y="303"/>
                    </a:lnTo>
                    <a:lnTo>
                      <a:pt x="466" y="284"/>
                    </a:lnTo>
                    <a:lnTo>
                      <a:pt x="473" y="279"/>
                    </a:lnTo>
                    <a:lnTo>
                      <a:pt x="489" y="284"/>
                    </a:lnTo>
                    <a:lnTo>
                      <a:pt x="494" y="291"/>
                    </a:lnTo>
                    <a:close/>
                    <a:moveTo>
                      <a:pt x="581" y="288"/>
                    </a:moveTo>
                    <a:lnTo>
                      <a:pt x="572" y="295"/>
                    </a:lnTo>
                    <a:lnTo>
                      <a:pt x="541" y="295"/>
                    </a:lnTo>
                    <a:lnTo>
                      <a:pt x="563" y="284"/>
                    </a:lnTo>
                    <a:lnTo>
                      <a:pt x="565" y="281"/>
                    </a:lnTo>
                    <a:lnTo>
                      <a:pt x="565" y="269"/>
                    </a:lnTo>
                    <a:lnTo>
                      <a:pt x="565" y="265"/>
                    </a:lnTo>
                    <a:lnTo>
                      <a:pt x="579" y="284"/>
                    </a:lnTo>
                    <a:lnTo>
                      <a:pt x="581" y="28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05" name="Freeform 62">
                <a:extLst>
                  <a:ext uri="{FF2B5EF4-FFF2-40B4-BE49-F238E27FC236}">
                    <a16:creationId xmlns:a16="http://schemas.microsoft.com/office/drawing/2014/main" id="{24D128EF-9103-EB07-A050-14E4869038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75" y="804"/>
                <a:ext cx="768" cy="362"/>
              </a:xfrm>
              <a:custGeom>
                <a:avLst/>
                <a:gdLst>
                  <a:gd name="T0" fmla="*/ 615 w 768"/>
                  <a:gd name="T1" fmla="*/ 97 h 362"/>
                  <a:gd name="T2" fmla="*/ 650 w 768"/>
                  <a:gd name="T3" fmla="*/ 227 h 362"/>
                  <a:gd name="T4" fmla="*/ 659 w 768"/>
                  <a:gd name="T5" fmla="*/ 258 h 362"/>
                  <a:gd name="T6" fmla="*/ 662 w 768"/>
                  <a:gd name="T7" fmla="*/ 258 h 362"/>
                  <a:gd name="T8" fmla="*/ 749 w 768"/>
                  <a:gd name="T9" fmla="*/ 236 h 362"/>
                  <a:gd name="T10" fmla="*/ 763 w 768"/>
                  <a:gd name="T11" fmla="*/ 253 h 362"/>
                  <a:gd name="T12" fmla="*/ 754 w 768"/>
                  <a:gd name="T13" fmla="*/ 251 h 362"/>
                  <a:gd name="T14" fmla="*/ 740 w 768"/>
                  <a:gd name="T15" fmla="*/ 310 h 362"/>
                  <a:gd name="T16" fmla="*/ 693 w 768"/>
                  <a:gd name="T17" fmla="*/ 348 h 362"/>
                  <a:gd name="T18" fmla="*/ 657 w 768"/>
                  <a:gd name="T19" fmla="*/ 350 h 362"/>
                  <a:gd name="T20" fmla="*/ 636 w 768"/>
                  <a:gd name="T21" fmla="*/ 324 h 362"/>
                  <a:gd name="T22" fmla="*/ 638 w 768"/>
                  <a:gd name="T23" fmla="*/ 281 h 362"/>
                  <a:gd name="T24" fmla="*/ 619 w 768"/>
                  <a:gd name="T25" fmla="*/ 293 h 362"/>
                  <a:gd name="T26" fmla="*/ 598 w 768"/>
                  <a:gd name="T27" fmla="*/ 300 h 362"/>
                  <a:gd name="T28" fmla="*/ 563 w 768"/>
                  <a:gd name="T29" fmla="*/ 248 h 362"/>
                  <a:gd name="T30" fmla="*/ 600 w 768"/>
                  <a:gd name="T31" fmla="*/ 234 h 362"/>
                  <a:gd name="T32" fmla="*/ 553 w 768"/>
                  <a:gd name="T33" fmla="*/ 213 h 362"/>
                  <a:gd name="T34" fmla="*/ 555 w 768"/>
                  <a:gd name="T35" fmla="*/ 201 h 362"/>
                  <a:gd name="T36" fmla="*/ 537 w 768"/>
                  <a:gd name="T37" fmla="*/ 187 h 362"/>
                  <a:gd name="T38" fmla="*/ 558 w 768"/>
                  <a:gd name="T39" fmla="*/ 165 h 362"/>
                  <a:gd name="T40" fmla="*/ 539 w 768"/>
                  <a:gd name="T41" fmla="*/ 125 h 362"/>
                  <a:gd name="T42" fmla="*/ 589 w 768"/>
                  <a:gd name="T43" fmla="*/ 76 h 362"/>
                  <a:gd name="T44" fmla="*/ 579 w 768"/>
                  <a:gd name="T45" fmla="*/ 57 h 362"/>
                  <a:gd name="T46" fmla="*/ 560 w 768"/>
                  <a:gd name="T47" fmla="*/ 40 h 362"/>
                  <a:gd name="T48" fmla="*/ 551 w 768"/>
                  <a:gd name="T49" fmla="*/ 71 h 362"/>
                  <a:gd name="T50" fmla="*/ 527 w 768"/>
                  <a:gd name="T51" fmla="*/ 76 h 362"/>
                  <a:gd name="T52" fmla="*/ 513 w 768"/>
                  <a:gd name="T53" fmla="*/ 90 h 362"/>
                  <a:gd name="T54" fmla="*/ 511 w 768"/>
                  <a:gd name="T55" fmla="*/ 118 h 362"/>
                  <a:gd name="T56" fmla="*/ 501 w 768"/>
                  <a:gd name="T57" fmla="*/ 142 h 362"/>
                  <a:gd name="T58" fmla="*/ 496 w 768"/>
                  <a:gd name="T59" fmla="*/ 161 h 362"/>
                  <a:gd name="T60" fmla="*/ 508 w 768"/>
                  <a:gd name="T61" fmla="*/ 196 h 362"/>
                  <a:gd name="T62" fmla="*/ 527 w 768"/>
                  <a:gd name="T63" fmla="*/ 269 h 362"/>
                  <a:gd name="T64" fmla="*/ 544 w 768"/>
                  <a:gd name="T65" fmla="*/ 303 h 362"/>
                  <a:gd name="T66" fmla="*/ 499 w 768"/>
                  <a:gd name="T67" fmla="*/ 265 h 362"/>
                  <a:gd name="T68" fmla="*/ 553 w 768"/>
                  <a:gd name="T69" fmla="*/ 322 h 362"/>
                  <a:gd name="T70" fmla="*/ 560 w 768"/>
                  <a:gd name="T71" fmla="*/ 350 h 362"/>
                  <a:gd name="T72" fmla="*/ 475 w 768"/>
                  <a:gd name="T73" fmla="*/ 312 h 362"/>
                  <a:gd name="T74" fmla="*/ 454 w 768"/>
                  <a:gd name="T75" fmla="*/ 314 h 362"/>
                  <a:gd name="T76" fmla="*/ 414 w 768"/>
                  <a:gd name="T77" fmla="*/ 322 h 362"/>
                  <a:gd name="T78" fmla="*/ 430 w 768"/>
                  <a:gd name="T79" fmla="*/ 253 h 362"/>
                  <a:gd name="T80" fmla="*/ 442 w 768"/>
                  <a:gd name="T81" fmla="*/ 213 h 362"/>
                  <a:gd name="T82" fmla="*/ 397 w 768"/>
                  <a:gd name="T83" fmla="*/ 203 h 362"/>
                  <a:gd name="T84" fmla="*/ 338 w 768"/>
                  <a:gd name="T85" fmla="*/ 173 h 362"/>
                  <a:gd name="T86" fmla="*/ 295 w 768"/>
                  <a:gd name="T87" fmla="*/ 144 h 362"/>
                  <a:gd name="T88" fmla="*/ 281 w 768"/>
                  <a:gd name="T89" fmla="*/ 128 h 362"/>
                  <a:gd name="T90" fmla="*/ 267 w 768"/>
                  <a:gd name="T91" fmla="*/ 106 h 362"/>
                  <a:gd name="T92" fmla="*/ 248 w 768"/>
                  <a:gd name="T93" fmla="*/ 97 h 362"/>
                  <a:gd name="T94" fmla="*/ 187 w 768"/>
                  <a:gd name="T95" fmla="*/ 102 h 362"/>
                  <a:gd name="T96" fmla="*/ 165 w 768"/>
                  <a:gd name="T97" fmla="*/ 130 h 362"/>
                  <a:gd name="T98" fmla="*/ 123 w 768"/>
                  <a:gd name="T99" fmla="*/ 128 h 362"/>
                  <a:gd name="T100" fmla="*/ 116 w 768"/>
                  <a:gd name="T101" fmla="*/ 121 h 362"/>
                  <a:gd name="T102" fmla="*/ 78 w 768"/>
                  <a:gd name="T103" fmla="*/ 158 h 362"/>
                  <a:gd name="T104" fmla="*/ 19 w 768"/>
                  <a:gd name="T105" fmla="*/ 227 h 362"/>
                  <a:gd name="T106" fmla="*/ 0 w 768"/>
                  <a:gd name="T107" fmla="*/ 121 h 362"/>
                  <a:gd name="T108" fmla="*/ 147 w 768"/>
                  <a:gd name="T109" fmla="*/ 92 h 362"/>
                  <a:gd name="T110" fmla="*/ 295 w 768"/>
                  <a:gd name="T111" fmla="*/ 64 h 362"/>
                  <a:gd name="T112" fmla="*/ 442 w 768"/>
                  <a:gd name="T113" fmla="*/ 33 h 362"/>
                  <a:gd name="T114" fmla="*/ 586 w 768"/>
                  <a:gd name="T115" fmla="*/ 0 h 362"/>
                  <a:gd name="T116" fmla="*/ 761 w 768"/>
                  <a:gd name="T117" fmla="*/ 281 h 362"/>
                  <a:gd name="T118" fmla="*/ 756 w 768"/>
                  <a:gd name="T119" fmla="*/ 324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68" h="362">
                    <a:moveTo>
                      <a:pt x="586" y="0"/>
                    </a:moveTo>
                    <a:lnTo>
                      <a:pt x="596" y="33"/>
                    </a:lnTo>
                    <a:lnTo>
                      <a:pt x="605" y="66"/>
                    </a:lnTo>
                    <a:lnTo>
                      <a:pt x="615" y="97"/>
                    </a:lnTo>
                    <a:lnTo>
                      <a:pt x="622" y="130"/>
                    </a:lnTo>
                    <a:lnTo>
                      <a:pt x="631" y="161"/>
                    </a:lnTo>
                    <a:lnTo>
                      <a:pt x="641" y="194"/>
                    </a:lnTo>
                    <a:lnTo>
                      <a:pt x="650" y="227"/>
                    </a:lnTo>
                    <a:lnTo>
                      <a:pt x="657" y="258"/>
                    </a:lnTo>
                    <a:lnTo>
                      <a:pt x="659" y="258"/>
                    </a:lnTo>
                    <a:lnTo>
                      <a:pt x="659" y="258"/>
                    </a:lnTo>
                    <a:lnTo>
                      <a:pt x="659" y="258"/>
                    </a:lnTo>
                    <a:lnTo>
                      <a:pt x="659" y="258"/>
                    </a:lnTo>
                    <a:lnTo>
                      <a:pt x="659" y="258"/>
                    </a:lnTo>
                    <a:lnTo>
                      <a:pt x="659" y="258"/>
                    </a:lnTo>
                    <a:lnTo>
                      <a:pt x="662" y="258"/>
                    </a:lnTo>
                    <a:lnTo>
                      <a:pt x="662" y="258"/>
                    </a:lnTo>
                    <a:lnTo>
                      <a:pt x="678" y="253"/>
                    </a:lnTo>
                    <a:lnTo>
                      <a:pt x="714" y="246"/>
                    </a:lnTo>
                    <a:lnTo>
                      <a:pt x="749" y="236"/>
                    </a:lnTo>
                    <a:lnTo>
                      <a:pt x="766" y="234"/>
                    </a:lnTo>
                    <a:lnTo>
                      <a:pt x="768" y="239"/>
                    </a:lnTo>
                    <a:lnTo>
                      <a:pt x="768" y="248"/>
                    </a:lnTo>
                    <a:lnTo>
                      <a:pt x="763" y="253"/>
                    </a:lnTo>
                    <a:lnTo>
                      <a:pt x="763" y="243"/>
                    </a:lnTo>
                    <a:lnTo>
                      <a:pt x="759" y="241"/>
                    </a:lnTo>
                    <a:lnTo>
                      <a:pt x="756" y="246"/>
                    </a:lnTo>
                    <a:lnTo>
                      <a:pt x="754" y="251"/>
                    </a:lnTo>
                    <a:lnTo>
                      <a:pt x="756" y="269"/>
                    </a:lnTo>
                    <a:lnTo>
                      <a:pt x="756" y="279"/>
                    </a:lnTo>
                    <a:lnTo>
                      <a:pt x="747" y="284"/>
                    </a:lnTo>
                    <a:lnTo>
                      <a:pt x="740" y="310"/>
                    </a:lnTo>
                    <a:lnTo>
                      <a:pt x="733" y="324"/>
                    </a:lnTo>
                    <a:lnTo>
                      <a:pt x="733" y="333"/>
                    </a:lnTo>
                    <a:lnTo>
                      <a:pt x="716" y="340"/>
                    </a:lnTo>
                    <a:lnTo>
                      <a:pt x="693" y="348"/>
                    </a:lnTo>
                    <a:lnTo>
                      <a:pt x="690" y="359"/>
                    </a:lnTo>
                    <a:lnTo>
                      <a:pt x="676" y="357"/>
                    </a:lnTo>
                    <a:lnTo>
                      <a:pt x="657" y="362"/>
                    </a:lnTo>
                    <a:lnTo>
                      <a:pt x="657" y="350"/>
                    </a:lnTo>
                    <a:lnTo>
                      <a:pt x="662" y="336"/>
                    </a:lnTo>
                    <a:lnTo>
                      <a:pt x="648" y="329"/>
                    </a:lnTo>
                    <a:lnTo>
                      <a:pt x="643" y="329"/>
                    </a:lnTo>
                    <a:lnTo>
                      <a:pt x="636" y="324"/>
                    </a:lnTo>
                    <a:lnTo>
                      <a:pt x="641" y="314"/>
                    </a:lnTo>
                    <a:lnTo>
                      <a:pt x="643" y="303"/>
                    </a:lnTo>
                    <a:lnTo>
                      <a:pt x="638" y="293"/>
                    </a:lnTo>
                    <a:lnTo>
                      <a:pt x="638" y="281"/>
                    </a:lnTo>
                    <a:lnTo>
                      <a:pt x="633" y="286"/>
                    </a:lnTo>
                    <a:lnTo>
                      <a:pt x="629" y="296"/>
                    </a:lnTo>
                    <a:lnTo>
                      <a:pt x="624" y="300"/>
                    </a:lnTo>
                    <a:lnTo>
                      <a:pt x="619" y="293"/>
                    </a:lnTo>
                    <a:lnTo>
                      <a:pt x="617" y="296"/>
                    </a:lnTo>
                    <a:lnTo>
                      <a:pt x="615" y="303"/>
                    </a:lnTo>
                    <a:lnTo>
                      <a:pt x="610" y="307"/>
                    </a:lnTo>
                    <a:lnTo>
                      <a:pt x="598" y="300"/>
                    </a:lnTo>
                    <a:lnTo>
                      <a:pt x="581" y="296"/>
                    </a:lnTo>
                    <a:lnTo>
                      <a:pt x="570" y="281"/>
                    </a:lnTo>
                    <a:lnTo>
                      <a:pt x="563" y="272"/>
                    </a:lnTo>
                    <a:lnTo>
                      <a:pt x="563" y="248"/>
                    </a:lnTo>
                    <a:lnTo>
                      <a:pt x="572" y="241"/>
                    </a:lnTo>
                    <a:lnTo>
                      <a:pt x="586" y="243"/>
                    </a:lnTo>
                    <a:lnTo>
                      <a:pt x="605" y="239"/>
                    </a:lnTo>
                    <a:lnTo>
                      <a:pt x="600" y="234"/>
                    </a:lnTo>
                    <a:lnTo>
                      <a:pt x="593" y="236"/>
                    </a:lnTo>
                    <a:lnTo>
                      <a:pt x="572" y="222"/>
                    </a:lnTo>
                    <a:lnTo>
                      <a:pt x="563" y="213"/>
                    </a:lnTo>
                    <a:lnTo>
                      <a:pt x="553" y="213"/>
                    </a:lnTo>
                    <a:lnTo>
                      <a:pt x="548" y="225"/>
                    </a:lnTo>
                    <a:lnTo>
                      <a:pt x="544" y="229"/>
                    </a:lnTo>
                    <a:lnTo>
                      <a:pt x="546" y="206"/>
                    </a:lnTo>
                    <a:lnTo>
                      <a:pt x="555" y="201"/>
                    </a:lnTo>
                    <a:lnTo>
                      <a:pt x="565" y="194"/>
                    </a:lnTo>
                    <a:lnTo>
                      <a:pt x="560" y="180"/>
                    </a:lnTo>
                    <a:lnTo>
                      <a:pt x="551" y="177"/>
                    </a:lnTo>
                    <a:lnTo>
                      <a:pt x="537" y="187"/>
                    </a:lnTo>
                    <a:lnTo>
                      <a:pt x="537" y="177"/>
                    </a:lnTo>
                    <a:lnTo>
                      <a:pt x="537" y="165"/>
                    </a:lnTo>
                    <a:lnTo>
                      <a:pt x="546" y="163"/>
                    </a:lnTo>
                    <a:lnTo>
                      <a:pt x="558" y="165"/>
                    </a:lnTo>
                    <a:lnTo>
                      <a:pt x="560" y="144"/>
                    </a:lnTo>
                    <a:lnTo>
                      <a:pt x="560" y="137"/>
                    </a:lnTo>
                    <a:lnTo>
                      <a:pt x="548" y="151"/>
                    </a:lnTo>
                    <a:lnTo>
                      <a:pt x="539" y="125"/>
                    </a:lnTo>
                    <a:lnTo>
                      <a:pt x="548" y="97"/>
                    </a:lnTo>
                    <a:lnTo>
                      <a:pt x="558" y="83"/>
                    </a:lnTo>
                    <a:lnTo>
                      <a:pt x="574" y="80"/>
                    </a:lnTo>
                    <a:lnTo>
                      <a:pt x="589" y="76"/>
                    </a:lnTo>
                    <a:lnTo>
                      <a:pt x="577" y="73"/>
                    </a:lnTo>
                    <a:lnTo>
                      <a:pt x="567" y="73"/>
                    </a:lnTo>
                    <a:lnTo>
                      <a:pt x="572" y="61"/>
                    </a:lnTo>
                    <a:lnTo>
                      <a:pt x="579" y="57"/>
                    </a:lnTo>
                    <a:lnTo>
                      <a:pt x="584" y="47"/>
                    </a:lnTo>
                    <a:lnTo>
                      <a:pt x="567" y="52"/>
                    </a:lnTo>
                    <a:lnTo>
                      <a:pt x="565" y="35"/>
                    </a:lnTo>
                    <a:lnTo>
                      <a:pt x="560" y="40"/>
                    </a:lnTo>
                    <a:lnTo>
                      <a:pt x="551" y="43"/>
                    </a:lnTo>
                    <a:lnTo>
                      <a:pt x="548" y="52"/>
                    </a:lnTo>
                    <a:lnTo>
                      <a:pt x="551" y="64"/>
                    </a:lnTo>
                    <a:lnTo>
                      <a:pt x="551" y="71"/>
                    </a:lnTo>
                    <a:lnTo>
                      <a:pt x="546" y="78"/>
                    </a:lnTo>
                    <a:lnTo>
                      <a:pt x="534" y="85"/>
                    </a:lnTo>
                    <a:lnTo>
                      <a:pt x="532" y="78"/>
                    </a:lnTo>
                    <a:lnTo>
                      <a:pt x="527" y="76"/>
                    </a:lnTo>
                    <a:lnTo>
                      <a:pt x="529" y="92"/>
                    </a:lnTo>
                    <a:lnTo>
                      <a:pt x="527" y="99"/>
                    </a:lnTo>
                    <a:lnTo>
                      <a:pt x="515" y="85"/>
                    </a:lnTo>
                    <a:lnTo>
                      <a:pt x="513" y="90"/>
                    </a:lnTo>
                    <a:lnTo>
                      <a:pt x="515" y="95"/>
                    </a:lnTo>
                    <a:lnTo>
                      <a:pt x="515" y="102"/>
                    </a:lnTo>
                    <a:lnTo>
                      <a:pt x="508" y="109"/>
                    </a:lnTo>
                    <a:lnTo>
                      <a:pt x="511" y="118"/>
                    </a:lnTo>
                    <a:lnTo>
                      <a:pt x="508" y="125"/>
                    </a:lnTo>
                    <a:lnTo>
                      <a:pt x="482" y="121"/>
                    </a:lnTo>
                    <a:lnTo>
                      <a:pt x="482" y="125"/>
                    </a:lnTo>
                    <a:lnTo>
                      <a:pt x="501" y="142"/>
                    </a:lnTo>
                    <a:lnTo>
                      <a:pt x="513" y="147"/>
                    </a:lnTo>
                    <a:lnTo>
                      <a:pt x="515" y="156"/>
                    </a:lnTo>
                    <a:lnTo>
                      <a:pt x="508" y="168"/>
                    </a:lnTo>
                    <a:lnTo>
                      <a:pt x="496" y="161"/>
                    </a:lnTo>
                    <a:lnTo>
                      <a:pt x="494" y="163"/>
                    </a:lnTo>
                    <a:lnTo>
                      <a:pt x="503" y="175"/>
                    </a:lnTo>
                    <a:lnTo>
                      <a:pt x="511" y="184"/>
                    </a:lnTo>
                    <a:lnTo>
                      <a:pt x="508" y="196"/>
                    </a:lnTo>
                    <a:lnTo>
                      <a:pt x="511" y="208"/>
                    </a:lnTo>
                    <a:lnTo>
                      <a:pt x="513" y="217"/>
                    </a:lnTo>
                    <a:lnTo>
                      <a:pt x="513" y="229"/>
                    </a:lnTo>
                    <a:lnTo>
                      <a:pt x="527" y="269"/>
                    </a:lnTo>
                    <a:lnTo>
                      <a:pt x="537" y="281"/>
                    </a:lnTo>
                    <a:lnTo>
                      <a:pt x="546" y="291"/>
                    </a:lnTo>
                    <a:lnTo>
                      <a:pt x="551" y="300"/>
                    </a:lnTo>
                    <a:lnTo>
                      <a:pt x="544" y="303"/>
                    </a:lnTo>
                    <a:lnTo>
                      <a:pt x="532" y="298"/>
                    </a:lnTo>
                    <a:lnTo>
                      <a:pt x="520" y="293"/>
                    </a:lnTo>
                    <a:lnTo>
                      <a:pt x="503" y="274"/>
                    </a:lnTo>
                    <a:lnTo>
                      <a:pt x="499" y="265"/>
                    </a:lnTo>
                    <a:lnTo>
                      <a:pt x="494" y="260"/>
                    </a:lnTo>
                    <a:lnTo>
                      <a:pt x="499" y="274"/>
                    </a:lnTo>
                    <a:lnTo>
                      <a:pt x="508" y="291"/>
                    </a:lnTo>
                    <a:lnTo>
                      <a:pt x="553" y="322"/>
                    </a:lnTo>
                    <a:lnTo>
                      <a:pt x="565" y="333"/>
                    </a:lnTo>
                    <a:lnTo>
                      <a:pt x="572" y="345"/>
                    </a:lnTo>
                    <a:lnTo>
                      <a:pt x="572" y="355"/>
                    </a:lnTo>
                    <a:lnTo>
                      <a:pt x="560" y="350"/>
                    </a:lnTo>
                    <a:lnTo>
                      <a:pt x="551" y="343"/>
                    </a:lnTo>
                    <a:lnTo>
                      <a:pt x="525" y="336"/>
                    </a:lnTo>
                    <a:lnTo>
                      <a:pt x="496" y="336"/>
                    </a:lnTo>
                    <a:lnTo>
                      <a:pt x="475" y="312"/>
                    </a:lnTo>
                    <a:lnTo>
                      <a:pt x="477" y="324"/>
                    </a:lnTo>
                    <a:lnTo>
                      <a:pt x="475" y="333"/>
                    </a:lnTo>
                    <a:lnTo>
                      <a:pt x="463" y="324"/>
                    </a:lnTo>
                    <a:lnTo>
                      <a:pt x="454" y="314"/>
                    </a:lnTo>
                    <a:lnTo>
                      <a:pt x="449" y="305"/>
                    </a:lnTo>
                    <a:lnTo>
                      <a:pt x="437" y="307"/>
                    </a:lnTo>
                    <a:lnTo>
                      <a:pt x="428" y="322"/>
                    </a:lnTo>
                    <a:lnTo>
                      <a:pt x="414" y="322"/>
                    </a:lnTo>
                    <a:lnTo>
                      <a:pt x="409" y="303"/>
                    </a:lnTo>
                    <a:lnTo>
                      <a:pt x="411" y="293"/>
                    </a:lnTo>
                    <a:lnTo>
                      <a:pt x="418" y="267"/>
                    </a:lnTo>
                    <a:lnTo>
                      <a:pt x="430" y="253"/>
                    </a:lnTo>
                    <a:lnTo>
                      <a:pt x="433" y="236"/>
                    </a:lnTo>
                    <a:lnTo>
                      <a:pt x="425" y="215"/>
                    </a:lnTo>
                    <a:lnTo>
                      <a:pt x="430" y="232"/>
                    </a:lnTo>
                    <a:lnTo>
                      <a:pt x="442" y="213"/>
                    </a:lnTo>
                    <a:lnTo>
                      <a:pt x="430" y="201"/>
                    </a:lnTo>
                    <a:lnTo>
                      <a:pt x="418" y="189"/>
                    </a:lnTo>
                    <a:lnTo>
                      <a:pt x="409" y="206"/>
                    </a:lnTo>
                    <a:lnTo>
                      <a:pt x="397" y="203"/>
                    </a:lnTo>
                    <a:lnTo>
                      <a:pt x="376" y="189"/>
                    </a:lnTo>
                    <a:lnTo>
                      <a:pt x="345" y="184"/>
                    </a:lnTo>
                    <a:lnTo>
                      <a:pt x="338" y="180"/>
                    </a:lnTo>
                    <a:lnTo>
                      <a:pt x="338" y="173"/>
                    </a:lnTo>
                    <a:lnTo>
                      <a:pt x="340" y="161"/>
                    </a:lnTo>
                    <a:lnTo>
                      <a:pt x="329" y="154"/>
                    </a:lnTo>
                    <a:lnTo>
                      <a:pt x="305" y="149"/>
                    </a:lnTo>
                    <a:lnTo>
                      <a:pt x="295" y="144"/>
                    </a:lnTo>
                    <a:lnTo>
                      <a:pt x="293" y="142"/>
                    </a:lnTo>
                    <a:lnTo>
                      <a:pt x="291" y="132"/>
                    </a:lnTo>
                    <a:lnTo>
                      <a:pt x="286" y="128"/>
                    </a:lnTo>
                    <a:lnTo>
                      <a:pt x="281" y="128"/>
                    </a:lnTo>
                    <a:lnTo>
                      <a:pt x="279" y="123"/>
                    </a:lnTo>
                    <a:lnTo>
                      <a:pt x="281" y="116"/>
                    </a:lnTo>
                    <a:lnTo>
                      <a:pt x="277" y="111"/>
                    </a:lnTo>
                    <a:lnTo>
                      <a:pt x="267" y="106"/>
                    </a:lnTo>
                    <a:lnTo>
                      <a:pt x="262" y="102"/>
                    </a:lnTo>
                    <a:lnTo>
                      <a:pt x="265" y="97"/>
                    </a:lnTo>
                    <a:lnTo>
                      <a:pt x="260" y="95"/>
                    </a:lnTo>
                    <a:lnTo>
                      <a:pt x="248" y="97"/>
                    </a:lnTo>
                    <a:lnTo>
                      <a:pt x="236" y="95"/>
                    </a:lnTo>
                    <a:lnTo>
                      <a:pt x="222" y="87"/>
                    </a:lnTo>
                    <a:lnTo>
                      <a:pt x="208" y="87"/>
                    </a:lnTo>
                    <a:lnTo>
                      <a:pt x="187" y="102"/>
                    </a:lnTo>
                    <a:lnTo>
                      <a:pt x="175" y="109"/>
                    </a:lnTo>
                    <a:lnTo>
                      <a:pt x="170" y="113"/>
                    </a:lnTo>
                    <a:lnTo>
                      <a:pt x="170" y="125"/>
                    </a:lnTo>
                    <a:lnTo>
                      <a:pt x="165" y="130"/>
                    </a:lnTo>
                    <a:lnTo>
                      <a:pt x="151" y="132"/>
                    </a:lnTo>
                    <a:lnTo>
                      <a:pt x="149" y="132"/>
                    </a:lnTo>
                    <a:lnTo>
                      <a:pt x="135" y="132"/>
                    </a:lnTo>
                    <a:lnTo>
                      <a:pt x="123" y="128"/>
                    </a:lnTo>
                    <a:lnTo>
                      <a:pt x="121" y="125"/>
                    </a:lnTo>
                    <a:lnTo>
                      <a:pt x="121" y="121"/>
                    </a:lnTo>
                    <a:lnTo>
                      <a:pt x="118" y="118"/>
                    </a:lnTo>
                    <a:lnTo>
                      <a:pt x="116" y="121"/>
                    </a:lnTo>
                    <a:lnTo>
                      <a:pt x="113" y="123"/>
                    </a:lnTo>
                    <a:lnTo>
                      <a:pt x="111" y="132"/>
                    </a:lnTo>
                    <a:lnTo>
                      <a:pt x="92" y="161"/>
                    </a:lnTo>
                    <a:lnTo>
                      <a:pt x="78" y="158"/>
                    </a:lnTo>
                    <a:lnTo>
                      <a:pt x="73" y="158"/>
                    </a:lnTo>
                    <a:lnTo>
                      <a:pt x="45" y="201"/>
                    </a:lnTo>
                    <a:lnTo>
                      <a:pt x="35" y="208"/>
                    </a:lnTo>
                    <a:lnTo>
                      <a:pt x="19" y="227"/>
                    </a:lnTo>
                    <a:lnTo>
                      <a:pt x="14" y="201"/>
                    </a:lnTo>
                    <a:lnTo>
                      <a:pt x="9" y="173"/>
                    </a:lnTo>
                    <a:lnTo>
                      <a:pt x="5" y="147"/>
                    </a:lnTo>
                    <a:lnTo>
                      <a:pt x="0" y="121"/>
                    </a:lnTo>
                    <a:lnTo>
                      <a:pt x="38" y="113"/>
                    </a:lnTo>
                    <a:lnTo>
                      <a:pt x="73" y="106"/>
                    </a:lnTo>
                    <a:lnTo>
                      <a:pt x="111" y="99"/>
                    </a:lnTo>
                    <a:lnTo>
                      <a:pt x="147" y="92"/>
                    </a:lnTo>
                    <a:lnTo>
                      <a:pt x="184" y="85"/>
                    </a:lnTo>
                    <a:lnTo>
                      <a:pt x="222" y="78"/>
                    </a:lnTo>
                    <a:lnTo>
                      <a:pt x="258" y="71"/>
                    </a:lnTo>
                    <a:lnTo>
                      <a:pt x="295" y="64"/>
                    </a:lnTo>
                    <a:lnTo>
                      <a:pt x="331" y="57"/>
                    </a:lnTo>
                    <a:lnTo>
                      <a:pt x="369" y="47"/>
                    </a:lnTo>
                    <a:lnTo>
                      <a:pt x="404" y="40"/>
                    </a:lnTo>
                    <a:lnTo>
                      <a:pt x="442" y="33"/>
                    </a:lnTo>
                    <a:lnTo>
                      <a:pt x="477" y="24"/>
                    </a:lnTo>
                    <a:lnTo>
                      <a:pt x="515" y="16"/>
                    </a:lnTo>
                    <a:lnTo>
                      <a:pt x="551" y="9"/>
                    </a:lnTo>
                    <a:lnTo>
                      <a:pt x="586" y="0"/>
                    </a:lnTo>
                    <a:close/>
                    <a:moveTo>
                      <a:pt x="756" y="324"/>
                    </a:moveTo>
                    <a:lnTo>
                      <a:pt x="752" y="326"/>
                    </a:lnTo>
                    <a:lnTo>
                      <a:pt x="754" y="319"/>
                    </a:lnTo>
                    <a:lnTo>
                      <a:pt x="761" y="281"/>
                    </a:lnTo>
                    <a:lnTo>
                      <a:pt x="763" y="267"/>
                    </a:lnTo>
                    <a:lnTo>
                      <a:pt x="763" y="293"/>
                    </a:lnTo>
                    <a:lnTo>
                      <a:pt x="759" y="317"/>
                    </a:lnTo>
                    <a:lnTo>
                      <a:pt x="756" y="32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06" name="Freeform 63">
                <a:extLst>
                  <a:ext uri="{FF2B5EF4-FFF2-40B4-BE49-F238E27FC236}">
                    <a16:creationId xmlns:a16="http://schemas.microsoft.com/office/drawing/2014/main" id="{CEE770E0-6D80-AFF8-A9D2-8C510B603D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84" y="-1050"/>
                <a:ext cx="615" cy="974"/>
              </a:xfrm>
              <a:custGeom>
                <a:avLst/>
                <a:gdLst>
                  <a:gd name="T0" fmla="*/ 187 w 615"/>
                  <a:gd name="T1" fmla="*/ 57 h 974"/>
                  <a:gd name="T2" fmla="*/ 246 w 615"/>
                  <a:gd name="T3" fmla="*/ 24 h 974"/>
                  <a:gd name="T4" fmla="*/ 277 w 615"/>
                  <a:gd name="T5" fmla="*/ 0 h 974"/>
                  <a:gd name="T6" fmla="*/ 362 w 615"/>
                  <a:gd name="T7" fmla="*/ 64 h 974"/>
                  <a:gd name="T8" fmla="*/ 402 w 615"/>
                  <a:gd name="T9" fmla="*/ 185 h 974"/>
                  <a:gd name="T10" fmla="*/ 433 w 615"/>
                  <a:gd name="T11" fmla="*/ 267 h 974"/>
                  <a:gd name="T12" fmla="*/ 438 w 615"/>
                  <a:gd name="T13" fmla="*/ 284 h 974"/>
                  <a:gd name="T14" fmla="*/ 440 w 615"/>
                  <a:gd name="T15" fmla="*/ 308 h 974"/>
                  <a:gd name="T16" fmla="*/ 459 w 615"/>
                  <a:gd name="T17" fmla="*/ 315 h 974"/>
                  <a:gd name="T18" fmla="*/ 492 w 615"/>
                  <a:gd name="T19" fmla="*/ 317 h 974"/>
                  <a:gd name="T20" fmla="*/ 504 w 615"/>
                  <a:gd name="T21" fmla="*/ 336 h 974"/>
                  <a:gd name="T22" fmla="*/ 511 w 615"/>
                  <a:gd name="T23" fmla="*/ 355 h 974"/>
                  <a:gd name="T24" fmla="*/ 518 w 615"/>
                  <a:gd name="T25" fmla="*/ 383 h 974"/>
                  <a:gd name="T26" fmla="*/ 546 w 615"/>
                  <a:gd name="T27" fmla="*/ 402 h 974"/>
                  <a:gd name="T28" fmla="*/ 561 w 615"/>
                  <a:gd name="T29" fmla="*/ 388 h 974"/>
                  <a:gd name="T30" fmla="*/ 582 w 615"/>
                  <a:gd name="T31" fmla="*/ 405 h 974"/>
                  <a:gd name="T32" fmla="*/ 610 w 615"/>
                  <a:gd name="T33" fmla="*/ 445 h 974"/>
                  <a:gd name="T34" fmla="*/ 570 w 615"/>
                  <a:gd name="T35" fmla="*/ 497 h 974"/>
                  <a:gd name="T36" fmla="*/ 537 w 615"/>
                  <a:gd name="T37" fmla="*/ 537 h 974"/>
                  <a:gd name="T38" fmla="*/ 509 w 615"/>
                  <a:gd name="T39" fmla="*/ 570 h 974"/>
                  <a:gd name="T40" fmla="*/ 492 w 615"/>
                  <a:gd name="T41" fmla="*/ 591 h 974"/>
                  <a:gd name="T42" fmla="*/ 461 w 615"/>
                  <a:gd name="T43" fmla="*/ 570 h 974"/>
                  <a:gd name="T44" fmla="*/ 442 w 615"/>
                  <a:gd name="T45" fmla="*/ 594 h 974"/>
                  <a:gd name="T46" fmla="*/ 423 w 615"/>
                  <a:gd name="T47" fmla="*/ 613 h 974"/>
                  <a:gd name="T48" fmla="*/ 416 w 615"/>
                  <a:gd name="T49" fmla="*/ 631 h 974"/>
                  <a:gd name="T50" fmla="*/ 393 w 615"/>
                  <a:gd name="T51" fmla="*/ 608 h 974"/>
                  <a:gd name="T52" fmla="*/ 381 w 615"/>
                  <a:gd name="T53" fmla="*/ 598 h 974"/>
                  <a:gd name="T54" fmla="*/ 357 w 615"/>
                  <a:gd name="T55" fmla="*/ 622 h 974"/>
                  <a:gd name="T56" fmla="*/ 355 w 615"/>
                  <a:gd name="T57" fmla="*/ 710 h 974"/>
                  <a:gd name="T58" fmla="*/ 315 w 615"/>
                  <a:gd name="T59" fmla="*/ 752 h 974"/>
                  <a:gd name="T60" fmla="*/ 298 w 615"/>
                  <a:gd name="T61" fmla="*/ 759 h 974"/>
                  <a:gd name="T62" fmla="*/ 279 w 615"/>
                  <a:gd name="T63" fmla="*/ 750 h 974"/>
                  <a:gd name="T64" fmla="*/ 267 w 615"/>
                  <a:gd name="T65" fmla="*/ 764 h 974"/>
                  <a:gd name="T66" fmla="*/ 267 w 615"/>
                  <a:gd name="T67" fmla="*/ 790 h 974"/>
                  <a:gd name="T68" fmla="*/ 246 w 615"/>
                  <a:gd name="T69" fmla="*/ 790 h 974"/>
                  <a:gd name="T70" fmla="*/ 213 w 615"/>
                  <a:gd name="T71" fmla="*/ 832 h 974"/>
                  <a:gd name="T72" fmla="*/ 194 w 615"/>
                  <a:gd name="T73" fmla="*/ 908 h 974"/>
                  <a:gd name="T74" fmla="*/ 161 w 615"/>
                  <a:gd name="T75" fmla="*/ 958 h 974"/>
                  <a:gd name="T76" fmla="*/ 121 w 615"/>
                  <a:gd name="T77" fmla="*/ 906 h 974"/>
                  <a:gd name="T78" fmla="*/ 95 w 615"/>
                  <a:gd name="T79" fmla="*/ 823 h 974"/>
                  <a:gd name="T80" fmla="*/ 67 w 615"/>
                  <a:gd name="T81" fmla="*/ 736 h 974"/>
                  <a:gd name="T82" fmla="*/ 36 w 615"/>
                  <a:gd name="T83" fmla="*/ 646 h 974"/>
                  <a:gd name="T84" fmla="*/ 5 w 615"/>
                  <a:gd name="T85" fmla="*/ 556 h 974"/>
                  <a:gd name="T86" fmla="*/ 15 w 615"/>
                  <a:gd name="T87" fmla="*/ 523 h 974"/>
                  <a:gd name="T88" fmla="*/ 33 w 615"/>
                  <a:gd name="T89" fmla="*/ 523 h 974"/>
                  <a:gd name="T90" fmla="*/ 45 w 615"/>
                  <a:gd name="T91" fmla="*/ 499 h 974"/>
                  <a:gd name="T92" fmla="*/ 41 w 615"/>
                  <a:gd name="T93" fmla="*/ 468 h 974"/>
                  <a:gd name="T94" fmla="*/ 67 w 615"/>
                  <a:gd name="T95" fmla="*/ 407 h 974"/>
                  <a:gd name="T96" fmla="*/ 71 w 615"/>
                  <a:gd name="T97" fmla="*/ 364 h 974"/>
                  <a:gd name="T98" fmla="*/ 67 w 615"/>
                  <a:gd name="T99" fmla="*/ 286 h 974"/>
                  <a:gd name="T100" fmla="*/ 81 w 615"/>
                  <a:gd name="T101" fmla="*/ 170 h 974"/>
                  <a:gd name="T102" fmla="*/ 121 w 615"/>
                  <a:gd name="T103" fmla="*/ 47 h 974"/>
                  <a:gd name="T104" fmla="*/ 159 w 615"/>
                  <a:gd name="T105" fmla="*/ 19 h 974"/>
                  <a:gd name="T106" fmla="*/ 468 w 615"/>
                  <a:gd name="T107" fmla="*/ 613 h 974"/>
                  <a:gd name="T108" fmla="*/ 449 w 615"/>
                  <a:gd name="T109" fmla="*/ 627 h 974"/>
                  <a:gd name="T110" fmla="*/ 452 w 615"/>
                  <a:gd name="T111" fmla="*/ 587 h 974"/>
                  <a:gd name="T112" fmla="*/ 421 w 615"/>
                  <a:gd name="T113" fmla="*/ 655 h 974"/>
                  <a:gd name="T114" fmla="*/ 407 w 615"/>
                  <a:gd name="T115" fmla="*/ 646 h 9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15" h="974">
                    <a:moveTo>
                      <a:pt x="166" y="45"/>
                    </a:moveTo>
                    <a:lnTo>
                      <a:pt x="168" y="50"/>
                    </a:lnTo>
                    <a:lnTo>
                      <a:pt x="178" y="55"/>
                    </a:lnTo>
                    <a:lnTo>
                      <a:pt x="187" y="57"/>
                    </a:lnTo>
                    <a:lnTo>
                      <a:pt x="194" y="57"/>
                    </a:lnTo>
                    <a:lnTo>
                      <a:pt x="204" y="55"/>
                    </a:lnTo>
                    <a:lnTo>
                      <a:pt x="223" y="38"/>
                    </a:lnTo>
                    <a:lnTo>
                      <a:pt x="246" y="24"/>
                    </a:lnTo>
                    <a:lnTo>
                      <a:pt x="258" y="12"/>
                    </a:lnTo>
                    <a:lnTo>
                      <a:pt x="260" y="5"/>
                    </a:lnTo>
                    <a:lnTo>
                      <a:pt x="265" y="3"/>
                    </a:lnTo>
                    <a:lnTo>
                      <a:pt x="277" y="0"/>
                    </a:lnTo>
                    <a:lnTo>
                      <a:pt x="301" y="10"/>
                    </a:lnTo>
                    <a:lnTo>
                      <a:pt x="329" y="24"/>
                    </a:lnTo>
                    <a:lnTo>
                      <a:pt x="353" y="36"/>
                    </a:lnTo>
                    <a:lnTo>
                      <a:pt x="362" y="64"/>
                    </a:lnTo>
                    <a:lnTo>
                      <a:pt x="374" y="95"/>
                    </a:lnTo>
                    <a:lnTo>
                      <a:pt x="383" y="128"/>
                    </a:lnTo>
                    <a:lnTo>
                      <a:pt x="393" y="152"/>
                    </a:lnTo>
                    <a:lnTo>
                      <a:pt x="402" y="185"/>
                    </a:lnTo>
                    <a:lnTo>
                      <a:pt x="412" y="211"/>
                    </a:lnTo>
                    <a:lnTo>
                      <a:pt x="423" y="244"/>
                    </a:lnTo>
                    <a:lnTo>
                      <a:pt x="428" y="263"/>
                    </a:lnTo>
                    <a:lnTo>
                      <a:pt x="433" y="267"/>
                    </a:lnTo>
                    <a:lnTo>
                      <a:pt x="433" y="274"/>
                    </a:lnTo>
                    <a:lnTo>
                      <a:pt x="435" y="279"/>
                    </a:lnTo>
                    <a:lnTo>
                      <a:pt x="435" y="282"/>
                    </a:lnTo>
                    <a:lnTo>
                      <a:pt x="438" y="284"/>
                    </a:lnTo>
                    <a:lnTo>
                      <a:pt x="440" y="289"/>
                    </a:lnTo>
                    <a:lnTo>
                      <a:pt x="438" y="293"/>
                    </a:lnTo>
                    <a:lnTo>
                      <a:pt x="438" y="300"/>
                    </a:lnTo>
                    <a:lnTo>
                      <a:pt x="440" y="308"/>
                    </a:lnTo>
                    <a:lnTo>
                      <a:pt x="445" y="312"/>
                    </a:lnTo>
                    <a:lnTo>
                      <a:pt x="449" y="315"/>
                    </a:lnTo>
                    <a:lnTo>
                      <a:pt x="454" y="312"/>
                    </a:lnTo>
                    <a:lnTo>
                      <a:pt x="459" y="315"/>
                    </a:lnTo>
                    <a:lnTo>
                      <a:pt x="466" y="319"/>
                    </a:lnTo>
                    <a:lnTo>
                      <a:pt x="478" y="319"/>
                    </a:lnTo>
                    <a:lnTo>
                      <a:pt x="487" y="319"/>
                    </a:lnTo>
                    <a:lnTo>
                      <a:pt x="492" y="317"/>
                    </a:lnTo>
                    <a:lnTo>
                      <a:pt x="501" y="317"/>
                    </a:lnTo>
                    <a:lnTo>
                      <a:pt x="506" y="324"/>
                    </a:lnTo>
                    <a:lnTo>
                      <a:pt x="506" y="331"/>
                    </a:lnTo>
                    <a:lnTo>
                      <a:pt x="504" y="336"/>
                    </a:lnTo>
                    <a:lnTo>
                      <a:pt x="499" y="341"/>
                    </a:lnTo>
                    <a:lnTo>
                      <a:pt x="501" y="345"/>
                    </a:lnTo>
                    <a:lnTo>
                      <a:pt x="506" y="350"/>
                    </a:lnTo>
                    <a:lnTo>
                      <a:pt x="511" y="355"/>
                    </a:lnTo>
                    <a:lnTo>
                      <a:pt x="516" y="362"/>
                    </a:lnTo>
                    <a:lnTo>
                      <a:pt x="518" y="369"/>
                    </a:lnTo>
                    <a:lnTo>
                      <a:pt x="516" y="376"/>
                    </a:lnTo>
                    <a:lnTo>
                      <a:pt x="518" y="383"/>
                    </a:lnTo>
                    <a:lnTo>
                      <a:pt x="523" y="388"/>
                    </a:lnTo>
                    <a:lnTo>
                      <a:pt x="532" y="395"/>
                    </a:lnTo>
                    <a:lnTo>
                      <a:pt x="539" y="400"/>
                    </a:lnTo>
                    <a:lnTo>
                      <a:pt x="546" y="402"/>
                    </a:lnTo>
                    <a:lnTo>
                      <a:pt x="551" y="397"/>
                    </a:lnTo>
                    <a:lnTo>
                      <a:pt x="551" y="393"/>
                    </a:lnTo>
                    <a:lnTo>
                      <a:pt x="553" y="388"/>
                    </a:lnTo>
                    <a:lnTo>
                      <a:pt x="561" y="388"/>
                    </a:lnTo>
                    <a:lnTo>
                      <a:pt x="565" y="390"/>
                    </a:lnTo>
                    <a:lnTo>
                      <a:pt x="572" y="390"/>
                    </a:lnTo>
                    <a:lnTo>
                      <a:pt x="575" y="395"/>
                    </a:lnTo>
                    <a:lnTo>
                      <a:pt x="582" y="405"/>
                    </a:lnTo>
                    <a:lnTo>
                      <a:pt x="591" y="423"/>
                    </a:lnTo>
                    <a:lnTo>
                      <a:pt x="589" y="435"/>
                    </a:lnTo>
                    <a:lnTo>
                      <a:pt x="596" y="447"/>
                    </a:lnTo>
                    <a:lnTo>
                      <a:pt x="610" y="445"/>
                    </a:lnTo>
                    <a:lnTo>
                      <a:pt x="613" y="447"/>
                    </a:lnTo>
                    <a:lnTo>
                      <a:pt x="615" y="452"/>
                    </a:lnTo>
                    <a:lnTo>
                      <a:pt x="596" y="492"/>
                    </a:lnTo>
                    <a:lnTo>
                      <a:pt x="570" y="497"/>
                    </a:lnTo>
                    <a:lnTo>
                      <a:pt x="561" y="509"/>
                    </a:lnTo>
                    <a:lnTo>
                      <a:pt x="546" y="516"/>
                    </a:lnTo>
                    <a:lnTo>
                      <a:pt x="544" y="530"/>
                    </a:lnTo>
                    <a:lnTo>
                      <a:pt x="537" y="537"/>
                    </a:lnTo>
                    <a:lnTo>
                      <a:pt x="527" y="539"/>
                    </a:lnTo>
                    <a:lnTo>
                      <a:pt x="516" y="537"/>
                    </a:lnTo>
                    <a:lnTo>
                      <a:pt x="511" y="542"/>
                    </a:lnTo>
                    <a:lnTo>
                      <a:pt x="509" y="570"/>
                    </a:lnTo>
                    <a:lnTo>
                      <a:pt x="499" y="570"/>
                    </a:lnTo>
                    <a:lnTo>
                      <a:pt x="499" y="579"/>
                    </a:lnTo>
                    <a:lnTo>
                      <a:pt x="497" y="584"/>
                    </a:lnTo>
                    <a:lnTo>
                      <a:pt x="492" y="591"/>
                    </a:lnTo>
                    <a:lnTo>
                      <a:pt x="483" y="582"/>
                    </a:lnTo>
                    <a:lnTo>
                      <a:pt x="475" y="572"/>
                    </a:lnTo>
                    <a:lnTo>
                      <a:pt x="471" y="572"/>
                    </a:lnTo>
                    <a:lnTo>
                      <a:pt x="461" y="570"/>
                    </a:lnTo>
                    <a:lnTo>
                      <a:pt x="457" y="572"/>
                    </a:lnTo>
                    <a:lnTo>
                      <a:pt x="452" y="577"/>
                    </a:lnTo>
                    <a:lnTo>
                      <a:pt x="447" y="584"/>
                    </a:lnTo>
                    <a:lnTo>
                      <a:pt x="442" y="594"/>
                    </a:lnTo>
                    <a:lnTo>
                      <a:pt x="433" y="589"/>
                    </a:lnTo>
                    <a:lnTo>
                      <a:pt x="426" y="584"/>
                    </a:lnTo>
                    <a:lnTo>
                      <a:pt x="426" y="598"/>
                    </a:lnTo>
                    <a:lnTo>
                      <a:pt x="423" y="613"/>
                    </a:lnTo>
                    <a:lnTo>
                      <a:pt x="431" y="627"/>
                    </a:lnTo>
                    <a:lnTo>
                      <a:pt x="431" y="639"/>
                    </a:lnTo>
                    <a:lnTo>
                      <a:pt x="423" y="636"/>
                    </a:lnTo>
                    <a:lnTo>
                      <a:pt x="416" y="631"/>
                    </a:lnTo>
                    <a:lnTo>
                      <a:pt x="397" y="629"/>
                    </a:lnTo>
                    <a:lnTo>
                      <a:pt x="386" y="634"/>
                    </a:lnTo>
                    <a:lnTo>
                      <a:pt x="386" y="624"/>
                    </a:lnTo>
                    <a:lnTo>
                      <a:pt x="393" y="608"/>
                    </a:lnTo>
                    <a:lnTo>
                      <a:pt x="388" y="608"/>
                    </a:lnTo>
                    <a:lnTo>
                      <a:pt x="383" y="610"/>
                    </a:lnTo>
                    <a:lnTo>
                      <a:pt x="381" y="610"/>
                    </a:lnTo>
                    <a:lnTo>
                      <a:pt x="381" y="598"/>
                    </a:lnTo>
                    <a:lnTo>
                      <a:pt x="376" y="584"/>
                    </a:lnTo>
                    <a:lnTo>
                      <a:pt x="374" y="591"/>
                    </a:lnTo>
                    <a:lnTo>
                      <a:pt x="371" y="605"/>
                    </a:lnTo>
                    <a:lnTo>
                      <a:pt x="357" y="622"/>
                    </a:lnTo>
                    <a:lnTo>
                      <a:pt x="362" y="639"/>
                    </a:lnTo>
                    <a:lnTo>
                      <a:pt x="357" y="679"/>
                    </a:lnTo>
                    <a:lnTo>
                      <a:pt x="362" y="695"/>
                    </a:lnTo>
                    <a:lnTo>
                      <a:pt x="355" y="710"/>
                    </a:lnTo>
                    <a:lnTo>
                      <a:pt x="345" y="724"/>
                    </a:lnTo>
                    <a:lnTo>
                      <a:pt x="329" y="726"/>
                    </a:lnTo>
                    <a:lnTo>
                      <a:pt x="317" y="738"/>
                    </a:lnTo>
                    <a:lnTo>
                      <a:pt x="315" y="752"/>
                    </a:lnTo>
                    <a:lnTo>
                      <a:pt x="308" y="754"/>
                    </a:lnTo>
                    <a:lnTo>
                      <a:pt x="301" y="743"/>
                    </a:lnTo>
                    <a:lnTo>
                      <a:pt x="298" y="738"/>
                    </a:lnTo>
                    <a:lnTo>
                      <a:pt x="298" y="759"/>
                    </a:lnTo>
                    <a:lnTo>
                      <a:pt x="293" y="762"/>
                    </a:lnTo>
                    <a:lnTo>
                      <a:pt x="289" y="750"/>
                    </a:lnTo>
                    <a:lnTo>
                      <a:pt x="284" y="740"/>
                    </a:lnTo>
                    <a:lnTo>
                      <a:pt x="279" y="750"/>
                    </a:lnTo>
                    <a:lnTo>
                      <a:pt x="282" y="773"/>
                    </a:lnTo>
                    <a:lnTo>
                      <a:pt x="275" y="773"/>
                    </a:lnTo>
                    <a:lnTo>
                      <a:pt x="272" y="766"/>
                    </a:lnTo>
                    <a:lnTo>
                      <a:pt x="267" y="764"/>
                    </a:lnTo>
                    <a:lnTo>
                      <a:pt x="270" y="773"/>
                    </a:lnTo>
                    <a:lnTo>
                      <a:pt x="275" y="785"/>
                    </a:lnTo>
                    <a:lnTo>
                      <a:pt x="275" y="792"/>
                    </a:lnTo>
                    <a:lnTo>
                      <a:pt x="267" y="790"/>
                    </a:lnTo>
                    <a:lnTo>
                      <a:pt x="263" y="785"/>
                    </a:lnTo>
                    <a:lnTo>
                      <a:pt x="256" y="792"/>
                    </a:lnTo>
                    <a:lnTo>
                      <a:pt x="249" y="797"/>
                    </a:lnTo>
                    <a:lnTo>
                      <a:pt x="246" y="790"/>
                    </a:lnTo>
                    <a:lnTo>
                      <a:pt x="246" y="783"/>
                    </a:lnTo>
                    <a:lnTo>
                      <a:pt x="232" y="790"/>
                    </a:lnTo>
                    <a:lnTo>
                      <a:pt x="220" y="809"/>
                    </a:lnTo>
                    <a:lnTo>
                      <a:pt x="213" y="832"/>
                    </a:lnTo>
                    <a:lnTo>
                      <a:pt x="218" y="835"/>
                    </a:lnTo>
                    <a:lnTo>
                      <a:pt x="225" y="840"/>
                    </a:lnTo>
                    <a:lnTo>
                      <a:pt x="211" y="875"/>
                    </a:lnTo>
                    <a:lnTo>
                      <a:pt x="194" y="908"/>
                    </a:lnTo>
                    <a:lnTo>
                      <a:pt x="189" y="958"/>
                    </a:lnTo>
                    <a:lnTo>
                      <a:pt x="182" y="965"/>
                    </a:lnTo>
                    <a:lnTo>
                      <a:pt x="178" y="974"/>
                    </a:lnTo>
                    <a:lnTo>
                      <a:pt x="161" y="958"/>
                    </a:lnTo>
                    <a:lnTo>
                      <a:pt x="154" y="944"/>
                    </a:lnTo>
                    <a:lnTo>
                      <a:pt x="135" y="929"/>
                    </a:lnTo>
                    <a:lnTo>
                      <a:pt x="128" y="920"/>
                    </a:lnTo>
                    <a:lnTo>
                      <a:pt x="121" y="906"/>
                    </a:lnTo>
                    <a:lnTo>
                      <a:pt x="119" y="889"/>
                    </a:lnTo>
                    <a:lnTo>
                      <a:pt x="111" y="868"/>
                    </a:lnTo>
                    <a:lnTo>
                      <a:pt x="104" y="847"/>
                    </a:lnTo>
                    <a:lnTo>
                      <a:pt x="95" y="823"/>
                    </a:lnTo>
                    <a:lnTo>
                      <a:pt x="88" y="802"/>
                    </a:lnTo>
                    <a:lnTo>
                      <a:pt x="81" y="778"/>
                    </a:lnTo>
                    <a:lnTo>
                      <a:pt x="74" y="757"/>
                    </a:lnTo>
                    <a:lnTo>
                      <a:pt x="67" y="736"/>
                    </a:lnTo>
                    <a:lnTo>
                      <a:pt x="59" y="712"/>
                    </a:lnTo>
                    <a:lnTo>
                      <a:pt x="50" y="691"/>
                    </a:lnTo>
                    <a:lnTo>
                      <a:pt x="43" y="667"/>
                    </a:lnTo>
                    <a:lnTo>
                      <a:pt x="36" y="646"/>
                    </a:lnTo>
                    <a:lnTo>
                      <a:pt x="29" y="624"/>
                    </a:lnTo>
                    <a:lnTo>
                      <a:pt x="22" y="601"/>
                    </a:lnTo>
                    <a:lnTo>
                      <a:pt x="15" y="579"/>
                    </a:lnTo>
                    <a:lnTo>
                      <a:pt x="5" y="556"/>
                    </a:lnTo>
                    <a:lnTo>
                      <a:pt x="0" y="537"/>
                    </a:lnTo>
                    <a:lnTo>
                      <a:pt x="3" y="532"/>
                    </a:lnTo>
                    <a:lnTo>
                      <a:pt x="10" y="525"/>
                    </a:lnTo>
                    <a:lnTo>
                      <a:pt x="15" y="523"/>
                    </a:lnTo>
                    <a:lnTo>
                      <a:pt x="22" y="532"/>
                    </a:lnTo>
                    <a:lnTo>
                      <a:pt x="29" y="537"/>
                    </a:lnTo>
                    <a:lnTo>
                      <a:pt x="33" y="532"/>
                    </a:lnTo>
                    <a:lnTo>
                      <a:pt x="33" y="523"/>
                    </a:lnTo>
                    <a:lnTo>
                      <a:pt x="31" y="513"/>
                    </a:lnTo>
                    <a:lnTo>
                      <a:pt x="33" y="504"/>
                    </a:lnTo>
                    <a:lnTo>
                      <a:pt x="41" y="499"/>
                    </a:lnTo>
                    <a:lnTo>
                      <a:pt x="45" y="499"/>
                    </a:lnTo>
                    <a:lnTo>
                      <a:pt x="48" y="494"/>
                    </a:lnTo>
                    <a:lnTo>
                      <a:pt x="45" y="487"/>
                    </a:lnTo>
                    <a:lnTo>
                      <a:pt x="41" y="480"/>
                    </a:lnTo>
                    <a:lnTo>
                      <a:pt x="41" y="468"/>
                    </a:lnTo>
                    <a:lnTo>
                      <a:pt x="50" y="445"/>
                    </a:lnTo>
                    <a:lnTo>
                      <a:pt x="64" y="428"/>
                    </a:lnTo>
                    <a:lnTo>
                      <a:pt x="69" y="419"/>
                    </a:lnTo>
                    <a:lnTo>
                      <a:pt x="67" y="407"/>
                    </a:lnTo>
                    <a:lnTo>
                      <a:pt x="74" y="390"/>
                    </a:lnTo>
                    <a:lnTo>
                      <a:pt x="76" y="381"/>
                    </a:lnTo>
                    <a:lnTo>
                      <a:pt x="76" y="374"/>
                    </a:lnTo>
                    <a:lnTo>
                      <a:pt x="71" y="364"/>
                    </a:lnTo>
                    <a:lnTo>
                      <a:pt x="67" y="350"/>
                    </a:lnTo>
                    <a:lnTo>
                      <a:pt x="64" y="329"/>
                    </a:lnTo>
                    <a:lnTo>
                      <a:pt x="62" y="308"/>
                    </a:lnTo>
                    <a:lnTo>
                      <a:pt x="67" y="286"/>
                    </a:lnTo>
                    <a:lnTo>
                      <a:pt x="76" y="263"/>
                    </a:lnTo>
                    <a:lnTo>
                      <a:pt x="74" y="234"/>
                    </a:lnTo>
                    <a:lnTo>
                      <a:pt x="69" y="204"/>
                    </a:lnTo>
                    <a:lnTo>
                      <a:pt x="81" y="170"/>
                    </a:lnTo>
                    <a:lnTo>
                      <a:pt x="93" y="135"/>
                    </a:lnTo>
                    <a:lnTo>
                      <a:pt x="100" y="114"/>
                    </a:lnTo>
                    <a:lnTo>
                      <a:pt x="111" y="73"/>
                    </a:lnTo>
                    <a:lnTo>
                      <a:pt x="121" y="47"/>
                    </a:lnTo>
                    <a:lnTo>
                      <a:pt x="126" y="33"/>
                    </a:lnTo>
                    <a:lnTo>
                      <a:pt x="130" y="19"/>
                    </a:lnTo>
                    <a:lnTo>
                      <a:pt x="145" y="19"/>
                    </a:lnTo>
                    <a:lnTo>
                      <a:pt x="159" y="19"/>
                    </a:lnTo>
                    <a:lnTo>
                      <a:pt x="163" y="38"/>
                    </a:lnTo>
                    <a:lnTo>
                      <a:pt x="166" y="45"/>
                    </a:lnTo>
                    <a:close/>
                    <a:moveTo>
                      <a:pt x="475" y="608"/>
                    </a:moveTo>
                    <a:lnTo>
                      <a:pt x="468" y="613"/>
                    </a:lnTo>
                    <a:lnTo>
                      <a:pt x="459" y="615"/>
                    </a:lnTo>
                    <a:lnTo>
                      <a:pt x="461" y="624"/>
                    </a:lnTo>
                    <a:lnTo>
                      <a:pt x="461" y="629"/>
                    </a:lnTo>
                    <a:lnTo>
                      <a:pt x="449" y="627"/>
                    </a:lnTo>
                    <a:lnTo>
                      <a:pt x="445" y="624"/>
                    </a:lnTo>
                    <a:lnTo>
                      <a:pt x="442" y="610"/>
                    </a:lnTo>
                    <a:lnTo>
                      <a:pt x="447" y="594"/>
                    </a:lnTo>
                    <a:lnTo>
                      <a:pt x="452" y="587"/>
                    </a:lnTo>
                    <a:lnTo>
                      <a:pt x="461" y="589"/>
                    </a:lnTo>
                    <a:lnTo>
                      <a:pt x="473" y="601"/>
                    </a:lnTo>
                    <a:lnTo>
                      <a:pt x="475" y="608"/>
                    </a:lnTo>
                    <a:close/>
                    <a:moveTo>
                      <a:pt x="421" y="655"/>
                    </a:moveTo>
                    <a:lnTo>
                      <a:pt x="416" y="660"/>
                    </a:lnTo>
                    <a:lnTo>
                      <a:pt x="409" y="660"/>
                    </a:lnTo>
                    <a:lnTo>
                      <a:pt x="407" y="650"/>
                    </a:lnTo>
                    <a:lnTo>
                      <a:pt x="407" y="646"/>
                    </a:lnTo>
                    <a:lnTo>
                      <a:pt x="409" y="643"/>
                    </a:lnTo>
                    <a:lnTo>
                      <a:pt x="414" y="646"/>
                    </a:lnTo>
                    <a:lnTo>
                      <a:pt x="421" y="65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07" name="Freeform 64">
                <a:extLst>
                  <a:ext uri="{FF2B5EF4-FFF2-40B4-BE49-F238E27FC236}">
                    <a16:creationId xmlns:a16="http://schemas.microsoft.com/office/drawing/2014/main" id="{5054495F-7392-27D5-C5C7-FEDF06BFE1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7" y="-662"/>
                <a:ext cx="1274" cy="1329"/>
              </a:xfrm>
              <a:custGeom>
                <a:avLst/>
                <a:gdLst>
                  <a:gd name="T0" fmla="*/ 160 w 1274"/>
                  <a:gd name="T1" fmla="*/ 66 h 1329"/>
                  <a:gd name="T2" fmla="*/ 238 w 1274"/>
                  <a:gd name="T3" fmla="*/ 19 h 1329"/>
                  <a:gd name="T4" fmla="*/ 278 w 1274"/>
                  <a:gd name="T5" fmla="*/ 246 h 1329"/>
                  <a:gd name="T6" fmla="*/ 278 w 1274"/>
                  <a:gd name="T7" fmla="*/ 222 h 1329"/>
                  <a:gd name="T8" fmla="*/ 364 w 1274"/>
                  <a:gd name="T9" fmla="*/ 142 h 1329"/>
                  <a:gd name="T10" fmla="*/ 888 w 1274"/>
                  <a:gd name="T11" fmla="*/ 293 h 1329"/>
                  <a:gd name="T12" fmla="*/ 928 w 1274"/>
                  <a:gd name="T13" fmla="*/ 355 h 1329"/>
                  <a:gd name="T14" fmla="*/ 952 w 1274"/>
                  <a:gd name="T15" fmla="*/ 397 h 1329"/>
                  <a:gd name="T16" fmla="*/ 855 w 1274"/>
                  <a:gd name="T17" fmla="*/ 390 h 1329"/>
                  <a:gd name="T18" fmla="*/ 808 w 1274"/>
                  <a:gd name="T19" fmla="*/ 411 h 1329"/>
                  <a:gd name="T20" fmla="*/ 671 w 1274"/>
                  <a:gd name="T21" fmla="*/ 437 h 1329"/>
                  <a:gd name="T22" fmla="*/ 583 w 1274"/>
                  <a:gd name="T23" fmla="*/ 489 h 1329"/>
                  <a:gd name="T24" fmla="*/ 579 w 1274"/>
                  <a:gd name="T25" fmla="*/ 475 h 1329"/>
                  <a:gd name="T26" fmla="*/ 524 w 1274"/>
                  <a:gd name="T27" fmla="*/ 504 h 1329"/>
                  <a:gd name="T28" fmla="*/ 494 w 1274"/>
                  <a:gd name="T29" fmla="*/ 511 h 1329"/>
                  <a:gd name="T30" fmla="*/ 423 w 1274"/>
                  <a:gd name="T31" fmla="*/ 627 h 1329"/>
                  <a:gd name="T32" fmla="*/ 392 w 1274"/>
                  <a:gd name="T33" fmla="*/ 582 h 1329"/>
                  <a:gd name="T34" fmla="*/ 347 w 1274"/>
                  <a:gd name="T35" fmla="*/ 494 h 1329"/>
                  <a:gd name="T36" fmla="*/ 217 w 1274"/>
                  <a:gd name="T37" fmla="*/ 447 h 1329"/>
                  <a:gd name="T38" fmla="*/ 44 w 1274"/>
                  <a:gd name="T39" fmla="*/ 407 h 1329"/>
                  <a:gd name="T40" fmla="*/ 0 w 1274"/>
                  <a:gd name="T41" fmla="*/ 355 h 1329"/>
                  <a:gd name="T42" fmla="*/ 186 w 1274"/>
                  <a:gd name="T43" fmla="*/ 255 h 1329"/>
                  <a:gd name="T44" fmla="*/ 252 w 1274"/>
                  <a:gd name="T45" fmla="*/ 220 h 1329"/>
                  <a:gd name="T46" fmla="*/ 281 w 1274"/>
                  <a:gd name="T47" fmla="*/ 291 h 1329"/>
                  <a:gd name="T48" fmla="*/ 394 w 1274"/>
                  <a:gd name="T49" fmla="*/ 272 h 1329"/>
                  <a:gd name="T50" fmla="*/ 494 w 1274"/>
                  <a:gd name="T51" fmla="*/ 326 h 1329"/>
                  <a:gd name="T52" fmla="*/ 583 w 1274"/>
                  <a:gd name="T53" fmla="*/ 307 h 1329"/>
                  <a:gd name="T54" fmla="*/ 780 w 1274"/>
                  <a:gd name="T55" fmla="*/ 243 h 1329"/>
                  <a:gd name="T56" fmla="*/ 813 w 1274"/>
                  <a:gd name="T57" fmla="*/ 307 h 1329"/>
                  <a:gd name="T58" fmla="*/ 919 w 1274"/>
                  <a:gd name="T59" fmla="*/ 317 h 1329"/>
                  <a:gd name="T60" fmla="*/ 914 w 1274"/>
                  <a:gd name="T61" fmla="*/ 286 h 1329"/>
                  <a:gd name="T62" fmla="*/ 921 w 1274"/>
                  <a:gd name="T63" fmla="*/ 329 h 1329"/>
                  <a:gd name="T64" fmla="*/ 969 w 1274"/>
                  <a:gd name="T65" fmla="*/ 390 h 1329"/>
                  <a:gd name="T66" fmla="*/ 992 w 1274"/>
                  <a:gd name="T67" fmla="*/ 362 h 1329"/>
                  <a:gd name="T68" fmla="*/ 898 w 1274"/>
                  <a:gd name="T69" fmla="*/ 449 h 1329"/>
                  <a:gd name="T70" fmla="*/ 910 w 1274"/>
                  <a:gd name="T71" fmla="*/ 466 h 1329"/>
                  <a:gd name="T72" fmla="*/ 1044 w 1274"/>
                  <a:gd name="T73" fmla="*/ 518 h 1329"/>
                  <a:gd name="T74" fmla="*/ 1082 w 1274"/>
                  <a:gd name="T75" fmla="*/ 575 h 1329"/>
                  <a:gd name="T76" fmla="*/ 1089 w 1274"/>
                  <a:gd name="T77" fmla="*/ 660 h 1329"/>
                  <a:gd name="T78" fmla="*/ 1066 w 1274"/>
                  <a:gd name="T79" fmla="*/ 776 h 1329"/>
                  <a:gd name="T80" fmla="*/ 1018 w 1274"/>
                  <a:gd name="T81" fmla="*/ 854 h 1329"/>
                  <a:gd name="T82" fmla="*/ 1094 w 1274"/>
                  <a:gd name="T83" fmla="*/ 849 h 1329"/>
                  <a:gd name="T84" fmla="*/ 1155 w 1274"/>
                  <a:gd name="T85" fmla="*/ 776 h 1329"/>
                  <a:gd name="T86" fmla="*/ 1274 w 1274"/>
                  <a:gd name="T87" fmla="*/ 981 h 1329"/>
                  <a:gd name="T88" fmla="*/ 1186 w 1274"/>
                  <a:gd name="T89" fmla="*/ 1161 h 1329"/>
                  <a:gd name="T90" fmla="*/ 1170 w 1274"/>
                  <a:gd name="T91" fmla="*/ 1229 h 1329"/>
                  <a:gd name="T92" fmla="*/ 895 w 1274"/>
                  <a:gd name="T93" fmla="*/ 1298 h 1329"/>
                  <a:gd name="T94" fmla="*/ 659 w 1274"/>
                  <a:gd name="T95" fmla="*/ 1277 h 1329"/>
                  <a:gd name="T96" fmla="*/ 676 w 1274"/>
                  <a:gd name="T97" fmla="*/ 1029 h 1329"/>
                  <a:gd name="T98" fmla="*/ 621 w 1274"/>
                  <a:gd name="T99" fmla="*/ 842 h 1329"/>
                  <a:gd name="T100" fmla="*/ 650 w 1274"/>
                  <a:gd name="T101" fmla="*/ 697 h 1329"/>
                  <a:gd name="T102" fmla="*/ 711 w 1274"/>
                  <a:gd name="T103" fmla="*/ 629 h 1329"/>
                  <a:gd name="T104" fmla="*/ 739 w 1274"/>
                  <a:gd name="T105" fmla="*/ 636 h 1329"/>
                  <a:gd name="T106" fmla="*/ 751 w 1274"/>
                  <a:gd name="T107" fmla="*/ 629 h 1329"/>
                  <a:gd name="T108" fmla="*/ 770 w 1274"/>
                  <a:gd name="T109" fmla="*/ 608 h 1329"/>
                  <a:gd name="T110" fmla="*/ 824 w 1274"/>
                  <a:gd name="T111" fmla="*/ 527 h 1329"/>
                  <a:gd name="T112" fmla="*/ 815 w 1274"/>
                  <a:gd name="T113" fmla="*/ 454 h 1329"/>
                  <a:gd name="T114" fmla="*/ 728 w 1274"/>
                  <a:gd name="T115" fmla="*/ 466 h 1329"/>
                  <a:gd name="T116" fmla="*/ 666 w 1274"/>
                  <a:gd name="T117" fmla="*/ 605 h 1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74" h="1329">
                    <a:moveTo>
                      <a:pt x="189" y="59"/>
                    </a:moveTo>
                    <a:lnTo>
                      <a:pt x="189" y="61"/>
                    </a:lnTo>
                    <a:lnTo>
                      <a:pt x="193" y="61"/>
                    </a:lnTo>
                    <a:lnTo>
                      <a:pt x="193" y="64"/>
                    </a:lnTo>
                    <a:lnTo>
                      <a:pt x="189" y="69"/>
                    </a:lnTo>
                    <a:lnTo>
                      <a:pt x="172" y="76"/>
                    </a:lnTo>
                    <a:lnTo>
                      <a:pt x="163" y="78"/>
                    </a:lnTo>
                    <a:lnTo>
                      <a:pt x="156" y="76"/>
                    </a:lnTo>
                    <a:lnTo>
                      <a:pt x="156" y="71"/>
                    </a:lnTo>
                    <a:lnTo>
                      <a:pt x="160" y="66"/>
                    </a:lnTo>
                    <a:lnTo>
                      <a:pt x="158" y="61"/>
                    </a:lnTo>
                    <a:lnTo>
                      <a:pt x="156" y="61"/>
                    </a:lnTo>
                    <a:lnTo>
                      <a:pt x="156" y="59"/>
                    </a:lnTo>
                    <a:lnTo>
                      <a:pt x="163" y="54"/>
                    </a:lnTo>
                    <a:lnTo>
                      <a:pt x="215" y="19"/>
                    </a:lnTo>
                    <a:lnTo>
                      <a:pt x="238" y="5"/>
                    </a:lnTo>
                    <a:lnTo>
                      <a:pt x="250" y="0"/>
                    </a:lnTo>
                    <a:lnTo>
                      <a:pt x="252" y="2"/>
                    </a:lnTo>
                    <a:lnTo>
                      <a:pt x="238" y="14"/>
                    </a:lnTo>
                    <a:lnTo>
                      <a:pt x="238" y="19"/>
                    </a:lnTo>
                    <a:lnTo>
                      <a:pt x="238" y="24"/>
                    </a:lnTo>
                    <a:lnTo>
                      <a:pt x="234" y="28"/>
                    </a:lnTo>
                    <a:lnTo>
                      <a:pt x="196" y="54"/>
                    </a:lnTo>
                    <a:lnTo>
                      <a:pt x="189" y="59"/>
                    </a:lnTo>
                    <a:close/>
                    <a:moveTo>
                      <a:pt x="307" y="201"/>
                    </a:moveTo>
                    <a:lnTo>
                      <a:pt x="304" y="208"/>
                    </a:lnTo>
                    <a:lnTo>
                      <a:pt x="307" y="213"/>
                    </a:lnTo>
                    <a:lnTo>
                      <a:pt x="290" y="232"/>
                    </a:lnTo>
                    <a:lnTo>
                      <a:pt x="283" y="243"/>
                    </a:lnTo>
                    <a:lnTo>
                      <a:pt x="278" y="246"/>
                    </a:lnTo>
                    <a:lnTo>
                      <a:pt x="274" y="239"/>
                    </a:lnTo>
                    <a:lnTo>
                      <a:pt x="274" y="232"/>
                    </a:lnTo>
                    <a:lnTo>
                      <a:pt x="278" y="227"/>
                    </a:lnTo>
                    <a:lnTo>
                      <a:pt x="281" y="220"/>
                    </a:lnTo>
                    <a:lnTo>
                      <a:pt x="281" y="210"/>
                    </a:lnTo>
                    <a:lnTo>
                      <a:pt x="278" y="208"/>
                    </a:lnTo>
                    <a:lnTo>
                      <a:pt x="274" y="217"/>
                    </a:lnTo>
                    <a:lnTo>
                      <a:pt x="278" y="217"/>
                    </a:lnTo>
                    <a:lnTo>
                      <a:pt x="278" y="220"/>
                    </a:lnTo>
                    <a:lnTo>
                      <a:pt x="278" y="222"/>
                    </a:lnTo>
                    <a:lnTo>
                      <a:pt x="257" y="220"/>
                    </a:lnTo>
                    <a:lnTo>
                      <a:pt x="250" y="213"/>
                    </a:lnTo>
                    <a:lnTo>
                      <a:pt x="250" y="203"/>
                    </a:lnTo>
                    <a:lnTo>
                      <a:pt x="257" y="191"/>
                    </a:lnTo>
                    <a:lnTo>
                      <a:pt x="278" y="165"/>
                    </a:lnTo>
                    <a:lnTo>
                      <a:pt x="288" y="158"/>
                    </a:lnTo>
                    <a:lnTo>
                      <a:pt x="319" y="144"/>
                    </a:lnTo>
                    <a:lnTo>
                      <a:pt x="335" y="139"/>
                    </a:lnTo>
                    <a:lnTo>
                      <a:pt x="352" y="139"/>
                    </a:lnTo>
                    <a:lnTo>
                      <a:pt x="364" y="142"/>
                    </a:lnTo>
                    <a:lnTo>
                      <a:pt x="373" y="147"/>
                    </a:lnTo>
                    <a:lnTo>
                      <a:pt x="366" y="154"/>
                    </a:lnTo>
                    <a:lnTo>
                      <a:pt x="333" y="161"/>
                    </a:lnTo>
                    <a:lnTo>
                      <a:pt x="333" y="161"/>
                    </a:lnTo>
                    <a:lnTo>
                      <a:pt x="338" y="165"/>
                    </a:lnTo>
                    <a:lnTo>
                      <a:pt x="340" y="168"/>
                    </a:lnTo>
                    <a:lnTo>
                      <a:pt x="335" y="175"/>
                    </a:lnTo>
                    <a:lnTo>
                      <a:pt x="307" y="201"/>
                    </a:lnTo>
                    <a:close/>
                    <a:moveTo>
                      <a:pt x="884" y="291"/>
                    </a:moveTo>
                    <a:lnTo>
                      <a:pt x="888" y="293"/>
                    </a:lnTo>
                    <a:lnTo>
                      <a:pt x="891" y="298"/>
                    </a:lnTo>
                    <a:lnTo>
                      <a:pt x="900" y="310"/>
                    </a:lnTo>
                    <a:lnTo>
                      <a:pt x="905" y="317"/>
                    </a:lnTo>
                    <a:lnTo>
                      <a:pt x="910" y="331"/>
                    </a:lnTo>
                    <a:lnTo>
                      <a:pt x="912" y="333"/>
                    </a:lnTo>
                    <a:lnTo>
                      <a:pt x="912" y="343"/>
                    </a:lnTo>
                    <a:lnTo>
                      <a:pt x="907" y="348"/>
                    </a:lnTo>
                    <a:lnTo>
                      <a:pt x="907" y="352"/>
                    </a:lnTo>
                    <a:lnTo>
                      <a:pt x="910" y="355"/>
                    </a:lnTo>
                    <a:lnTo>
                      <a:pt x="928" y="355"/>
                    </a:lnTo>
                    <a:lnTo>
                      <a:pt x="936" y="357"/>
                    </a:lnTo>
                    <a:lnTo>
                      <a:pt x="940" y="362"/>
                    </a:lnTo>
                    <a:lnTo>
                      <a:pt x="938" y="366"/>
                    </a:lnTo>
                    <a:lnTo>
                      <a:pt x="940" y="371"/>
                    </a:lnTo>
                    <a:lnTo>
                      <a:pt x="945" y="378"/>
                    </a:lnTo>
                    <a:lnTo>
                      <a:pt x="959" y="383"/>
                    </a:lnTo>
                    <a:lnTo>
                      <a:pt x="964" y="388"/>
                    </a:lnTo>
                    <a:lnTo>
                      <a:pt x="964" y="392"/>
                    </a:lnTo>
                    <a:lnTo>
                      <a:pt x="959" y="395"/>
                    </a:lnTo>
                    <a:lnTo>
                      <a:pt x="952" y="397"/>
                    </a:lnTo>
                    <a:lnTo>
                      <a:pt x="898" y="397"/>
                    </a:lnTo>
                    <a:lnTo>
                      <a:pt x="884" y="397"/>
                    </a:lnTo>
                    <a:lnTo>
                      <a:pt x="881" y="400"/>
                    </a:lnTo>
                    <a:lnTo>
                      <a:pt x="879" y="402"/>
                    </a:lnTo>
                    <a:lnTo>
                      <a:pt x="876" y="400"/>
                    </a:lnTo>
                    <a:lnTo>
                      <a:pt x="872" y="402"/>
                    </a:lnTo>
                    <a:lnTo>
                      <a:pt x="869" y="400"/>
                    </a:lnTo>
                    <a:lnTo>
                      <a:pt x="867" y="395"/>
                    </a:lnTo>
                    <a:lnTo>
                      <a:pt x="862" y="390"/>
                    </a:lnTo>
                    <a:lnTo>
                      <a:pt x="855" y="390"/>
                    </a:lnTo>
                    <a:lnTo>
                      <a:pt x="848" y="395"/>
                    </a:lnTo>
                    <a:lnTo>
                      <a:pt x="843" y="411"/>
                    </a:lnTo>
                    <a:lnTo>
                      <a:pt x="846" y="416"/>
                    </a:lnTo>
                    <a:lnTo>
                      <a:pt x="846" y="426"/>
                    </a:lnTo>
                    <a:lnTo>
                      <a:pt x="848" y="428"/>
                    </a:lnTo>
                    <a:lnTo>
                      <a:pt x="848" y="430"/>
                    </a:lnTo>
                    <a:lnTo>
                      <a:pt x="846" y="433"/>
                    </a:lnTo>
                    <a:lnTo>
                      <a:pt x="841" y="433"/>
                    </a:lnTo>
                    <a:lnTo>
                      <a:pt x="834" y="430"/>
                    </a:lnTo>
                    <a:lnTo>
                      <a:pt x="808" y="411"/>
                    </a:lnTo>
                    <a:lnTo>
                      <a:pt x="787" y="400"/>
                    </a:lnTo>
                    <a:lnTo>
                      <a:pt x="763" y="395"/>
                    </a:lnTo>
                    <a:lnTo>
                      <a:pt x="744" y="392"/>
                    </a:lnTo>
                    <a:lnTo>
                      <a:pt x="730" y="395"/>
                    </a:lnTo>
                    <a:lnTo>
                      <a:pt x="718" y="402"/>
                    </a:lnTo>
                    <a:lnTo>
                      <a:pt x="711" y="414"/>
                    </a:lnTo>
                    <a:lnTo>
                      <a:pt x="699" y="423"/>
                    </a:lnTo>
                    <a:lnTo>
                      <a:pt x="680" y="428"/>
                    </a:lnTo>
                    <a:lnTo>
                      <a:pt x="671" y="430"/>
                    </a:lnTo>
                    <a:lnTo>
                      <a:pt x="671" y="437"/>
                    </a:lnTo>
                    <a:lnTo>
                      <a:pt x="664" y="437"/>
                    </a:lnTo>
                    <a:lnTo>
                      <a:pt x="650" y="435"/>
                    </a:lnTo>
                    <a:lnTo>
                      <a:pt x="638" y="435"/>
                    </a:lnTo>
                    <a:lnTo>
                      <a:pt x="626" y="437"/>
                    </a:lnTo>
                    <a:lnTo>
                      <a:pt x="616" y="442"/>
                    </a:lnTo>
                    <a:lnTo>
                      <a:pt x="609" y="459"/>
                    </a:lnTo>
                    <a:lnTo>
                      <a:pt x="607" y="466"/>
                    </a:lnTo>
                    <a:lnTo>
                      <a:pt x="602" y="473"/>
                    </a:lnTo>
                    <a:lnTo>
                      <a:pt x="583" y="485"/>
                    </a:lnTo>
                    <a:lnTo>
                      <a:pt x="583" y="489"/>
                    </a:lnTo>
                    <a:lnTo>
                      <a:pt x="574" y="501"/>
                    </a:lnTo>
                    <a:lnTo>
                      <a:pt x="572" y="508"/>
                    </a:lnTo>
                    <a:lnTo>
                      <a:pt x="572" y="515"/>
                    </a:lnTo>
                    <a:lnTo>
                      <a:pt x="569" y="515"/>
                    </a:lnTo>
                    <a:lnTo>
                      <a:pt x="562" y="508"/>
                    </a:lnTo>
                    <a:lnTo>
                      <a:pt x="560" y="499"/>
                    </a:lnTo>
                    <a:lnTo>
                      <a:pt x="567" y="487"/>
                    </a:lnTo>
                    <a:lnTo>
                      <a:pt x="572" y="480"/>
                    </a:lnTo>
                    <a:lnTo>
                      <a:pt x="576" y="480"/>
                    </a:lnTo>
                    <a:lnTo>
                      <a:pt x="579" y="475"/>
                    </a:lnTo>
                    <a:lnTo>
                      <a:pt x="579" y="463"/>
                    </a:lnTo>
                    <a:lnTo>
                      <a:pt x="576" y="459"/>
                    </a:lnTo>
                    <a:lnTo>
                      <a:pt x="567" y="461"/>
                    </a:lnTo>
                    <a:lnTo>
                      <a:pt x="562" y="468"/>
                    </a:lnTo>
                    <a:lnTo>
                      <a:pt x="555" y="468"/>
                    </a:lnTo>
                    <a:lnTo>
                      <a:pt x="548" y="466"/>
                    </a:lnTo>
                    <a:lnTo>
                      <a:pt x="543" y="473"/>
                    </a:lnTo>
                    <a:lnTo>
                      <a:pt x="538" y="487"/>
                    </a:lnTo>
                    <a:lnTo>
                      <a:pt x="531" y="499"/>
                    </a:lnTo>
                    <a:lnTo>
                      <a:pt x="524" y="504"/>
                    </a:lnTo>
                    <a:lnTo>
                      <a:pt x="517" y="499"/>
                    </a:lnTo>
                    <a:lnTo>
                      <a:pt x="515" y="485"/>
                    </a:lnTo>
                    <a:lnTo>
                      <a:pt x="512" y="475"/>
                    </a:lnTo>
                    <a:lnTo>
                      <a:pt x="515" y="461"/>
                    </a:lnTo>
                    <a:lnTo>
                      <a:pt x="512" y="459"/>
                    </a:lnTo>
                    <a:lnTo>
                      <a:pt x="510" y="463"/>
                    </a:lnTo>
                    <a:lnTo>
                      <a:pt x="505" y="475"/>
                    </a:lnTo>
                    <a:lnTo>
                      <a:pt x="501" y="499"/>
                    </a:lnTo>
                    <a:lnTo>
                      <a:pt x="498" y="508"/>
                    </a:lnTo>
                    <a:lnTo>
                      <a:pt x="494" y="511"/>
                    </a:lnTo>
                    <a:lnTo>
                      <a:pt x="484" y="527"/>
                    </a:lnTo>
                    <a:lnTo>
                      <a:pt x="475" y="553"/>
                    </a:lnTo>
                    <a:lnTo>
                      <a:pt x="463" y="582"/>
                    </a:lnTo>
                    <a:lnTo>
                      <a:pt x="449" y="608"/>
                    </a:lnTo>
                    <a:lnTo>
                      <a:pt x="442" y="619"/>
                    </a:lnTo>
                    <a:lnTo>
                      <a:pt x="437" y="622"/>
                    </a:lnTo>
                    <a:lnTo>
                      <a:pt x="437" y="627"/>
                    </a:lnTo>
                    <a:lnTo>
                      <a:pt x="437" y="638"/>
                    </a:lnTo>
                    <a:lnTo>
                      <a:pt x="430" y="636"/>
                    </a:lnTo>
                    <a:lnTo>
                      <a:pt x="423" y="627"/>
                    </a:lnTo>
                    <a:lnTo>
                      <a:pt x="418" y="619"/>
                    </a:lnTo>
                    <a:lnTo>
                      <a:pt x="418" y="610"/>
                    </a:lnTo>
                    <a:lnTo>
                      <a:pt x="425" y="589"/>
                    </a:lnTo>
                    <a:lnTo>
                      <a:pt x="425" y="584"/>
                    </a:lnTo>
                    <a:lnTo>
                      <a:pt x="423" y="584"/>
                    </a:lnTo>
                    <a:lnTo>
                      <a:pt x="418" y="582"/>
                    </a:lnTo>
                    <a:lnTo>
                      <a:pt x="408" y="586"/>
                    </a:lnTo>
                    <a:lnTo>
                      <a:pt x="397" y="586"/>
                    </a:lnTo>
                    <a:lnTo>
                      <a:pt x="394" y="586"/>
                    </a:lnTo>
                    <a:lnTo>
                      <a:pt x="392" y="582"/>
                    </a:lnTo>
                    <a:lnTo>
                      <a:pt x="392" y="577"/>
                    </a:lnTo>
                    <a:lnTo>
                      <a:pt x="392" y="570"/>
                    </a:lnTo>
                    <a:lnTo>
                      <a:pt x="399" y="556"/>
                    </a:lnTo>
                    <a:lnTo>
                      <a:pt x="397" y="544"/>
                    </a:lnTo>
                    <a:lnTo>
                      <a:pt x="399" y="537"/>
                    </a:lnTo>
                    <a:lnTo>
                      <a:pt x="397" y="525"/>
                    </a:lnTo>
                    <a:lnTo>
                      <a:pt x="397" y="518"/>
                    </a:lnTo>
                    <a:lnTo>
                      <a:pt x="390" y="513"/>
                    </a:lnTo>
                    <a:lnTo>
                      <a:pt x="378" y="504"/>
                    </a:lnTo>
                    <a:lnTo>
                      <a:pt x="347" y="494"/>
                    </a:lnTo>
                    <a:lnTo>
                      <a:pt x="349" y="482"/>
                    </a:lnTo>
                    <a:lnTo>
                      <a:pt x="347" y="475"/>
                    </a:lnTo>
                    <a:lnTo>
                      <a:pt x="340" y="468"/>
                    </a:lnTo>
                    <a:lnTo>
                      <a:pt x="309" y="461"/>
                    </a:lnTo>
                    <a:lnTo>
                      <a:pt x="288" y="459"/>
                    </a:lnTo>
                    <a:lnTo>
                      <a:pt x="269" y="459"/>
                    </a:lnTo>
                    <a:lnTo>
                      <a:pt x="255" y="456"/>
                    </a:lnTo>
                    <a:lnTo>
                      <a:pt x="238" y="456"/>
                    </a:lnTo>
                    <a:lnTo>
                      <a:pt x="226" y="452"/>
                    </a:lnTo>
                    <a:lnTo>
                      <a:pt x="217" y="447"/>
                    </a:lnTo>
                    <a:lnTo>
                      <a:pt x="205" y="442"/>
                    </a:lnTo>
                    <a:lnTo>
                      <a:pt x="196" y="437"/>
                    </a:lnTo>
                    <a:lnTo>
                      <a:pt x="177" y="433"/>
                    </a:lnTo>
                    <a:lnTo>
                      <a:pt x="158" y="430"/>
                    </a:lnTo>
                    <a:lnTo>
                      <a:pt x="139" y="426"/>
                    </a:lnTo>
                    <a:lnTo>
                      <a:pt x="120" y="421"/>
                    </a:lnTo>
                    <a:lnTo>
                      <a:pt x="101" y="418"/>
                    </a:lnTo>
                    <a:lnTo>
                      <a:pt x="82" y="414"/>
                    </a:lnTo>
                    <a:lnTo>
                      <a:pt x="63" y="409"/>
                    </a:lnTo>
                    <a:lnTo>
                      <a:pt x="44" y="407"/>
                    </a:lnTo>
                    <a:lnTo>
                      <a:pt x="40" y="397"/>
                    </a:lnTo>
                    <a:lnTo>
                      <a:pt x="35" y="390"/>
                    </a:lnTo>
                    <a:lnTo>
                      <a:pt x="30" y="381"/>
                    </a:lnTo>
                    <a:lnTo>
                      <a:pt x="26" y="371"/>
                    </a:lnTo>
                    <a:lnTo>
                      <a:pt x="18" y="369"/>
                    </a:lnTo>
                    <a:lnTo>
                      <a:pt x="14" y="366"/>
                    </a:lnTo>
                    <a:lnTo>
                      <a:pt x="9" y="362"/>
                    </a:lnTo>
                    <a:lnTo>
                      <a:pt x="2" y="364"/>
                    </a:lnTo>
                    <a:lnTo>
                      <a:pt x="0" y="357"/>
                    </a:lnTo>
                    <a:lnTo>
                      <a:pt x="0" y="355"/>
                    </a:lnTo>
                    <a:lnTo>
                      <a:pt x="9" y="352"/>
                    </a:lnTo>
                    <a:lnTo>
                      <a:pt x="35" y="340"/>
                    </a:lnTo>
                    <a:lnTo>
                      <a:pt x="59" y="326"/>
                    </a:lnTo>
                    <a:lnTo>
                      <a:pt x="78" y="307"/>
                    </a:lnTo>
                    <a:lnTo>
                      <a:pt x="101" y="298"/>
                    </a:lnTo>
                    <a:lnTo>
                      <a:pt x="130" y="291"/>
                    </a:lnTo>
                    <a:lnTo>
                      <a:pt x="148" y="284"/>
                    </a:lnTo>
                    <a:lnTo>
                      <a:pt x="160" y="277"/>
                    </a:lnTo>
                    <a:lnTo>
                      <a:pt x="177" y="260"/>
                    </a:lnTo>
                    <a:lnTo>
                      <a:pt x="186" y="255"/>
                    </a:lnTo>
                    <a:lnTo>
                      <a:pt x="196" y="253"/>
                    </a:lnTo>
                    <a:lnTo>
                      <a:pt x="205" y="246"/>
                    </a:lnTo>
                    <a:lnTo>
                      <a:pt x="210" y="234"/>
                    </a:lnTo>
                    <a:lnTo>
                      <a:pt x="222" y="222"/>
                    </a:lnTo>
                    <a:lnTo>
                      <a:pt x="236" y="208"/>
                    </a:lnTo>
                    <a:lnTo>
                      <a:pt x="245" y="201"/>
                    </a:lnTo>
                    <a:lnTo>
                      <a:pt x="248" y="203"/>
                    </a:lnTo>
                    <a:lnTo>
                      <a:pt x="248" y="208"/>
                    </a:lnTo>
                    <a:lnTo>
                      <a:pt x="248" y="215"/>
                    </a:lnTo>
                    <a:lnTo>
                      <a:pt x="252" y="220"/>
                    </a:lnTo>
                    <a:lnTo>
                      <a:pt x="262" y="225"/>
                    </a:lnTo>
                    <a:lnTo>
                      <a:pt x="267" y="229"/>
                    </a:lnTo>
                    <a:lnTo>
                      <a:pt x="267" y="236"/>
                    </a:lnTo>
                    <a:lnTo>
                      <a:pt x="269" y="241"/>
                    </a:lnTo>
                    <a:lnTo>
                      <a:pt x="276" y="246"/>
                    </a:lnTo>
                    <a:lnTo>
                      <a:pt x="278" y="258"/>
                    </a:lnTo>
                    <a:lnTo>
                      <a:pt x="276" y="274"/>
                    </a:lnTo>
                    <a:lnTo>
                      <a:pt x="276" y="284"/>
                    </a:lnTo>
                    <a:lnTo>
                      <a:pt x="278" y="288"/>
                    </a:lnTo>
                    <a:lnTo>
                      <a:pt x="281" y="291"/>
                    </a:lnTo>
                    <a:lnTo>
                      <a:pt x="286" y="288"/>
                    </a:lnTo>
                    <a:lnTo>
                      <a:pt x="288" y="281"/>
                    </a:lnTo>
                    <a:lnTo>
                      <a:pt x="290" y="279"/>
                    </a:lnTo>
                    <a:lnTo>
                      <a:pt x="290" y="274"/>
                    </a:lnTo>
                    <a:lnTo>
                      <a:pt x="314" y="255"/>
                    </a:lnTo>
                    <a:lnTo>
                      <a:pt x="316" y="255"/>
                    </a:lnTo>
                    <a:lnTo>
                      <a:pt x="326" y="258"/>
                    </a:lnTo>
                    <a:lnTo>
                      <a:pt x="364" y="260"/>
                    </a:lnTo>
                    <a:lnTo>
                      <a:pt x="378" y="265"/>
                    </a:lnTo>
                    <a:lnTo>
                      <a:pt x="394" y="272"/>
                    </a:lnTo>
                    <a:lnTo>
                      <a:pt x="399" y="274"/>
                    </a:lnTo>
                    <a:lnTo>
                      <a:pt x="420" y="305"/>
                    </a:lnTo>
                    <a:lnTo>
                      <a:pt x="430" y="314"/>
                    </a:lnTo>
                    <a:lnTo>
                      <a:pt x="437" y="317"/>
                    </a:lnTo>
                    <a:lnTo>
                      <a:pt x="439" y="322"/>
                    </a:lnTo>
                    <a:lnTo>
                      <a:pt x="442" y="333"/>
                    </a:lnTo>
                    <a:lnTo>
                      <a:pt x="446" y="336"/>
                    </a:lnTo>
                    <a:lnTo>
                      <a:pt x="472" y="336"/>
                    </a:lnTo>
                    <a:lnTo>
                      <a:pt x="486" y="331"/>
                    </a:lnTo>
                    <a:lnTo>
                      <a:pt x="494" y="326"/>
                    </a:lnTo>
                    <a:lnTo>
                      <a:pt x="501" y="329"/>
                    </a:lnTo>
                    <a:lnTo>
                      <a:pt x="512" y="338"/>
                    </a:lnTo>
                    <a:lnTo>
                      <a:pt x="522" y="340"/>
                    </a:lnTo>
                    <a:lnTo>
                      <a:pt x="529" y="333"/>
                    </a:lnTo>
                    <a:lnTo>
                      <a:pt x="538" y="333"/>
                    </a:lnTo>
                    <a:lnTo>
                      <a:pt x="546" y="338"/>
                    </a:lnTo>
                    <a:lnTo>
                      <a:pt x="550" y="340"/>
                    </a:lnTo>
                    <a:lnTo>
                      <a:pt x="553" y="340"/>
                    </a:lnTo>
                    <a:lnTo>
                      <a:pt x="567" y="324"/>
                    </a:lnTo>
                    <a:lnTo>
                      <a:pt x="583" y="307"/>
                    </a:lnTo>
                    <a:lnTo>
                      <a:pt x="607" y="291"/>
                    </a:lnTo>
                    <a:lnTo>
                      <a:pt x="621" y="284"/>
                    </a:lnTo>
                    <a:lnTo>
                      <a:pt x="626" y="284"/>
                    </a:lnTo>
                    <a:lnTo>
                      <a:pt x="647" y="277"/>
                    </a:lnTo>
                    <a:lnTo>
                      <a:pt x="668" y="274"/>
                    </a:lnTo>
                    <a:lnTo>
                      <a:pt x="697" y="274"/>
                    </a:lnTo>
                    <a:lnTo>
                      <a:pt x="720" y="267"/>
                    </a:lnTo>
                    <a:lnTo>
                      <a:pt x="742" y="255"/>
                    </a:lnTo>
                    <a:lnTo>
                      <a:pt x="763" y="248"/>
                    </a:lnTo>
                    <a:lnTo>
                      <a:pt x="780" y="243"/>
                    </a:lnTo>
                    <a:lnTo>
                      <a:pt x="787" y="246"/>
                    </a:lnTo>
                    <a:lnTo>
                      <a:pt x="784" y="253"/>
                    </a:lnTo>
                    <a:lnTo>
                      <a:pt x="784" y="265"/>
                    </a:lnTo>
                    <a:lnTo>
                      <a:pt x="784" y="281"/>
                    </a:lnTo>
                    <a:lnTo>
                      <a:pt x="784" y="291"/>
                    </a:lnTo>
                    <a:lnTo>
                      <a:pt x="782" y="296"/>
                    </a:lnTo>
                    <a:lnTo>
                      <a:pt x="782" y="300"/>
                    </a:lnTo>
                    <a:lnTo>
                      <a:pt x="784" y="303"/>
                    </a:lnTo>
                    <a:lnTo>
                      <a:pt x="803" y="303"/>
                    </a:lnTo>
                    <a:lnTo>
                      <a:pt x="813" y="307"/>
                    </a:lnTo>
                    <a:lnTo>
                      <a:pt x="822" y="305"/>
                    </a:lnTo>
                    <a:lnTo>
                      <a:pt x="834" y="300"/>
                    </a:lnTo>
                    <a:lnTo>
                      <a:pt x="843" y="300"/>
                    </a:lnTo>
                    <a:lnTo>
                      <a:pt x="850" y="307"/>
                    </a:lnTo>
                    <a:lnTo>
                      <a:pt x="860" y="307"/>
                    </a:lnTo>
                    <a:lnTo>
                      <a:pt x="869" y="300"/>
                    </a:lnTo>
                    <a:lnTo>
                      <a:pt x="874" y="296"/>
                    </a:lnTo>
                    <a:lnTo>
                      <a:pt x="879" y="291"/>
                    </a:lnTo>
                    <a:lnTo>
                      <a:pt x="884" y="291"/>
                    </a:lnTo>
                    <a:close/>
                    <a:moveTo>
                      <a:pt x="919" y="317"/>
                    </a:moveTo>
                    <a:lnTo>
                      <a:pt x="919" y="322"/>
                    </a:lnTo>
                    <a:lnTo>
                      <a:pt x="914" y="319"/>
                    </a:lnTo>
                    <a:lnTo>
                      <a:pt x="912" y="317"/>
                    </a:lnTo>
                    <a:lnTo>
                      <a:pt x="907" y="312"/>
                    </a:lnTo>
                    <a:lnTo>
                      <a:pt x="902" y="300"/>
                    </a:lnTo>
                    <a:lnTo>
                      <a:pt x="895" y="293"/>
                    </a:lnTo>
                    <a:lnTo>
                      <a:pt x="902" y="281"/>
                    </a:lnTo>
                    <a:lnTo>
                      <a:pt x="907" y="279"/>
                    </a:lnTo>
                    <a:lnTo>
                      <a:pt x="914" y="281"/>
                    </a:lnTo>
                    <a:lnTo>
                      <a:pt x="914" y="286"/>
                    </a:lnTo>
                    <a:lnTo>
                      <a:pt x="912" y="296"/>
                    </a:lnTo>
                    <a:lnTo>
                      <a:pt x="914" y="307"/>
                    </a:lnTo>
                    <a:lnTo>
                      <a:pt x="919" y="317"/>
                    </a:lnTo>
                    <a:close/>
                    <a:moveTo>
                      <a:pt x="924" y="340"/>
                    </a:moveTo>
                    <a:lnTo>
                      <a:pt x="921" y="340"/>
                    </a:lnTo>
                    <a:lnTo>
                      <a:pt x="914" y="333"/>
                    </a:lnTo>
                    <a:lnTo>
                      <a:pt x="912" y="329"/>
                    </a:lnTo>
                    <a:lnTo>
                      <a:pt x="912" y="326"/>
                    </a:lnTo>
                    <a:lnTo>
                      <a:pt x="914" y="324"/>
                    </a:lnTo>
                    <a:lnTo>
                      <a:pt x="921" y="329"/>
                    </a:lnTo>
                    <a:lnTo>
                      <a:pt x="924" y="331"/>
                    </a:lnTo>
                    <a:lnTo>
                      <a:pt x="924" y="338"/>
                    </a:lnTo>
                    <a:lnTo>
                      <a:pt x="924" y="340"/>
                    </a:lnTo>
                    <a:close/>
                    <a:moveTo>
                      <a:pt x="1021" y="376"/>
                    </a:moveTo>
                    <a:lnTo>
                      <a:pt x="1023" y="381"/>
                    </a:lnTo>
                    <a:lnTo>
                      <a:pt x="1021" y="388"/>
                    </a:lnTo>
                    <a:lnTo>
                      <a:pt x="1011" y="395"/>
                    </a:lnTo>
                    <a:lnTo>
                      <a:pt x="990" y="397"/>
                    </a:lnTo>
                    <a:lnTo>
                      <a:pt x="976" y="395"/>
                    </a:lnTo>
                    <a:lnTo>
                      <a:pt x="969" y="390"/>
                    </a:lnTo>
                    <a:lnTo>
                      <a:pt x="966" y="388"/>
                    </a:lnTo>
                    <a:lnTo>
                      <a:pt x="966" y="383"/>
                    </a:lnTo>
                    <a:lnTo>
                      <a:pt x="971" y="383"/>
                    </a:lnTo>
                    <a:lnTo>
                      <a:pt x="976" y="385"/>
                    </a:lnTo>
                    <a:lnTo>
                      <a:pt x="980" y="383"/>
                    </a:lnTo>
                    <a:lnTo>
                      <a:pt x="990" y="376"/>
                    </a:lnTo>
                    <a:lnTo>
                      <a:pt x="992" y="371"/>
                    </a:lnTo>
                    <a:lnTo>
                      <a:pt x="995" y="369"/>
                    </a:lnTo>
                    <a:lnTo>
                      <a:pt x="990" y="364"/>
                    </a:lnTo>
                    <a:lnTo>
                      <a:pt x="992" y="362"/>
                    </a:lnTo>
                    <a:lnTo>
                      <a:pt x="1004" y="362"/>
                    </a:lnTo>
                    <a:lnTo>
                      <a:pt x="1009" y="364"/>
                    </a:lnTo>
                    <a:lnTo>
                      <a:pt x="1016" y="376"/>
                    </a:lnTo>
                    <a:lnTo>
                      <a:pt x="1021" y="376"/>
                    </a:lnTo>
                    <a:close/>
                    <a:moveTo>
                      <a:pt x="872" y="437"/>
                    </a:moveTo>
                    <a:lnTo>
                      <a:pt x="891" y="437"/>
                    </a:lnTo>
                    <a:lnTo>
                      <a:pt x="893" y="437"/>
                    </a:lnTo>
                    <a:lnTo>
                      <a:pt x="898" y="442"/>
                    </a:lnTo>
                    <a:lnTo>
                      <a:pt x="900" y="447"/>
                    </a:lnTo>
                    <a:lnTo>
                      <a:pt x="898" y="449"/>
                    </a:lnTo>
                    <a:lnTo>
                      <a:pt x="895" y="454"/>
                    </a:lnTo>
                    <a:lnTo>
                      <a:pt x="891" y="454"/>
                    </a:lnTo>
                    <a:lnTo>
                      <a:pt x="884" y="452"/>
                    </a:lnTo>
                    <a:lnTo>
                      <a:pt x="872" y="442"/>
                    </a:lnTo>
                    <a:lnTo>
                      <a:pt x="872" y="437"/>
                    </a:lnTo>
                    <a:close/>
                    <a:moveTo>
                      <a:pt x="843" y="447"/>
                    </a:moveTo>
                    <a:lnTo>
                      <a:pt x="853" y="449"/>
                    </a:lnTo>
                    <a:lnTo>
                      <a:pt x="874" y="461"/>
                    </a:lnTo>
                    <a:lnTo>
                      <a:pt x="893" y="466"/>
                    </a:lnTo>
                    <a:lnTo>
                      <a:pt x="910" y="466"/>
                    </a:lnTo>
                    <a:lnTo>
                      <a:pt x="924" y="468"/>
                    </a:lnTo>
                    <a:lnTo>
                      <a:pt x="931" y="475"/>
                    </a:lnTo>
                    <a:lnTo>
                      <a:pt x="938" y="482"/>
                    </a:lnTo>
                    <a:lnTo>
                      <a:pt x="943" y="489"/>
                    </a:lnTo>
                    <a:lnTo>
                      <a:pt x="952" y="494"/>
                    </a:lnTo>
                    <a:lnTo>
                      <a:pt x="964" y="494"/>
                    </a:lnTo>
                    <a:lnTo>
                      <a:pt x="976" y="496"/>
                    </a:lnTo>
                    <a:lnTo>
                      <a:pt x="983" y="501"/>
                    </a:lnTo>
                    <a:lnTo>
                      <a:pt x="1025" y="511"/>
                    </a:lnTo>
                    <a:lnTo>
                      <a:pt x="1044" y="518"/>
                    </a:lnTo>
                    <a:lnTo>
                      <a:pt x="1054" y="525"/>
                    </a:lnTo>
                    <a:lnTo>
                      <a:pt x="1058" y="530"/>
                    </a:lnTo>
                    <a:lnTo>
                      <a:pt x="1058" y="534"/>
                    </a:lnTo>
                    <a:lnTo>
                      <a:pt x="1061" y="541"/>
                    </a:lnTo>
                    <a:lnTo>
                      <a:pt x="1068" y="551"/>
                    </a:lnTo>
                    <a:lnTo>
                      <a:pt x="1070" y="551"/>
                    </a:lnTo>
                    <a:lnTo>
                      <a:pt x="1073" y="556"/>
                    </a:lnTo>
                    <a:lnTo>
                      <a:pt x="1075" y="565"/>
                    </a:lnTo>
                    <a:lnTo>
                      <a:pt x="1077" y="572"/>
                    </a:lnTo>
                    <a:lnTo>
                      <a:pt x="1082" y="575"/>
                    </a:lnTo>
                    <a:lnTo>
                      <a:pt x="1080" y="577"/>
                    </a:lnTo>
                    <a:lnTo>
                      <a:pt x="1068" y="572"/>
                    </a:lnTo>
                    <a:lnTo>
                      <a:pt x="1061" y="575"/>
                    </a:lnTo>
                    <a:lnTo>
                      <a:pt x="1058" y="584"/>
                    </a:lnTo>
                    <a:lnTo>
                      <a:pt x="1058" y="591"/>
                    </a:lnTo>
                    <a:lnTo>
                      <a:pt x="1061" y="596"/>
                    </a:lnTo>
                    <a:lnTo>
                      <a:pt x="1080" y="612"/>
                    </a:lnTo>
                    <a:lnTo>
                      <a:pt x="1087" y="631"/>
                    </a:lnTo>
                    <a:lnTo>
                      <a:pt x="1092" y="650"/>
                    </a:lnTo>
                    <a:lnTo>
                      <a:pt x="1089" y="660"/>
                    </a:lnTo>
                    <a:lnTo>
                      <a:pt x="1092" y="679"/>
                    </a:lnTo>
                    <a:lnTo>
                      <a:pt x="1094" y="707"/>
                    </a:lnTo>
                    <a:lnTo>
                      <a:pt x="1094" y="716"/>
                    </a:lnTo>
                    <a:lnTo>
                      <a:pt x="1092" y="726"/>
                    </a:lnTo>
                    <a:lnTo>
                      <a:pt x="1077" y="742"/>
                    </a:lnTo>
                    <a:lnTo>
                      <a:pt x="1077" y="740"/>
                    </a:lnTo>
                    <a:lnTo>
                      <a:pt x="1073" y="740"/>
                    </a:lnTo>
                    <a:lnTo>
                      <a:pt x="1070" y="742"/>
                    </a:lnTo>
                    <a:lnTo>
                      <a:pt x="1066" y="754"/>
                    </a:lnTo>
                    <a:lnTo>
                      <a:pt x="1066" y="776"/>
                    </a:lnTo>
                    <a:lnTo>
                      <a:pt x="1061" y="790"/>
                    </a:lnTo>
                    <a:lnTo>
                      <a:pt x="1054" y="792"/>
                    </a:lnTo>
                    <a:lnTo>
                      <a:pt x="1051" y="794"/>
                    </a:lnTo>
                    <a:lnTo>
                      <a:pt x="1051" y="799"/>
                    </a:lnTo>
                    <a:lnTo>
                      <a:pt x="1044" y="804"/>
                    </a:lnTo>
                    <a:lnTo>
                      <a:pt x="1032" y="806"/>
                    </a:lnTo>
                    <a:lnTo>
                      <a:pt x="1023" y="813"/>
                    </a:lnTo>
                    <a:lnTo>
                      <a:pt x="1021" y="835"/>
                    </a:lnTo>
                    <a:lnTo>
                      <a:pt x="1021" y="842"/>
                    </a:lnTo>
                    <a:lnTo>
                      <a:pt x="1018" y="854"/>
                    </a:lnTo>
                    <a:lnTo>
                      <a:pt x="1021" y="863"/>
                    </a:lnTo>
                    <a:lnTo>
                      <a:pt x="1025" y="870"/>
                    </a:lnTo>
                    <a:lnTo>
                      <a:pt x="1037" y="877"/>
                    </a:lnTo>
                    <a:lnTo>
                      <a:pt x="1054" y="882"/>
                    </a:lnTo>
                    <a:lnTo>
                      <a:pt x="1066" y="882"/>
                    </a:lnTo>
                    <a:lnTo>
                      <a:pt x="1073" y="877"/>
                    </a:lnTo>
                    <a:lnTo>
                      <a:pt x="1077" y="863"/>
                    </a:lnTo>
                    <a:lnTo>
                      <a:pt x="1084" y="858"/>
                    </a:lnTo>
                    <a:lnTo>
                      <a:pt x="1092" y="854"/>
                    </a:lnTo>
                    <a:lnTo>
                      <a:pt x="1094" y="849"/>
                    </a:lnTo>
                    <a:lnTo>
                      <a:pt x="1106" y="820"/>
                    </a:lnTo>
                    <a:lnTo>
                      <a:pt x="1106" y="816"/>
                    </a:lnTo>
                    <a:lnTo>
                      <a:pt x="1099" y="813"/>
                    </a:lnTo>
                    <a:lnTo>
                      <a:pt x="1099" y="811"/>
                    </a:lnTo>
                    <a:lnTo>
                      <a:pt x="1106" y="811"/>
                    </a:lnTo>
                    <a:lnTo>
                      <a:pt x="1113" y="806"/>
                    </a:lnTo>
                    <a:lnTo>
                      <a:pt x="1115" y="799"/>
                    </a:lnTo>
                    <a:lnTo>
                      <a:pt x="1125" y="794"/>
                    </a:lnTo>
                    <a:lnTo>
                      <a:pt x="1144" y="785"/>
                    </a:lnTo>
                    <a:lnTo>
                      <a:pt x="1155" y="776"/>
                    </a:lnTo>
                    <a:lnTo>
                      <a:pt x="1160" y="773"/>
                    </a:lnTo>
                    <a:lnTo>
                      <a:pt x="1172" y="776"/>
                    </a:lnTo>
                    <a:lnTo>
                      <a:pt x="1186" y="783"/>
                    </a:lnTo>
                    <a:lnTo>
                      <a:pt x="1200" y="794"/>
                    </a:lnTo>
                    <a:lnTo>
                      <a:pt x="1210" y="811"/>
                    </a:lnTo>
                    <a:lnTo>
                      <a:pt x="1229" y="856"/>
                    </a:lnTo>
                    <a:lnTo>
                      <a:pt x="1250" y="927"/>
                    </a:lnTo>
                    <a:lnTo>
                      <a:pt x="1266" y="967"/>
                    </a:lnTo>
                    <a:lnTo>
                      <a:pt x="1271" y="976"/>
                    </a:lnTo>
                    <a:lnTo>
                      <a:pt x="1274" y="981"/>
                    </a:lnTo>
                    <a:lnTo>
                      <a:pt x="1271" y="1040"/>
                    </a:lnTo>
                    <a:lnTo>
                      <a:pt x="1266" y="1064"/>
                    </a:lnTo>
                    <a:lnTo>
                      <a:pt x="1252" y="1081"/>
                    </a:lnTo>
                    <a:lnTo>
                      <a:pt x="1240" y="1097"/>
                    </a:lnTo>
                    <a:lnTo>
                      <a:pt x="1224" y="1123"/>
                    </a:lnTo>
                    <a:lnTo>
                      <a:pt x="1205" y="1137"/>
                    </a:lnTo>
                    <a:lnTo>
                      <a:pt x="1196" y="1144"/>
                    </a:lnTo>
                    <a:lnTo>
                      <a:pt x="1193" y="1149"/>
                    </a:lnTo>
                    <a:lnTo>
                      <a:pt x="1191" y="1149"/>
                    </a:lnTo>
                    <a:lnTo>
                      <a:pt x="1186" y="1161"/>
                    </a:lnTo>
                    <a:lnTo>
                      <a:pt x="1184" y="1180"/>
                    </a:lnTo>
                    <a:lnTo>
                      <a:pt x="1184" y="1192"/>
                    </a:lnTo>
                    <a:lnTo>
                      <a:pt x="1186" y="1199"/>
                    </a:lnTo>
                    <a:lnTo>
                      <a:pt x="1184" y="1203"/>
                    </a:lnTo>
                    <a:lnTo>
                      <a:pt x="1177" y="1213"/>
                    </a:lnTo>
                    <a:lnTo>
                      <a:pt x="1174" y="1218"/>
                    </a:lnTo>
                    <a:lnTo>
                      <a:pt x="1177" y="1222"/>
                    </a:lnTo>
                    <a:lnTo>
                      <a:pt x="1174" y="1225"/>
                    </a:lnTo>
                    <a:lnTo>
                      <a:pt x="1172" y="1225"/>
                    </a:lnTo>
                    <a:lnTo>
                      <a:pt x="1170" y="1229"/>
                    </a:lnTo>
                    <a:lnTo>
                      <a:pt x="1162" y="1239"/>
                    </a:lnTo>
                    <a:lnTo>
                      <a:pt x="1153" y="1265"/>
                    </a:lnTo>
                    <a:lnTo>
                      <a:pt x="1153" y="1270"/>
                    </a:lnTo>
                    <a:lnTo>
                      <a:pt x="1151" y="1270"/>
                    </a:lnTo>
                    <a:lnTo>
                      <a:pt x="1099" y="1279"/>
                    </a:lnTo>
                    <a:lnTo>
                      <a:pt x="1047" y="1289"/>
                    </a:lnTo>
                    <a:lnTo>
                      <a:pt x="995" y="1296"/>
                    </a:lnTo>
                    <a:lnTo>
                      <a:pt x="943" y="1305"/>
                    </a:lnTo>
                    <a:lnTo>
                      <a:pt x="943" y="1293"/>
                    </a:lnTo>
                    <a:lnTo>
                      <a:pt x="895" y="1298"/>
                    </a:lnTo>
                    <a:lnTo>
                      <a:pt x="848" y="1305"/>
                    </a:lnTo>
                    <a:lnTo>
                      <a:pt x="801" y="1310"/>
                    </a:lnTo>
                    <a:lnTo>
                      <a:pt x="751" y="1315"/>
                    </a:lnTo>
                    <a:lnTo>
                      <a:pt x="704" y="1319"/>
                    </a:lnTo>
                    <a:lnTo>
                      <a:pt x="657" y="1326"/>
                    </a:lnTo>
                    <a:lnTo>
                      <a:pt x="619" y="1329"/>
                    </a:lnTo>
                    <a:lnTo>
                      <a:pt x="628" y="1322"/>
                    </a:lnTo>
                    <a:lnTo>
                      <a:pt x="642" y="1308"/>
                    </a:lnTo>
                    <a:lnTo>
                      <a:pt x="652" y="1293"/>
                    </a:lnTo>
                    <a:lnTo>
                      <a:pt x="659" y="1277"/>
                    </a:lnTo>
                    <a:lnTo>
                      <a:pt x="666" y="1256"/>
                    </a:lnTo>
                    <a:lnTo>
                      <a:pt x="680" y="1225"/>
                    </a:lnTo>
                    <a:lnTo>
                      <a:pt x="687" y="1206"/>
                    </a:lnTo>
                    <a:lnTo>
                      <a:pt x="692" y="1182"/>
                    </a:lnTo>
                    <a:lnTo>
                      <a:pt x="694" y="1159"/>
                    </a:lnTo>
                    <a:lnTo>
                      <a:pt x="697" y="1133"/>
                    </a:lnTo>
                    <a:lnTo>
                      <a:pt x="697" y="1107"/>
                    </a:lnTo>
                    <a:lnTo>
                      <a:pt x="692" y="1081"/>
                    </a:lnTo>
                    <a:lnTo>
                      <a:pt x="685" y="1055"/>
                    </a:lnTo>
                    <a:lnTo>
                      <a:pt x="676" y="1029"/>
                    </a:lnTo>
                    <a:lnTo>
                      <a:pt x="668" y="1014"/>
                    </a:lnTo>
                    <a:lnTo>
                      <a:pt x="666" y="1010"/>
                    </a:lnTo>
                    <a:lnTo>
                      <a:pt x="650" y="976"/>
                    </a:lnTo>
                    <a:lnTo>
                      <a:pt x="628" y="932"/>
                    </a:lnTo>
                    <a:lnTo>
                      <a:pt x="628" y="927"/>
                    </a:lnTo>
                    <a:lnTo>
                      <a:pt x="640" y="896"/>
                    </a:lnTo>
                    <a:lnTo>
                      <a:pt x="640" y="891"/>
                    </a:lnTo>
                    <a:lnTo>
                      <a:pt x="635" y="870"/>
                    </a:lnTo>
                    <a:lnTo>
                      <a:pt x="631" y="858"/>
                    </a:lnTo>
                    <a:lnTo>
                      <a:pt x="621" y="842"/>
                    </a:lnTo>
                    <a:lnTo>
                      <a:pt x="621" y="839"/>
                    </a:lnTo>
                    <a:lnTo>
                      <a:pt x="635" y="818"/>
                    </a:lnTo>
                    <a:lnTo>
                      <a:pt x="642" y="802"/>
                    </a:lnTo>
                    <a:lnTo>
                      <a:pt x="650" y="780"/>
                    </a:lnTo>
                    <a:lnTo>
                      <a:pt x="652" y="759"/>
                    </a:lnTo>
                    <a:lnTo>
                      <a:pt x="652" y="733"/>
                    </a:lnTo>
                    <a:lnTo>
                      <a:pt x="652" y="716"/>
                    </a:lnTo>
                    <a:lnTo>
                      <a:pt x="647" y="709"/>
                    </a:lnTo>
                    <a:lnTo>
                      <a:pt x="647" y="702"/>
                    </a:lnTo>
                    <a:lnTo>
                      <a:pt x="650" y="697"/>
                    </a:lnTo>
                    <a:lnTo>
                      <a:pt x="666" y="690"/>
                    </a:lnTo>
                    <a:lnTo>
                      <a:pt x="671" y="681"/>
                    </a:lnTo>
                    <a:lnTo>
                      <a:pt x="668" y="662"/>
                    </a:lnTo>
                    <a:lnTo>
                      <a:pt x="671" y="655"/>
                    </a:lnTo>
                    <a:lnTo>
                      <a:pt x="678" y="653"/>
                    </a:lnTo>
                    <a:lnTo>
                      <a:pt x="683" y="650"/>
                    </a:lnTo>
                    <a:lnTo>
                      <a:pt x="687" y="641"/>
                    </a:lnTo>
                    <a:lnTo>
                      <a:pt x="692" y="638"/>
                    </a:lnTo>
                    <a:lnTo>
                      <a:pt x="702" y="641"/>
                    </a:lnTo>
                    <a:lnTo>
                      <a:pt x="711" y="629"/>
                    </a:lnTo>
                    <a:lnTo>
                      <a:pt x="723" y="603"/>
                    </a:lnTo>
                    <a:lnTo>
                      <a:pt x="732" y="589"/>
                    </a:lnTo>
                    <a:lnTo>
                      <a:pt x="739" y="584"/>
                    </a:lnTo>
                    <a:lnTo>
                      <a:pt x="739" y="586"/>
                    </a:lnTo>
                    <a:lnTo>
                      <a:pt x="737" y="596"/>
                    </a:lnTo>
                    <a:lnTo>
                      <a:pt x="735" y="603"/>
                    </a:lnTo>
                    <a:lnTo>
                      <a:pt x="739" y="612"/>
                    </a:lnTo>
                    <a:lnTo>
                      <a:pt x="737" y="619"/>
                    </a:lnTo>
                    <a:lnTo>
                      <a:pt x="735" y="631"/>
                    </a:lnTo>
                    <a:lnTo>
                      <a:pt x="739" y="636"/>
                    </a:lnTo>
                    <a:lnTo>
                      <a:pt x="735" y="655"/>
                    </a:lnTo>
                    <a:lnTo>
                      <a:pt x="735" y="664"/>
                    </a:lnTo>
                    <a:lnTo>
                      <a:pt x="739" y="671"/>
                    </a:lnTo>
                    <a:lnTo>
                      <a:pt x="744" y="667"/>
                    </a:lnTo>
                    <a:lnTo>
                      <a:pt x="746" y="655"/>
                    </a:lnTo>
                    <a:lnTo>
                      <a:pt x="749" y="648"/>
                    </a:lnTo>
                    <a:lnTo>
                      <a:pt x="746" y="648"/>
                    </a:lnTo>
                    <a:lnTo>
                      <a:pt x="746" y="643"/>
                    </a:lnTo>
                    <a:lnTo>
                      <a:pt x="749" y="634"/>
                    </a:lnTo>
                    <a:lnTo>
                      <a:pt x="751" y="629"/>
                    </a:lnTo>
                    <a:lnTo>
                      <a:pt x="754" y="629"/>
                    </a:lnTo>
                    <a:lnTo>
                      <a:pt x="756" y="634"/>
                    </a:lnTo>
                    <a:lnTo>
                      <a:pt x="756" y="643"/>
                    </a:lnTo>
                    <a:lnTo>
                      <a:pt x="751" y="667"/>
                    </a:lnTo>
                    <a:lnTo>
                      <a:pt x="749" y="674"/>
                    </a:lnTo>
                    <a:lnTo>
                      <a:pt x="751" y="676"/>
                    </a:lnTo>
                    <a:lnTo>
                      <a:pt x="758" y="660"/>
                    </a:lnTo>
                    <a:lnTo>
                      <a:pt x="765" y="636"/>
                    </a:lnTo>
                    <a:lnTo>
                      <a:pt x="770" y="617"/>
                    </a:lnTo>
                    <a:lnTo>
                      <a:pt x="770" y="608"/>
                    </a:lnTo>
                    <a:lnTo>
                      <a:pt x="765" y="584"/>
                    </a:lnTo>
                    <a:lnTo>
                      <a:pt x="763" y="575"/>
                    </a:lnTo>
                    <a:lnTo>
                      <a:pt x="765" y="567"/>
                    </a:lnTo>
                    <a:lnTo>
                      <a:pt x="772" y="558"/>
                    </a:lnTo>
                    <a:lnTo>
                      <a:pt x="787" y="546"/>
                    </a:lnTo>
                    <a:lnTo>
                      <a:pt x="798" y="541"/>
                    </a:lnTo>
                    <a:lnTo>
                      <a:pt x="813" y="539"/>
                    </a:lnTo>
                    <a:lnTo>
                      <a:pt x="822" y="534"/>
                    </a:lnTo>
                    <a:lnTo>
                      <a:pt x="827" y="530"/>
                    </a:lnTo>
                    <a:lnTo>
                      <a:pt x="824" y="527"/>
                    </a:lnTo>
                    <a:lnTo>
                      <a:pt x="815" y="525"/>
                    </a:lnTo>
                    <a:lnTo>
                      <a:pt x="808" y="520"/>
                    </a:lnTo>
                    <a:lnTo>
                      <a:pt x="801" y="513"/>
                    </a:lnTo>
                    <a:lnTo>
                      <a:pt x="798" y="504"/>
                    </a:lnTo>
                    <a:lnTo>
                      <a:pt x="798" y="492"/>
                    </a:lnTo>
                    <a:lnTo>
                      <a:pt x="803" y="480"/>
                    </a:lnTo>
                    <a:lnTo>
                      <a:pt x="813" y="468"/>
                    </a:lnTo>
                    <a:lnTo>
                      <a:pt x="815" y="461"/>
                    </a:lnTo>
                    <a:lnTo>
                      <a:pt x="810" y="456"/>
                    </a:lnTo>
                    <a:lnTo>
                      <a:pt x="815" y="454"/>
                    </a:lnTo>
                    <a:lnTo>
                      <a:pt x="827" y="454"/>
                    </a:lnTo>
                    <a:lnTo>
                      <a:pt x="836" y="452"/>
                    </a:lnTo>
                    <a:lnTo>
                      <a:pt x="841" y="447"/>
                    </a:lnTo>
                    <a:lnTo>
                      <a:pt x="843" y="447"/>
                    </a:lnTo>
                    <a:close/>
                    <a:moveTo>
                      <a:pt x="730" y="501"/>
                    </a:moveTo>
                    <a:lnTo>
                      <a:pt x="725" y="504"/>
                    </a:lnTo>
                    <a:lnTo>
                      <a:pt x="723" y="501"/>
                    </a:lnTo>
                    <a:lnTo>
                      <a:pt x="720" y="492"/>
                    </a:lnTo>
                    <a:lnTo>
                      <a:pt x="725" y="473"/>
                    </a:lnTo>
                    <a:lnTo>
                      <a:pt x="728" y="466"/>
                    </a:lnTo>
                    <a:lnTo>
                      <a:pt x="737" y="468"/>
                    </a:lnTo>
                    <a:lnTo>
                      <a:pt x="735" y="470"/>
                    </a:lnTo>
                    <a:lnTo>
                      <a:pt x="739" y="487"/>
                    </a:lnTo>
                    <a:lnTo>
                      <a:pt x="737" y="496"/>
                    </a:lnTo>
                    <a:lnTo>
                      <a:pt x="730" y="501"/>
                    </a:lnTo>
                    <a:close/>
                    <a:moveTo>
                      <a:pt x="680" y="615"/>
                    </a:moveTo>
                    <a:lnTo>
                      <a:pt x="678" y="617"/>
                    </a:lnTo>
                    <a:lnTo>
                      <a:pt x="673" y="617"/>
                    </a:lnTo>
                    <a:lnTo>
                      <a:pt x="671" y="615"/>
                    </a:lnTo>
                    <a:lnTo>
                      <a:pt x="666" y="605"/>
                    </a:lnTo>
                    <a:lnTo>
                      <a:pt x="668" y="603"/>
                    </a:lnTo>
                    <a:lnTo>
                      <a:pt x="676" y="605"/>
                    </a:lnTo>
                    <a:lnTo>
                      <a:pt x="678" y="608"/>
                    </a:lnTo>
                    <a:lnTo>
                      <a:pt x="680" y="61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08" name="Freeform 65">
                <a:extLst>
                  <a:ext uri="{FF2B5EF4-FFF2-40B4-BE49-F238E27FC236}">
                    <a16:creationId xmlns:a16="http://schemas.microsoft.com/office/drawing/2014/main" id="{420BA8A9-31CE-449B-549B-F1E7CFAF7B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6" y="-875"/>
                <a:ext cx="1090" cy="1249"/>
              </a:xfrm>
              <a:custGeom>
                <a:avLst/>
                <a:gdLst>
                  <a:gd name="T0" fmla="*/ 574 w 1090"/>
                  <a:gd name="T1" fmla="*/ 154 h 1249"/>
                  <a:gd name="T2" fmla="*/ 619 w 1090"/>
                  <a:gd name="T3" fmla="*/ 166 h 1249"/>
                  <a:gd name="T4" fmla="*/ 669 w 1090"/>
                  <a:gd name="T5" fmla="*/ 192 h 1249"/>
                  <a:gd name="T6" fmla="*/ 693 w 1090"/>
                  <a:gd name="T7" fmla="*/ 225 h 1249"/>
                  <a:gd name="T8" fmla="*/ 740 w 1090"/>
                  <a:gd name="T9" fmla="*/ 218 h 1249"/>
                  <a:gd name="T10" fmla="*/ 813 w 1090"/>
                  <a:gd name="T11" fmla="*/ 265 h 1249"/>
                  <a:gd name="T12" fmla="*/ 879 w 1090"/>
                  <a:gd name="T13" fmla="*/ 234 h 1249"/>
                  <a:gd name="T14" fmla="*/ 915 w 1090"/>
                  <a:gd name="T15" fmla="*/ 246 h 1249"/>
                  <a:gd name="T16" fmla="*/ 983 w 1090"/>
                  <a:gd name="T17" fmla="*/ 248 h 1249"/>
                  <a:gd name="T18" fmla="*/ 1031 w 1090"/>
                  <a:gd name="T19" fmla="*/ 263 h 1249"/>
                  <a:gd name="T20" fmla="*/ 1090 w 1090"/>
                  <a:gd name="T21" fmla="*/ 263 h 1249"/>
                  <a:gd name="T22" fmla="*/ 1078 w 1090"/>
                  <a:gd name="T23" fmla="*/ 267 h 1249"/>
                  <a:gd name="T24" fmla="*/ 1033 w 1090"/>
                  <a:gd name="T25" fmla="*/ 300 h 1249"/>
                  <a:gd name="T26" fmla="*/ 915 w 1090"/>
                  <a:gd name="T27" fmla="*/ 362 h 1249"/>
                  <a:gd name="T28" fmla="*/ 804 w 1090"/>
                  <a:gd name="T29" fmla="*/ 480 h 1249"/>
                  <a:gd name="T30" fmla="*/ 740 w 1090"/>
                  <a:gd name="T31" fmla="*/ 546 h 1249"/>
                  <a:gd name="T32" fmla="*/ 723 w 1090"/>
                  <a:gd name="T33" fmla="*/ 565 h 1249"/>
                  <a:gd name="T34" fmla="*/ 716 w 1090"/>
                  <a:gd name="T35" fmla="*/ 629 h 1249"/>
                  <a:gd name="T36" fmla="*/ 714 w 1090"/>
                  <a:gd name="T37" fmla="*/ 693 h 1249"/>
                  <a:gd name="T38" fmla="*/ 662 w 1090"/>
                  <a:gd name="T39" fmla="*/ 731 h 1249"/>
                  <a:gd name="T40" fmla="*/ 636 w 1090"/>
                  <a:gd name="T41" fmla="*/ 773 h 1249"/>
                  <a:gd name="T42" fmla="*/ 655 w 1090"/>
                  <a:gd name="T43" fmla="*/ 806 h 1249"/>
                  <a:gd name="T44" fmla="*/ 667 w 1090"/>
                  <a:gd name="T45" fmla="*/ 842 h 1249"/>
                  <a:gd name="T46" fmla="*/ 657 w 1090"/>
                  <a:gd name="T47" fmla="*/ 899 h 1249"/>
                  <a:gd name="T48" fmla="*/ 657 w 1090"/>
                  <a:gd name="T49" fmla="*/ 936 h 1249"/>
                  <a:gd name="T50" fmla="*/ 660 w 1090"/>
                  <a:gd name="T51" fmla="*/ 979 h 1249"/>
                  <a:gd name="T52" fmla="*/ 695 w 1090"/>
                  <a:gd name="T53" fmla="*/ 1005 h 1249"/>
                  <a:gd name="T54" fmla="*/ 730 w 1090"/>
                  <a:gd name="T55" fmla="*/ 1026 h 1249"/>
                  <a:gd name="T56" fmla="*/ 771 w 1090"/>
                  <a:gd name="T57" fmla="*/ 1045 h 1249"/>
                  <a:gd name="T58" fmla="*/ 823 w 1090"/>
                  <a:gd name="T59" fmla="*/ 1100 h 1249"/>
                  <a:gd name="T60" fmla="*/ 886 w 1090"/>
                  <a:gd name="T61" fmla="*/ 1137 h 1249"/>
                  <a:gd name="T62" fmla="*/ 851 w 1090"/>
                  <a:gd name="T63" fmla="*/ 1232 h 1249"/>
                  <a:gd name="T64" fmla="*/ 702 w 1090"/>
                  <a:gd name="T65" fmla="*/ 1239 h 1249"/>
                  <a:gd name="T66" fmla="*/ 553 w 1090"/>
                  <a:gd name="T67" fmla="*/ 1244 h 1249"/>
                  <a:gd name="T68" fmla="*/ 402 w 1090"/>
                  <a:gd name="T69" fmla="*/ 1246 h 1249"/>
                  <a:gd name="T70" fmla="*/ 253 w 1090"/>
                  <a:gd name="T71" fmla="*/ 1249 h 1249"/>
                  <a:gd name="T72" fmla="*/ 102 w 1090"/>
                  <a:gd name="T73" fmla="*/ 1249 h 1249"/>
                  <a:gd name="T74" fmla="*/ 104 w 1090"/>
                  <a:gd name="T75" fmla="*/ 1107 h 1249"/>
                  <a:gd name="T76" fmla="*/ 104 w 1090"/>
                  <a:gd name="T77" fmla="*/ 962 h 1249"/>
                  <a:gd name="T78" fmla="*/ 92 w 1090"/>
                  <a:gd name="T79" fmla="*/ 854 h 1249"/>
                  <a:gd name="T80" fmla="*/ 52 w 1090"/>
                  <a:gd name="T81" fmla="*/ 814 h 1249"/>
                  <a:gd name="T82" fmla="*/ 52 w 1090"/>
                  <a:gd name="T83" fmla="*/ 792 h 1249"/>
                  <a:gd name="T84" fmla="*/ 85 w 1090"/>
                  <a:gd name="T85" fmla="*/ 752 h 1249"/>
                  <a:gd name="T86" fmla="*/ 90 w 1090"/>
                  <a:gd name="T87" fmla="*/ 691 h 1249"/>
                  <a:gd name="T88" fmla="*/ 83 w 1090"/>
                  <a:gd name="T89" fmla="*/ 650 h 1249"/>
                  <a:gd name="T90" fmla="*/ 57 w 1090"/>
                  <a:gd name="T91" fmla="*/ 582 h 1249"/>
                  <a:gd name="T92" fmla="*/ 62 w 1090"/>
                  <a:gd name="T93" fmla="*/ 523 h 1249"/>
                  <a:gd name="T94" fmla="*/ 50 w 1090"/>
                  <a:gd name="T95" fmla="*/ 428 h 1249"/>
                  <a:gd name="T96" fmla="*/ 36 w 1090"/>
                  <a:gd name="T97" fmla="*/ 345 h 1249"/>
                  <a:gd name="T98" fmla="*/ 28 w 1090"/>
                  <a:gd name="T99" fmla="*/ 310 h 1249"/>
                  <a:gd name="T100" fmla="*/ 12 w 1090"/>
                  <a:gd name="T101" fmla="*/ 232 h 1249"/>
                  <a:gd name="T102" fmla="*/ 10 w 1090"/>
                  <a:gd name="T103" fmla="*/ 180 h 1249"/>
                  <a:gd name="T104" fmla="*/ 0 w 1090"/>
                  <a:gd name="T105" fmla="*/ 81 h 1249"/>
                  <a:gd name="T106" fmla="*/ 137 w 1090"/>
                  <a:gd name="T107" fmla="*/ 83 h 1249"/>
                  <a:gd name="T108" fmla="*/ 291 w 1090"/>
                  <a:gd name="T109" fmla="*/ 83 h 1249"/>
                  <a:gd name="T110" fmla="*/ 322 w 1090"/>
                  <a:gd name="T111" fmla="*/ 5 h 1249"/>
                  <a:gd name="T112" fmla="*/ 331 w 1090"/>
                  <a:gd name="T113" fmla="*/ 24 h 1249"/>
                  <a:gd name="T114" fmla="*/ 355 w 1090"/>
                  <a:gd name="T115" fmla="*/ 109 h 1249"/>
                  <a:gd name="T116" fmla="*/ 359 w 1090"/>
                  <a:gd name="T117" fmla="*/ 128 h 1249"/>
                  <a:gd name="T118" fmla="*/ 447 w 1090"/>
                  <a:gd name="T119" fmla="*/ 151 h 1249"/>
                  <a:gd name="T120" fmla="*/ 496 w 1090"/>
                  <a:gd name="T121" fmla="*/ 177 h 1249"/>
                  <a:gd name="T122" fmla="*/ 544 w 1090"/>
                  <a:gd name="T123" fmla="*/ 156 h 1249"/>
                  <a:gd name="T124" fmla="*/ 544 w 1090"/>
                  <a:gd name="T125" fmla="*/ 156 h 1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90" h="1249">
                    <a:moveTo>
                      <a:pt x="544" y="156"/>
                    </a:moveTo>
                    <a:lnTo>
                      <a:pt x="560" y="154"/>
                    </a:lnTo>
                    <a:lnTo>
                      <a:pt x="574" y="154"/>
                    </a:lnTo>
                    <a:lnTo>
                      <a:pt x="589" y="156"/>
                    </a:lnTo>
                    <a:lnTo>
                      <a:pt x="598" y="156"/>
                    </a:lnTo>
                    <a:lnTo>
                      <a:pt x="619" y="166"/>
                    </a:lnTo>
                    <a:lnTo>
                      <a:pt x="636" y="173"/>
                    </a:lnTo>
                    <a:lnTo>
                      <a:pt x="657" y="187"/>
                    </a:lnTo>
                    <a:lnTo>
                      <a:pt x="669" y="192"/>
                    </a:lnTo>
                    <a:lnTo>
                      <a:pt x="676" y="206"/>
                    </a:lnTo>
                    <a:lnTo>
                      <a:pt x="683" y="225"/>
                    </a:lnTo>
                    <a:lnTo>
                      <a:pt x="693" y="225"/>
                    </a:lnTo>
                    <a:lnTo>
                      <a:pt x="700" y="213"/>
                    </a:lnTo>
                    <a:lnTo>
                      <a:pt x="716" y="211"/>
                    </a:lnTo>
                    <a:lnTo>
                      <a:pt x="740" y="218"/>
                    </a:lnTo>
                    <a:lnTo>
                      <a:pt x="764" y="239"/>
                    </a:lnTo>
                    <a:lnTo>
                      <a:pt x="794" y="258"/>
                    </a:lnTo>
                    <a:lnTo>
                      <a:pt x="813" y="265"/>
                    </a:lnTo>
                    <a:lnTo>
                      <a:pt x="832" y="265"/>
                    </a:lnTo>
                    <a:lnTo>
                      <a:pt x="856" y="253"/>
                    </a:lnTo>
                    <a:lnTo>
                      <a:pt x="879" y="234"/>
                    </a:lnTo>
                    <a:lnTo>
                      <a:pt x="896" y="230"/>
                    </a:lnTo>
                    <a:lnTo>
                      <a:pt x="908" y="230"/>
                    </a:lnTo>
                    <a:lnTo>
                      <a:pt x="915" y="246"/>
                    </a:lnTo>
                    <a:lnTo>
                      <a:pt x="922" y="251"/>
                    </a:lnTo>
                    <a:lnTo>
                      <a:pt x="941" y="248"/>
                    </a:lnTo>
                    <a:lnTo>
                      <a:pt x="983" y="248"/>
                    </a:lnTo>
                    <a:lnTo>
                      <a:pt x="1014" y="241"/>
                    </a:lnTo>
                    <a:lnTo>
                      <a:pt x="1024" y="251"/>
                    </a:lnTo>
                    <a:lnTo>
                      <a:pt x="1031" y="263"/>
                    </a:lnTo>
                    <a:lnTo>
                      <a:pt x="1045" y="265"/>
                    </a:lnTo>
                    <a:lnTo>
                      <a:pt x="1061" y="260"/>
                    </a:lnTo>
                    <a:lnTo>
                      <a:pt x="1090" y="263"/>
                    </a:lnTo>
                    <a:lnTo>
                      <a:pt x="1087" y="265"/>
                    </a:lnTo>
                    <a:lnTo>
                      <a:pt x="1083" y="263"/>
                    </a:lnTo>
                    <a:lnTo>
                      <a:pt x="1078" y="267"/>
                    </a:lnTo>
                    <a:lnTo>
                      <a:pt x="1071" y="274"/>
                    </a:lnTo>
                    <a:lnTo>
                      <a:pt x="1057" y="286"/>
                    </a:lnTo>
                    <a:lnTo>
                      <a:pt x="1033" y="300"/>
                    </a:lnTo>
                    <a:lnTo>
                      <a:pt x="1005" y="312"/>
                    </a:lnTo>
                    <a:lnTo>
                      <a:pt x="948" y="338"/>
                    </a:lnTo>
                    <a:lnTo>
                      <a:pt x="915" y="362"/>
                    </a:lnTo>
                    <a:lnTo>
                      <a:pt x="898" y="376"/>
                    </a:lnTo>
                    <a:lnTo>
                      <a:pt x="842" y="445"/>
                    </a:lnTo>
                    <a:lnTo>
                      <a:pt x="804" y="480"/>
                    </a:lnTo>
                    <a:lnTo>
                      <a:pt x="747" y="532"/>
                    </a:lnTo>
                    <a:lnTo>
                      <a:pt x="740" y="539"/>
                    </a:lnTo>
                    <a:lnTo>
                      <a:pt x="740" y="546"/>
                    </a:lnTo>
                    <a:lnTo>
                      <a:pt x="738" y="546"/>
                    </a:lnTo>
                    <a:lnTo>
                      <a:pt x="728" y="558"/>
                    </a:lnTo>
                    <a:lnTo>
                      <a:pt x="723" y="565"/>
                    </a:lnTo>
                    <a:lnTo>
                      <a:pt x="714" y="568"/>
                    </a:lnTo>
                    <a:lnTo>
                      <a:pt x="716" y="598"/>
                    </a:lnTo>
                    <a:lnTo>
                      <a:pt x="716" y="629"/>
                    </a:lnTo>
                    <a:lnTo>
                      <a:pt x="719" y="660"/>
                    </a:lnTo>
                    <a:lnTo>
                      <a:pt x="719" y="691"/>
                    </a:lnTo>
                    <a:lnTo>
                      <a:pt x="714" y="693"/>
                    </a:lnTo>
                    <a:lnTo>
                      <a:pt x="709" y="700"/>
                    </a:lnTo>
                    <a:lnTo>
                      <a:pt x="700" y="702"/>
                    </a:lnTo>
                    <a:lnTo>
                      <a:pt x="662" y="731"/>
                    </a:lnTo>
                    <a:lnTo>
                      <a:pt x="655" y="738"/>
                    </a:lnTo>
                    <a:lnTo>
                      <a:pt x="648" y="754"/>
                    </a:lnTo>
                    <a:lnTo>
                      <a:pt x="636" y="773"/>
                    </a:lnTo>
                    <a:lnTo>
                      <a:pt x="634" y="783"/>
                    </a:lnTo>
                    <a:lnTo>
                      <a:pt x="634" y="797"/>
                    </a:lnTo>
                    <a:lnTo>
                      <a:pt x="655" y="806"/>
                    </a:lnTo>
                    <a:lnTo>
                      <a:pt x="662" y="818"/>
                    </a:lnTo>
                    <a:lnTo>
                      <a:pt x="667" y="830"/>
                    </a:lnTo>
                    <a:lnTo>
                      <a:pt x="667" y="842"/>
                    </a:lnTo>
                    <a:lnTo>
                      <a:pt x="657" y="863"/>
                    </a:lnTo>
                    <a:lnTo>
                      <a:pt x="655" y="873"/>
                    </a:lnTo>
                    <a:lnTo>
                      <a:pt x="657" y="899"/>
                    </a:lnTo>
                    <a:lnTo>
                      <a:pt x="652" y="908"/>
                    </a:lnTo>
                    <a:lnTo>
                      <a:pt x="657" y="929"/>
                    </a:lnTo>
                    <a:lnTo>
                      <a:pt x="657" y="936"/>
                    </a:lnTo>
                    <a:lnTo>
                      <a:pt x="655" y="960"/>
                    </a:lnTo>
                    <a:lnTo>
                      <a:pt x="655" y="967"/>
                    </a:lnTo>
                    <a:lnTo>
                      <a:pt x="660" y="979"/>
                    </a:lnTo>
                    <a:lnTo>
                      <a:pt x="660" y="981"/>
                    </a:lnTo>
                    <a:lnTo>
                      <a:pt x="678" y="998"/>
                    </a:lnTo>
                    <a:lnTo>
                      <a:pt x="695" y="1005"/>
                    </a:lnTo>
                    <a:lnTo>
                      <a:pt x="709" y="1007"/>
                    </a:lnTo>
                    <a:lnTo>
                      <a:pt x="721" y="1015"/>
                    </a:lnTo>
                    <a:lnTo>
                      <a:pt x="730" y="1026"/>
                    </a:lnTo>
                    <a:lnTo>
                      <a:pt x="740" y="1033"/>
                    </a:lnTo>
                    <a:lnTo>
                      <a:pt x="754" y="1036"/>
                    </a:lnTo>
                    <a:lnTo>
                      <a:pt x="771" y="1045"/>
                    </a:lnTo>
                    <a:lnTo>
                      <a:pt x="792" y="1069"/>
                    </a:lnTo>
                    <a:lnTo>
                      <a:pt x="804" y="1088"/>
                    </a:lnTo>
                    <a:lnTo>
                      <a:pt x="823" y="1100"/>
                    </a:lnTo>
                    <a:lnTo>
                      <a:pt x="856" y="1114"/>
                    </a:lnTo>
                    <a:lnTo>
                      <a:pt x="875" y="1128"/>
                    </a:lnTo>
                    <a:lnTo>
                      <a:pt x="886" y="1137"/>
                    </a:lnTo>
                    <a:lnTo>
                      <a:pt x="894" y="1166"/>
                    </a:lnTo>
                    <a:lnTo>
                      <a:pt x="903" y="1230"/>
                    </a:lnTo>
                    <a:lnTo>
                      <a:pt x="851" y="1232"/>
                    </a:lnTo>
                    <a:lnTo>
                      <a:pt x="801" y="1234"/>
                    </a:lnTo>
                    <a:lnTo>
                      <a:pt x="752" y="1237"/>
                    </a:lnTo>
                    <a:lnTo>
                      <a:pt x="702" y="1239"/>
                    </a:lnTo>
                    <a:lnTo>
                      <a:pt x="652" y="1239"/>
                    </a:lnTo>
                    <a:lnTo>
                      <a:pt x="603" y="1242"/>
                    </a:lnTo>
                    <a:lnTo>
                      <a:pt x="553" y="1244"/>
                    </a:lnTo>
                    <a:lnTo>
                      <a:pt x="501" y="1244"/>
                    </a:lnTo>
                    <a:lnTo>
                      <a:pt x="452" y="1246"/>
                    </a:lnTo>
                    <a:lnTo>
                      <a:pt x="402" y="1246"/>
                    </a:lnTo>
                    <a:lnTo>
                      <a:pt x="352" y="1246"/>
                    </a:lnTo>
                    <a:lnTo>
                      <a:pt x="303" y="1249"/>
                    </a:lnTo>
                    <a:lnTo>
                      <a:pt x="253" y="1249"/>
                    </a:lnTo>
                    <a:lnTo>
                      <a:pt x="203" y="1249"/>
                    </a:lnTo>
                    <a:lnTo>
                      <a:pt x="154" y="1249"/>
                    </a:lnTo>
                    <a:lnTo>
                      <a:pt x="102" y="1249"/>
                    </a:lnTo>
                    <a:lnTo>
                      <a:pt x="104" y="1201"/>
                    </a:lnTo>
                    <a:lnTo>
                      <a:pt x="104" y="1154"/>
                    </a:lnTo>
                    <a:lnTo>
                      <a:pt x="104" y="1107"/>
                    </a:lnTo>
                    <a:lnTo>
                      <a:pt x="104" y="1059"/>
                    </a:lnTo>
                    <a:lnTo>
                      <a:pt x="104" y="1010"/>
                    </a:lnTo>
                    <a:lnTo>
                      <a:pt x="104" y="962"/>
                    </a:lnTo>
                    <a:lnTo>
                      <a:pt x="104" y="915"/>
                    </a:lnTo>
                    <a:lnTo>
                      <a:pt x="104" y="868"/>
                    </a:lnTo>
                    <a:lnTo>
                      <a:pt x="92" y="854"/>
                    </a:lnTo>
                    <a:lnTo>
                      <a:pt x="69" y="840"/>
                    </a:lnTo>
                    <a:lnTo>
                      <a:pt x="62" y="832"/>
                    </a:lnTo>
                    <a:lnTo>
                      <a:pt x="52" y="814"/>
                    </a:lnTo>
                    <a:lnTo>
                      <a:pt x="47" y="804"/>
                    </a:lnTo>
                    <a:lnTo>
                      <a:pt x="45" y="799"/>
                    </a:lnTo>
                    <a:lnTo>
                      <a:pt x="52" y="792"/>
                    </a:lnTo>
                    <a:lnTo>
                      <a:pt x="73" y="771"/>
                    </a:lnTo>
                    <a:lnTo>
                      <a:pt x="80" y="762"/>
                    </a:lnTo>
                    <a:lnTo>
                      <a:pt x="85" y="752"/>
                    </a:lnTo>
                    <a:lnTo>
                      <a:pt x="90" y="731"/>
                    </a:lnTo>
                    <a:lnTo>
                      <a:pt x="88" y="714"/>
                    </a:lnTo>
                    <a:lnTo>
                      <a:pt x="90" y="691"/>
                    </a:lnTo>
                    <a:lnTo>
                      <a:pt x="85" y="672"/>
                    </a:lnTo>
                    <a:lnTo>
                      <a:pt x="85" y="662"/>
                    </a:lnTo>
                    <a:lnTo>
                      <a:pt x="83" y="650"/>
                    </a:lnTo>
                    <a:lnTo>
                      <a:pt x="66" y="620"/>
                    </a:lnTo>
                    <a:lnTo>
                      <a:pt x="62" y="594"/>
                    </a:lnTo>
                    <a:lnTo>
                      <a:pt x="57" y="582"/>
                    </a:lnTo>
                    <a:lnTo>
                      <a:pt x="57" y="549"/>
                    </a:lnTo>
                    <a:lnTo>
                      <a:pt x="57" y="542"/>
                    </a:lnTo>
                    <a:lnTo>
                      <a:pt x="62" y="523"/>
                    </a:lnTo>
                    <a:lnTo>
                      <a:pt x="54" y="513"/>
                    </a:lnTo>
                    <a:lnTo>
                      <a:pt x="52" y="504"/>
                    </a:lnTo>
                    <a:lnTo>
                      <a:pt x="50" y="428"/>
                    </a:lnTo>
                    <a:lnTo>
                      <a:pt x="47" y="416"/>
                    </a:lnTo>
                    <a:lnTo>
                      <a:pt x="50" y="381"/>
                    </a:lnTo>
                    <a:lnTo>
                      <a:pt x="36" y="345"/>
                    </a:lnTo>
                    <a:lnTo>
                      <a:pt x="31" y="331"/>
                    </a:lnTo>
                    <a:lnTo>
                      <a:pt x="28" y="317"/>
                    </a:lnTo>
                    <a:lnTo>
                      <a:pt x="28" y="310"/>
                    </a:lnTo>
                    <a:lnTo>
                      <a:pt x="19" y="284"/>
                    </a:lnTo>
                    <a:lnTo>
                      <a:pt x="12" y="256"/>
                    </a:lnTo>
                    <a:lnTo>
                      <a:pt x="12" y="232"/>
                    </a:lnTo>
                    <a:lnTo>
                      <a:pt x="12" y="215"/>
                    </a:lnTo>
                    <a:lnTo>
                      <a:pt x="12" y="201"/>
                    </a:lnTo>
                    <a:lnTo>
                      <a:pt x="10" y="180"/>
                    </a:lnTo>
                    <a:lnTo>
                      <a:pt x="12" y="166"/>
                    </a:lnTo>
                    <a:lnTo>
                      <a:pt x="12" y="149"/>
                    </a:lnTo>
                    <a:lnTo>
                      <a:pt x="0" y="81"/>
                    </a:lnTo>
                    <a:lnTo>
                      <a:pt x="17" y="81"/>
                    </a:lnTo>
                    <a:lnTo>
                      <a:pt x="78" y="83"/>
                    </a:lnTo>
                    <a:lnTo>
                      <a:pt x="137" y="83"/>
                    </a:lnTo>
                    <a:lnTo>
                      <a:pt x="196" y="83"/>
                    </a:lnTo>
                    <a:lnTo>
                      <a:pt x="258" y="83"/>
                    </a:lnTo>
                    <a:lnTo>
                      <a:pt x="291" y="83"/>
                    </a:lnTo>
                    <a:lnTo>
                      <a:pt x="291" y="36"/>
                    </a:lnTo>
                    <a:lnTo>
                      <a:pt x="291" y="0"/>
                    </a:lnTo>
                    <a:lnTo>
                      <a:pt x="322" y="5"/>
                    </a:lnTo>
                    <a:lnTo>
                      <a:pt x="331" y="12"/>
                    </a:lnTo>
                    <a:lnTo>
                      <a:pt x="333" y="14"/>
                    </a:lnTo>
                    <a:lnTo>
                      <a:pt x="331" y="24"/>
                    </a:lnTo>
                    <a:lnTo>
                      <a:pt x="336" y="55"/>
                    </a:lnTo>
                    <a:lnTo>
                      <a:pt x="340" y="78"/>
                    </a:lnTo>
                    <a:lnTo>
                      <a:pt x="355" y="109"/>
                    </a:lnTo>
                    <a:lnTo>
                      <a:pt x="355" y="109"/>
                    </a:lnTo>
                    <a:lnTo>
                      <a:pt x="355" y="121"/>
                    </a:lnTo>
                    <a:lnTo>
                      <a:pt x="359" y="128"/>
                    </a:lnTo>
                    <a:lnTo>
                      <a:pt x="366" y="135"/>
                    </a:lnTo>
                    <a:lnTo>
                      <a:pt x="397" y="142"/>
                    </a:lnTo>
                    <a:lnTo>
                      <a:pt x="447" y="151"/>
                    </a:lnTo>
                    <a:lnTo>
                      <a:pt x="478" y="161"/>
                    </a:lnTo>
                    <a:lnTo>
                      <a:pt x="485" y="173"/>
                    </a:lnTo>
                    <a:lnTo>
                      <a:pt x="496" y="177"/>
                    </a:lnTo>
                    <a:lnTo>
                      <a:pt x="518" y="175"/>
                    </a:lnTo>
                    <a:lnTo>
                      <a:pt x="532" y="170"/>
                    </a:lnTo>
                    <a:lnTo>
                      <a:pt x="544" y="156"/>
                    </a:lnTo>
                    <a:close/>
                    <a:moveTo>
                      <a:pt x="544" y="156"/>
                    </a:moveTo>
                    <a:lnTo>
                      <a:pt x="544" y="159"/>
                    </a:lnTo>
                    <a:lnTo>
                      <a:pt x="544" y="156"/>
                    </a:lnTo>
                    <a:lnTo>
                      <a:pt x="544" y="1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09" name="Freeform 66">
                <a:extLst>
                  <a:ext uri="{FF2B5EF4-FFF2-40B4-BE49-F238E27FC236}">
                    <a16:creationId xmlns:a16="http://schemas.microsoft.com/office/drawing/2014/main" id="{2EBE26C2-6BDE-DDCE-23C9-FF7DA7A1E8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6" y="962"/>
                <a:ext cx="1123" cy="960"/>
              </a:xfrm>
              <a:custGeom>
                <a:avLst/>
                <a:gdLst>
                  <a:gd name="T0" fmla="*/ 688 w 1123"/>
                  <a:gd name="T1" fmla="*/ 109 h 960"/>
                  <a:gd name="T2" fmla="*/ 712 w 1123"/>
                  <a:gd name="T3" fmla="*/ 182 h 960"/>
                  <a:gd name="T4" fmla="*/ 823 w 1123"/>
                  <a:gd name="T5" fmla="*/ 296 h 960"/>
                  <a:gd name="T6" fmla="*/ 868 w 1123"/>
                  <a:gd name="T7" fmla="*/ 341 h 960"/>
                  <a:gd name="T8" fmla="*/ 922 w 1123"/>
                  <a:gd name="T9" fmla="*/ 357 h 960"/>
                  <a:gd name="T10" fmla="*/ 927 w 1123"/>
                  <a:gd name="T11" fmla="*/ 364 h 960"/>
                  <a:gd name="T12" fmla="*/ 894 w 1123"/>
                  <a:gd name="T13" fmla="*/ 476 h 960"/>
                  <a:gd name="T14" fmla="*/ 929 w 1123"/>
                  <a:gd name="T15" fmla="*/ 523 h 960"/>
                  <a:gd name="T16" fmla="*/ 991 w 1123"/>
                  <a:gd name="T17" fmla="*/ 558 h 960"/>
                  <a:gd name="T18" fmla="*/ 1045 w 1123"/>
                  <a:gd name="T19" fmla="*/ 620 h 960"/>
                  <a:gd name="T20" fmla="*/ 1057 w 1123"/>
                  <a:gd name="T21" fmla="*/ 662 h 960"/>
                  <a:gd name="T22" fmla="*/ 1069 w 1123"/>
                  <a:gd name="T23" fmla="*/ 717 h 960"/>
                  <a:gd name="T24" fmla="*/ 1093 w 1123"/>
                  <a:gd name="T25" fmla="*/ 733 h 960"/>
                  <a:gd name="T26" fmla="*/ 1090 w 1123"/>
                  <a:gd name="T27" fmla="*/ 726 h 960"/>
                  <a:gd name="T28" fmla="*/ 1095 w 1123"/>
                  <a:gd name="T29" fmla="*/ 719 h 960"/>
                  <a:gd name="T30" fmla="*/ 1121 w 1123"/>
                  <a:gd name="T31" fmla="*/ 752 h 960"/>
                  <a:gd name="T32" fmla="*/ 1114 w 1123"/>
                  <a:gd name="T33" fmla="*/ 814 h 960"/>
                  <a:gd name="T34" fmla="*/ 1093 w 1123"/>
                  <a:gd name="T35" fmla="*/ 818 h 960"/>
                  <a:gd name="T36" fmla="*/ 1074 w 1123"/>
                  <a:gd name="T37" fmla="*/ 844 h 960"/>
                  <a:gd name="T38" fmla="*/ 1067 w 1123"/>
                  <a:gd name="T39" fmla="*/ 844 h 960"/>
                  <a:gd name="T40" fmla="*/ 1059 w 1123"/>
                  <a:gd name="T41" fmla="*/ 833 h 960"/>
                  <a:gd name="T42" fmla="*/ 1055 w 1123"/>
                  <a:gd name="T43" fmla="*/ 837 h 960"/>
                  <a:gd name="T44" fmla="*/ 1059 w 1123"/>
                  <a:gd name="T45" fmla="*/ 861 h 960"/>
                  <a:gd name="T46" fmla="*/ 1048 w 1123"/>
                  <a:gd name="T47" fmla="*/ 882 h 960"/>
                  <a:gd name="T48" fmla="*/ 1052 w 1123"/>
                  <a:gd name="T49" fmla="*/ 897 h 960"/>
                  <a:gd name="T50" fmla="*/ 1038 w 1123"/>
                  <a:gd name="T51" fmla="*/ 906 h 960"/>
                  <a:gd name="T52" fmla="*/ 1038 w 1123"/>
                  <a:gd name="T53" fmla="*/ 946 h 960"/>
                  <a:gd name="T54" fmla="*/ 979 w 1123"/>
                  <a:gd name="T55" fmla="*/ 956 h 960"/>
                  <a:gd name="T56" fmla="*/ 934 w 1123"/>
                  <a:gd name="T57" fmla="*/ 937 h 960"/>
                  <a:gd name="T58" fmla="*/ 958 w 1123"/>
                  <a:gd name="T59" fmla="*/ 911 h 960"/>
                  <a:gd name="T60" fmla="*/ 970 w 1123"/>
                  <a:gd name="T61" fmla="*/ 878 h 960"/>
                  <a:gd name="T62" fmla="*/ 906 w 1123"/>
                  <a:gd name="T63" fmla="*/ 854 h 960"/>
                  <a:gd name="T64" fmla="*/ 764 w 1123"/>
                  <a:gd name="T65" fmla="*/ 863 h 960"/>
                  <a:gd name="T66" fmla="*/ 622 w 1123"/>
                  <a:gd name="T67" fmla="*/ 870 h 960"/>
                  <a:gd name="T68" fmla="*/ 480 w 1123"/>
                  <a:gd name="T69" fmla="*/ 875 h 960"/>
                  <a:gd name="T70" fmla="*/ 338 w 1123"/>
                  <a:gd name="T71" fmla="*/ 880 h 960"/>
                  <a:gd name="T72" fmla="*/ 197 w 1123"/>
                  <a:gd name="T73" fmla="*/ 882 h 960"/>
                  <a:gd name="T74" fmla="*/ 197 w 1123"/>
                  <a:gd name="T75" fmla="*/ 802 h 960"/>
                  <a:gd name="T76" fmla="*/ 194 w 1123"/>
                  <a:gd name="T77" fmla="*/ 722 h 960"/>
                  <a:gd name="T78" fmla="*/ 192 w 1123"/>
                  <a:gd name="T79" fmla="*/ 639 h 960"/>
                  <a:gd name="T80" fmla="*/ 192 w 1123"/>
                  <a:gd name="T81" fmla="*/ 558 h 960"/>
                  <a:gd name="T82" fmla="*/ 190 w 1123"/>
                  <a:gd name="T83" fmla="*/ 476 h 960"/>
                  <a:gd name="T84" fmla="*/ 190 w 1123"/>
                  <a:gd name="T85" fmla="*/ 393 h 960"/>
                  <a:gd name="T86" fmla="*/ 187 w 1123"/>
                  <a:gd name="T87" fmla="*/ 331 h 960"/>
                  <a:gd name="T88" fmla="*/ 145 w 1123"/>
                  <a:gd name="T89" fmla="*/ 284 h 960"/>
                  <a:gd name="T90" fmla="*/ 112 w 1123"/>
                  <a:gd name="T91" fmla="*/ 232 h 960"/>
                  <a:gd name="T92" fmla="*/ 140 w 1123"/>
                  <a:gd name="T93" fmla="*/ 201 h 960"/>
                  <a:gd name="T94" fmla="*/ 126 w 1123"/>
                  <a:gd name="T95" fmla="*/ 171 h 960"/>
                  <a:gd name="T96" fmla="*/ 67 w 1123"/>
                  <a:gd name="T97" fmla="*/ 147 h 960"/>
                  <a:gd name="T98" fmla="*/ 48 w 1123"/>
                  <a:gd name="T99" fmla="*/ 107 h 960"/>
                  <a:gd name="T100" fmla="*/ 17 w 1123"/>
                  <a:gd name="T101" fmla="*/ 71 h 960"/>
                  <a:gd name="T102" fmla="*/ 0 w 1123"/>
                  <a:gd name="T103" fmla="*/ 22 h 960"/>
                  <a:gd name="T104" fmla="*/ 121 w 1123"/>
                  <a:gd name="T105" fmla="*/ 19 h 960"/>
                  <a:gd name="T106" fmla="*/ 242 w 1123"/>
                  <a:gd name="T107" fmla="*/ 17 h 960"/>
                  <a:gd name="T108" fmla="*/ 362 w 1123"/>
                  <a:gd name="T109" fmla="*/ 12 h 960"/>
                  <a:gd name="T110" fmla="*/ 485 w 1123"/>
                  <a:gd name="T111" fmla="*/ 7 h 960"/>
                  <a:gd name="T112" fmla="*/ 606 w 1123"/>
                  <a:gd name="T113" fmla="*/ 3 h 960"/>
                  <a:gd name="T114" fmla="*/ 662 w 1123"/>
                  <a:gd name="T115" fmla="*/ 19 h 960"/>
                  <a:gd name="T116" fmla="*/ 679 w 1123"/>
                  <a:gd name="T117" fmla="*/ 41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123" h="960">
                    <a:moveTo>
                      <a:pt x="695" y="50"/>
                    </a:moveTo>
                    <a:lnTo>
                      <a:pt x="686" y="83"/>
                    </a:lnTo>
                    <a:lnTo>
                      <a:pt x="688" y="109"/>
                    </a:lnTo>
                    <a:lnTo>
                      <a:pt x="695" y="142"/>
                    </a:lnTo>
                    <a:lnTo>
                      <a:pt x="702" y="166"/>
                    </a:lnTo>
                    <a:lnTo>
                      <a:pt x="712" y="182"/>
                    </a:lnTo>
                    <a:lnTo>
                      <a:pt x="740" y="211"/>
                    </a:lnTo>
                    <a:lnTo>
                      <a:pt x="790" y="253"/>
                    </a:lnTo>
                    <a:lnTo>
                      <a:pt x="823" y="296"/>
                    </a:lnTo>
                    <a:lnTo>
                      <a:pt x="837" y="336"/>
                    </a:lnTo>
                    <a:lnTo>
                      <a:pt x="851" y="350"/>
                    </a:lnTo>
                    <a:lnTo>
                      <a:pt x="868" y="341"/>
                    </a:lnTo>
                    <a:lnTo>
                      <a:pt x="889" y="343"/>
                    </a:lnTo>
                    <a:lnTo>
                      <a:pt x="911" y="350"/>
                    </a:lnTo>
                    <a:lnTo>
                      <a:pt x="922" y="357"/>
                    </a:lnTo>
                    <a:lnTo>
                      <a:pt x="925" y="360"/>
                    </a:lnTo>
                    <a:lnTo>
                      <a:pt x="927" y="362"/>
                    </a:lnTo>
                    <a:lnTo>
                      <a:pt x="927" y="364"/>
                    </a:lnTo>
                    <a:lnTo>
                      <a:pt x="925" y="374"/>
                    </a:lnTo>
                    <a:lnTo>
                      <a:pt x="901" y="443"/>
                    </a:lnTo>
                    <a:lnTo>
                      <a:pt x="894" y="476"/>
                    </a:lnTo>
                    <a:lnTo>
                      <a:pt x="894" y="485"/>
                    </a:lnTo>
                    <a:lnTo>
                      <a:pt x="908" y="502"/>
                    </a:lnTo>
                    <a:lnTo>
                      <a:pt x="929" y="523"/>
                    </a:lnTo>
                    <a:lnTo>
                      <a:pt x="948" y="537"/>
                    </a:lnTo>
                    <a:lnTo>
                      <a:pt x="965" y="542"/>
                    </a:lnTo>
                    <a:lnTo>
                      <a:pt x="991" y="558"/>
                    </a:lnTo>
                    <a:lnTo>
                      <a:pt x="1026" y="584"/>
                    </a:lnTo>
                    <a:lnTo>
                      <a:pt x="1043" y="606"/>
                    </a:lnTo>
                    <a:lnTo>
                      <a:pt x="1045" y="620"/>
                    </a:lnTo>
                    <a:lnTo>
                      <a:pt x="1050" y="634"/>
                    </a:lnTo>
                    <a:lnTo>
                      <a:pt x="1057" y="648"/>
                    </a:lnTo>
                    <a:lnTo>
                      <a:pt x="1057" y="662"/>
                    </a:lnTo>
                    <a:lnTo>
                      <a:pt x="1052" y="677"/>
                    </a:lnTo>
                    <a:lnTo>
                      <a:pt x="1057" y="696"/>
                    </a:lnTo>
                    <a:lnTo>
                      <a:pt x="1069" y="717"/>
                    </a:lnTo>
                    <a:lnTo>
                      <a:pt x="1081" y="731"/>
                    </a:lnTo>
                    <a:lnTo>
                      <a:pt x="1090" y="733"/>
                    </a:lnTo>
                    <a:lnTo>
                      <a:pt x="1093" y="733"/>
                    </a:lnTo>
                    <a:lnTo>
                      <a:pt x="1093" y="731"/>
                    </a:lnTo>
                    <a:lnTo>
                      <a:pt x="1090" y="729"/>
                    </a:lnTo>
                    <a:lnTo>
                      <a:pt x="1090" y="726"/>
                    </a:lnTo>
                    <a:lnTo>
                      <a:pt x="1090" y="722"/>
                    </a:lnTo>
                    <a:lnTo>
                      <a:pt x="1093" y="722"/>
                    </a:lnTo>
                    <a:lnTo>
                      <a:pt x="1095" y="719"/>
                    </a:lnTo>
                    <a:lnTo>
                      <a:pt x="1102" y="724"/>
                    </a:lnTo>
                    <a:lnTo>
                      <a:pt x="1116" y="736"/>
                    </a:lnTo>
                    <a:lnTo>
                      <a:pt x="1121" y="752"/>
                    </a:lnTo>
                    <a:lnTo>
                      <a:pt x="1123" y="774"/>
                    </a:lnTo>
                    <a:lnTo>
                      <a:pt x="1119" y="795"/>
                    </a:lnTo>
                    <a:lnTo>
                      <a:pt x="1114" y="814"/>
                    </a:lnTo>
                    <a:lnTo>
                      <a:pt x="1104" y="821"/>
                    </a:lnTo>
                    <a:lnTo>
                      <a:pt x="1100" y="821"/>
                    </a:lnTo>
                    <a:lnTo>
                      <a:pt x="1093" y="818"/>
                    </a:lnTo>
                    <a:lnTo>
                      <a:pt x="1088" y="818"/>
                    </a:lnTo>
                    <a:lnTo>
                      <a:pt x="1081" y="826"/>
                    </a:lnTo>
                    <a:lnTo>
                      <a:pt x="1074" y="844"/>
                    </a:lnTo>
                    <a:lnTo>
                      <a:pt x="1074" y="844"/>
                    </a:lnTo>
                    <a:lnTo>
                      <a:pt x="1069" y="847"/>
                    </a:lnTo>
                    <a:lnTo>
                      <a:pt x="1067" y="844"/>
                    </a:lnTo>
                    <a:lnTo>
                      <a:pt x="1067" y="844"/>
                    </a:lnTo>
                    <a:lnTo>
                      <a:pt x="1064" y="837"/>
                    </a:lnTo>
                    <a:lnTo>
                      <a:pt x="1059" y="833"/>
                    </a:lnTo>
                    <a:lnTo>
                      <a:pt x="1057" y="833"/>
                    </a:lnTo>
                    <a:lnTo>
                      <a:pt x="1055" y="833"/>
                    </a:lnTo>
                    <a:lnTo>
                      <a:pt x="1055" y="837"/>
                    </a:lnTo>
                    <a:lnTo>
                      <a:pt x="1055" y="842"/>
                    </a:lnTo>
                    <a:lnTo>
                      <a:pt x="1055" y="844"/>
                    </a:lnTo>
                    <a:lnTo>
                      <a:pt x="1059" y="861"/>
                    </a:lnTo>
                    <a:lnTo>
                      <a:pt x="1057" y="870"/>
                    </a:lnTo>
                    <a:lnTo>
                      <a:pt x="1050" y="878"/>
                    </a:lnTo>
                    <a:lnTo>
                      <a:pt x="1048" y="882"/>
                    </a:lnTo>
                    <a:lnTo>
                      <a:pt x="1055" y="889"/>
                    </a:lnTo>
                    <a:lnTo>
                      <a:pt x="1055" y="894"/>
                    </a:lnTo>
                    <a:lnTo>
                      <a:pt x="1052" y="897"/>
                    </a:lnTo>
                    <a:lnTo>
                      <a:pt x="1048" y="897"/>
                    </a:lnTo>
                    <a:lnTo>
                      <a:pt x="1043" y="899"/>
                    </a:lnTo>
                    <a:lnTo>
                      <a:pt x="1038" y="906"/>
                    </a:lnTo>
                    <a:lnTo>
                      <a:pt x="1048" y="915"/>
                    </a:lnTo>
                    <a:lnTo>
                      <a:pt x="1045" y="930"/>
                    </a:lnTo>
                    <a:lnTo>
                      <a:pt x="1038" y="946"/>
                    </a:lnTo>
                    <a:lnTo>
                      <a:pt x="1038" y="951"/>
                    </a:lnTo>
                    <a:lnTo>
                      <a:pt x="1005" y="953"/>
                    </a:lnTo>
                    <a:lnTo>
                      <a:pt x="979" y="956"/>
                    </a:lnTo>
                    <a:lnTo>
                      <a:pt x="951" y="958"/>
                    </a:lnTo>
                    <a:lnTo>
                      <a:pt x="922" y="960"/>
                    </a:lnTo>
                    <a:lnTo>
                      <a:pt x="934" y="937"/>
                    </a:lnTo>
                    <a:lnTo>
                      <a:pt x="941" y="930"/>
                    </a:lnTo>
                    <a:lnTo>
                      <a:pt x="948" y="920"/>
                    </a:lnTo>
                    <a:lnTo>
                      <a:pt x="958" y="911"/>
                    </a:lnTo>
                    <a:lnTo>
                      <a:pt x="970" y="894"/>
                    </a:lnTo>
                    <a:lnTo>
                      <a:pt x="972" y="885"/>
                    </a:lnTo>
                    <a:lnTo>
                      <a:pt x="970" y="878"/>
                    </a:lnTo>
                    <a:lnTo>
                      <a:pt x="960" y="868"/>
                    </a:lnTo>
                    <a:lnTo>
                      <a:pt x="953" y="852"/>
                    </a:lnTo>
                    <a:lnTo>
                      <a:pt x="906" y="854"/>
                    </a:lnTo>
                    <a:lnTo>
                      <a:pt x="859" y="859"/>
                    </a:lnTo>
                    <a:lnTo>
                      <a:pt x="811" y="861"/>
                    </a:lnTo>
                    <a:lnTo>
                      <a:pt x="764" y="863"/>
                    </a:lnTo>
                    <a:lnTo>
                      <a:pt x="717" y="866"/>
                    </a:lnTo>
                    <a:lnTo>
                      <a:pt x="669" y="868"/>
                    </a:lnTo>
                    <a:lnTo>
                      <a:pt x="622" y="870"/>
                    </a:lnTo>
                    <a:lnTo>
                      <a:pt x="575" y="870"/>
                    </a:lnTo>
                    <a:lnTo>
                      <a:pt x="528" y="873"/>
                    </a:lnTo>
                    <a:lnTo>
                      <a:pt x="480" y="875"/>
                    </a:lnTo>
                    <a:lnTo>
                      <a:pt x="433" y="875"/>
                    </a:lnTo>
                    <a:lnTo>
                      <a:pt x="386" y="878"/>
                    </a:lnTo>
                    <a:lnTo>
                      <a:pt x="338" y="880"/>
                    </a:lnTo>
                    <a:lnTo>
                      <a:pt x="291" y="880"/>
                    </a:lnTo>
                    <a:lnTo>
                      <a:pt x="244" y="880"/>
                    </a:lnTo>
                    <a:lnTo>
                      <a:pt x="197" y="882"/>
                    </a:lnTo>
                    <a:lnTo>
                      <a:pt x="197" y="856"/>
                    </a:lnTo>
                    <a:lnTo>
                      <a:pt x="197" y="830"/>
                    </a:lnTo>
                    <a:lnTo>
                      <a:pt x="197" y="802"/>
                    </a:lnTo>
                    <a:lnTo>
                      <a:pt x="194" y="776"/>
                    </a:lnTo>
                    <a:lnTo>
                      <a:pt x="194" y="750"/>
                    </a:lnTo>
                    <a:lnTo>
                      <a:pt x="194" y="722"/>
                    </a:lnTo>
                    <a:lnTo>
                      <a:pt x="194" y="696"/>
                    </a:lnTo>
                    <a:lnTo>
                      <a:pt x="194" y="667"/>
                    </a:lnTo>
                    <a:lnTo>
                      <a:pt x="192" y="639"/>
                    </a:lnTo>
                    <a:lnTo>
                      <a:pt x="192" y="613"/>
                    </a:lnTo>
                    <a:lnTo>
                      <a:pt x="192" y="584"/>
                    </a:lnTo>
                    <a:lnTo>
                      <a:pt x="192" y="558"/>
                    </a:lnTo>
                    <a:lnTo>
                      <a:pt x="192" y="530"/>
                    </a:lnTo>
                    <a:lnTo>
                      <a:pt x="190" y="502"/>
                    </a:lnTo>
                    <a:lnTo>
                      <a:pt x="190" y="476"/>
                    </a:lnTo>
                    <a:lnTo>
                      <a:pt x="190" y="447"/>
                    </a:lnTo>
                    <a:lnTo>
                      <a:pt x="190" y="421"/>
                    </a:lnTo>
                    <a:lnTo>
                      <a:pt x="190" y="393"/>
                    </a:lnTo>
                    <a:lnTo>
                      <a:pt x="187" y="367"/>
                    </a:lnTo>
                    <a:lnTo>
                      <a:pt x="187" y="338"/>
                    </a:lnTo>
                    <a:lnTo>
                      <a:pt x="187" y="331"/>
                    </a:lnTo>
                    <a:lnTo>
                      <a:pt x="161" y="317"/>
                    </a:lnTo>
                    <a:lnTo>
                      <a:pt x="149" y="303"/>
                    </a:lnTo>
                    <a:lnTo>
                      <a:pt x="145" y="284"/>
                    </a:lnTo>
                    <a:lnTo>
                      <a:pt x="133" y="268"/>
                    </a:lnTo>
                    <a:lnTo>
                      <a:pt x="116" y="251"/>
                    </a:lnTo>
                    <a:lnTo>
                      <a:pt x="112" y="232"/>
                    </a:lnTo>
                    <a:lnTo>
                      <a:pt x="123" y="211"/>
                    </a:lnTo>
                    <a:lnTo>
                      <a:pt x="133" y="201"/>
                    </a:lnTo>
                    <a:lnTo>
                      <a:pt x="140" y="201"/>
                    </a:lnTo>
                    <a:lnTo>
                      <a:pt x="142" y="192"/>
                    </a:lnTo>
                    <a:lnTo>
                      <a:pt x="135" y="175"/>
                    </a:lnTo>
                    <a:lnTo>
                      <a:pt x="126" y="171"/>
                    </a:lnTo>
                    <a:lnTo>
                      <a:pt x="116" y="175"/>
                    </a:lnTo>
                    <a:lnTo>
                      <a:pt x="104" y="175"/>
                    </a:lnTo>
                    <a:lnTo>
                      <a:pt x="67" y="147"/>
                    </a:lnTo>
                    <a:lnTo>
                      <a:pt x="64" y="145"/>
                    </a:lnTo>
                    <a:lnTo>
                      <a:pt x="52" y="128"/>
                    </a:lnTo>
                    <a:lnTo>
                      <a:pt x="48" y="107"/>
                    </a:lnTo>
                    <a:lnTo>
                      <a:pt x="38" y="93"/>
                    </a:lnTo>
                    <a:lnTo>
                      <a:pt x="26" y="85"/>
                    </a:lnTo>
                    <a:lnTo>
                      <a:pt x="17" y="71"/>
                    </a:lnTo>
                    <a:lnTo>
                      <a:pt x="12" y="50"/>
                    </a:lnTo>
                    <a:lnTo>
                      <a:pt x="3" y="29"/>
                    </a:lnTo>
                    <a:lnTo>
                      <a:pt x="0" y="22"/>
                    </a:lnTo>
                    <a:lnTo>
                      <a:pt x="41" y="22"/>
                    </a:lnTo>
                    <a:lnTo>
                      <a:pt x="81" y="19"/>
                    </a:lnTo>
                    <a:lnTo>
                      <a:pt x="121" y="19"/>
                    </a:lnTo>
                    <a:lnTo>
                      <a:pt x="161" y="19"/>
                    </a:lnTo>
                    <a:lnTo>
                      <a:pt x="201" y="17"/>
                    </a:lnTo>
                    <a:lnTo>
                      <a:pt x="242" y="17"/>
                    </a:lnTo>
                    <a:lnTo>
                      <a:pt x="282" y="17"/>
                    </a:lnTo>
                    <a:lnTo>
                      <a:pt x="322" y="15"/>
                    </a:lnTo>
                    <a:lnTo>
                      <a:pt x="362" y="12"/>
                    </a:lnTo>
                    <a:lnTo>
                      <a:pt x="405" y="12"/>
                    </a:lnTo>
                    <a:lnTo>
                      <a:pt x="445" y="10"/>
                    </a:lnTo>
                    <a:lnTo>
                      <a:pt x="485" y="7"/>
                    </a:lnTo>
                    <a:lnTo>
                      <a:pt x="525" y="7"/>
                    </a:lnTo>
                    <a:lnTo>
                      <a:pt x="565" y="5"/>
                    </a:lnTo>
                    <a:lnTo>
                      <a:pt x="606" y="3"/>
                    </a:lnTo>
                    <a:lnTo>
                      <a:pt x="646" y="0"/>
                    </a:lnTo>
                    <a:lnTo>
                      <a:pt x="655" y="15"/>
                    </a:lnTo>
                    <a:lnTo>
                      <a:pt x="662" y="19"/>
                    </a:lnTo>
                    <a:lnTo>
                      <a:pt x="665" y="24"/>
                    </a:lnTo>
                    <a:lnTo>
                      <a:pt x="676" y="31"/>
                    </a:lnTo>
                    <a:lnTo>
                      <a:pt x="679" y="41"/>
                    </a:lnTo>
                    <a:lnTo>
                      <a:pt x="695" y="5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10" name="Freeform 67">
                <a:extLst>
                  <a:ext uri="{FF2B5EF4-FFF2-40B4-BE49-F238E27FC236}">
                    <a16:creationId xmlns:a16="http://schemas.microsoft.com/office/drawing/2014/main" id="{C2AE3048-A7AA-EADD-975D-B3E8F3742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1" y="2104"/>
                <a:ext cx="605" cy="1031"/>
              </a:xfrm>
              <a:custGeom>
                <a:avLst/>
                <a:gdLst>
                  <a:gd name="T0" fmla="*/ 579 w 605"/>
                  <a:gd name="T1" fmla="*/ 17 h 1031"/>
                  <a:gd name="T2" fmla="*/ 576 w 605"/>
                  <a:gd name="T3" fmla="*/ 69 h 1031"/>
                  <a:gd name="T4" fmla="*/ 574 w 605"/>
                  <a:gd name="T5" fmla="*/ 187 h 1031"/>
                  <a:gd name="T6" fmla="*/ 572 w 605"/>
                  <a:gd name="T7" fmla="*/ 305 h 1031"/>
                  <a:gd name="T8" fmla="*/ 567 w 605"/>
                  <a:gd name="T9" fmla="*/ 421 h 1031"/>
                  <a:gd name="T10" fmla="*/ 564 w 605"/>
                  <a:gd name="T11" fmla="*/ 540 h 1031"/>
                  <a:gd name="T12" fmla="*/ 562 w 605"/>
                  <a:gd name="T13" fmla="*/ 658 h 1031"/>
                  <a:gd name="T14" fmla="*/ 576 w 605"/>
                  <a:gd name="T15" fmla="*/ 776 h 1031"/>
                  <a:gd name="T16" fmla="*/ 593 w 605"/>
                  <a:gd name="T17" fmla="*/ 894 h 1031"/>
                  <a:gd name="T18" fmla="*/ 550 w 605"/>
                  <a:gd name="T19" fmla="*/ 984 h 1031"/>
                  <a:gd name="T20" fmla="*/ 510 w 605"/>
                  <a:gd name="T21" fmla="*/ 975 h 1031"/>
                  <a:gd name="T22" fmla="*/ 446 w 605"/>
                  <a:gd name="T23" fmla="*/ 996 h 1031"/>
                  <a:gd name="T24" fmla="*/ 401 w 605"/>
                  <a:gd name="T25" fmla="*/ 1031 h 1031"/>
                  <a:gd name="T26" fmla="*/ 387 w 605"/>
                  <a:gd name="T27" fmla="*/ 1024 h 1031"/>
                  <a:gd name="T28" fmla="*/ 366 w 605"/>
                  <a:gd name="T29" fmla="*/ 975 h 1031"/>
                  <a:gd name="T30" fmla="*/ 340 w 605"/>
                  <a:gd name="T31" fmla="*/ 946 h 1031"/>
                  <a:gd name="T32" fmla="*/ 335 w 605"/>
                  <a:gd name="T33" fmla="*/ 920 h 1031"/>
                  <a:gd name="T34" fmla="*/ 307 w 605"/>
                  <a:gd name="T35" fmla="*/ 866 h 1031"/>
                  <a:gd name="T36" fmla="*/ 174 w 605"/>
                  <a:gd name="T37" fmla="*/ 873 h 1031"/>
                  <a:gd name="T38" fmla="*/ 42 w 605"/>
                  <a:gd name="T39" fmla="*/ 880 h 1031"/>
                  <a:gd name="T40" fmla="*/ 7 w 605"/>
                  <a:gd name="T41" fmla="*/ 868 h 1031"/>
                  <a:gd name="T42" fmla="*/ 4 w 605"/>
                  <a:gd name="T43" fmla="*/ 823 h 1031"/>
                  <a:gd name="T44" fmla="*/ 18 w 605"/>
                  <a:gd name="T45" fmla="*/ 788 h 1031"/>
                  <a:gd name="T46" fmla="*/ 37 w 605"/>
                  <a:gd name="T47" fmla="*/ 745 h 1031"/>
                  <a:gd name="T48" fmla="*/ 80 w 605"/>
                  <a:gd name="T49" fmla="*/ 672 h 1031"/>
                  <a:gd name="T50" fmla="*/ 92 w 605"/>
                  <a:gd name="T51" fmla="*/ 639 h 1031"/>
                  <a:gd name="T52" fmla="*/ 113 w 605"/>
                  <a:gd name="T53" fmla="*/ 615 h 1031"/>
                  <a:gd name="T54" fmla="*/ 113 w 605"/>
                  <a:gd name="T55" fmla="*/ 594 h 1031"/>
                  <a:gd name="T56" fmla="*/ 82 w 605"/>
                  <a:gd name="T57" fmla="*/ 563 h 1031"/>
                  <a:gd name="T58" fmla="*/ 73 w 605"/>
                  <a:gd name="T59" fmla="*/ 535 h 1031"/>
                  <a:gd name="T60" fmla="*/ 82 w 605"/>
                  <a:gd name="T61" fmla="*/ 514 h 1031"/>
                  <a:gd name="T62" fmla="*/ 80 w 605"/>
                  <a:gd name="T63" fmla="*/ 480 h 1031"/>
                  <a:gd name="T64" fmla="*/ 68 w 605"/>
                  <a:gd name="T65" fmla="*/ 452 h 1031"/>
                  <a:gd name="T66" fmla="*/ 73 w 605"/>
                  <a:gd name="T67" fmla="*/ 405 h 1031"/>
                  <a:gd name="T68" fmla="*/ 66 w 605"/>
                  <a:gd name="T69" fmla="*/ 362 h 1031"/>
                  <a:gd name="T70" fmla="*/ 54 w 605"/>
                  <a:gd name="T71" fmla="*/ 341 h 1031"/>
                  <a:gd name="T72" fmla="*/ 59 w 605"/>
                  <a:gd name="T73" fmla="*/ 320 h 1031"/>
                  <a:gd name="T74" fmla="*/ 70 w 605"/>
                  <a:gd name="T75" fmla="*/ 294 h 1031"/>
                  <a:gd name="T76" fmla="*/ 80 w 605"/>
                  <a:gd name="T77" fmla="*/ 265 h 1031"/>
                  <a:gd name="T78" fmla="*/ 75 w 605"/>
                  <a:gd name="T79" fmla="*/ 246 h 1031"/>
                  <a:gd name="T80" fmla="*/ 99 w 605"/>
                  <a:gd name="T81" fmla="*/ 232 h 1031"/>
                  <a:gd name="T82" fmla="*/ 99 w 605"/>
                  <a:gd name="T83" fmla="*/ 204 h 1031"/>
                  <a:gd name="T84" fmla="*/ 122 w 605"/>
                  <a:gd name="T85" fmla="*/ 166 h 1031"/>
                  <a:gd name="T86" fmla="*/ 151 w 605"/>
                  <a:gd name="T87" fmla="*/ 133 h 1031"/>
                  <a:gd name="T88" fmla="*/ 163 w 605"/>
                  <a:gd name="T89" fmla="*/ 83 h 1031"/>
                  <a:gd name="T90" fmla="*/ 177 w 605"/>
                  <a:gd name="T91" fmla="*/ 60 h 1031"/>
                  <a:gd name="T92" fmla="*/ 196 w 605"/>
                  <a:gd name="T93" fmla="*/ 31 h 1031"/>
                  <a:gd name="T94" fmla="*/ 286 w 605"/>
                  <a:gd name="T95" fmla="*/ 19 h 1031"/>
                  <a:gd name="T96" fmla="*/ 423 w 605"/>
                  <a:gd name="T97" fmla="*/ 10 h 1031"/>
                  <a:gd name="T98" fmla="*/ 562 w 605"/>
                  <a:gd name="T99" fmla="*/ 0 h 1031"/>
                  <a:gd name="T100" fmla="*/ 560 w 605"/>
                  <a:gd name="T101" fmla="*/ 1012 h 1031"/>
                  <a:gd name="T102" fmla="*/ 574 w 605"/>
                  <a:gd name="T103" fmla="*/ 1010 h 10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05" h="1031">
                    <a:moveTo>
                      <a:pt x="562" y="0"/>
                    </a:moveTo>
                    <a:lnTo>
                      <a:pt x="579" y="12"/>
                    </a:lnTo>
                    <a:lnTo>
                      <a:pt x="579" y="17"/>
                    </a:lnTo>
                    <a:lnTo>
                      <a:pt x="579" y="19"/>
                    </a:lnTo>
                    <a:lnTo>
                      <a:pt x="576" y="31"/>
                    </a:lnTo>
                    <a:lnTo>
                      <a:pt x="576" y="69"/>
                    </a:lnTo>
                    <a:lnTo>
                      <a:pt x="576" y="109"/>
                    </a:lnTo>
                    <a:lnTo>
                      <a:pt x="574" y="147"/>
                    </a:lnTo>
                    <a:lnTo>
                      <a:pt x="574" y="187"/>
                    </a:lnTo>
                    <a:lnTo>
                      <a:pt x="574" y="225"/>
                    </a:lnTo>
                    <a:lnTo>
                      <a:pt x="572" y="265"/>
                    </a:lnTo>
                    <a:lnTo>
                      <a:pt x="572" y="305"/>
                    </a:lnTo>
                    <a:lnTo>
                      <a:pt x="569" y="343"/>
                    </a:lnTo>
                    <a:lnTo>
                      <a:pt x="569" y="383"/>
                    </a:lnTo>
                    <a:lnTo>
                      <a:pt x="567" y="421"/>
                    </a:lnTo>
                    <a:lnTo>
                      <a:pt x="567" y="461"/>
                    </a:lnTo>
                    <a:lnTo>
                      <a:pt x="567" y="499"/>
                    </a:lnTo>
                    <a:lnTo>
                      <a:pt x="564" y="540"/>
                    </a:lnTo>
                    <a:lnTo>
                      <a:pt x="564" y="580"/>
                    </a:lnTo>
                    <a:lnTo>
                      <a:pt x="562" y="618"/>
                    </a:lnTo>
                    <a:lnTo>
                      <a:pt x="562" y="658"/>
                    </a:lnTo>
                    <a:lnTo>
                      <a:pt x="567" y="698"/>
                    </a:lnTo>
                    <a:lnTo>
                      <a:pt x="572" y="736"/>
                    </a:lnTo>
                    <a:lnTo>
                      <a:pt x="576" y="776"/>
                    </a:lnTo>
                    <a:lnTo>
                      <a:pt x="581" y="816"/>
                    </a:lnTo>
                    <a:lnTo>
                      <a:pt x="588" y="854"/>
                    </a:lnTo>
                    <a:lnTo>
                      <a:pt x="593" y="894"/>
                    </a:lnTo>
                    <a:lnTo>
                      <a:pt x="598" y="934"/>
                    </a:lnTo>
                    <a:lnTo>
                      <a:pt x="605" y="977"/>
                    </a:lnTo>
                    <a:lnTo>
                      <a:pt x="550" y="984"/>
                    </a:lnTo>
                    <a:lnTo>
                      <a:pt x="527" y="977"/>
                    </a:lnTo>
                    <a:lnTo>
                      <a:pt x="517" y="975"/>
                    </a:lnTo>
                    <a:lnTo>
                      <a:pt x="510" y="975"/>
                    </a:lnTo>
                    <a:lnTo>
                      <a:pt x="484" y="986"/>
                    </a:lnTo>
                    <a:lnTo>
                      <a:pt x="453" y="998"/>
                    </a:lnTo>
                    <a:lnTo>
                      <a:pt x="446" y="996"/>
                    </a:lnTo>
                    <a:lnTo>
                      <a:pt x="434" y="996"/>
                    </a:lnTo>
                    <a:lnTo>
                      <a:pt x="416" y="1024"/>
                    </a:lnTo>
                    <a:lnTo>
                      <a:pt x="401" y="1031"/>
                    </a:lnTo>
                    <a:lnTo>
                      <a:pt x="397" y="1029"/>
                    </a:lnTo>
                    <a:lnTo>
                      <a:pt x="392" y="1029"/>
                    </a:lnTo>
                    <a:lnTo>
                      <a:pt x="387" y="1024"/>
                    </a:lnTo>
                    <a:lnTo>
                      <a:pt x="380" y="1010"/>
                    </a:lnTo>
                    <a:lnTo>
                      <a:pt x="378" y="998"/>
                    </a:lnTo>
                    <a:lnTo>
                      <a:pt x="366" y="975"/>
                    </a:lnTo>
                    <a:lnTo>
                      <a:pt x="356" y="963"/>
                    </a:lnTo>
                    <a:lnTo>
                      <a:pt x="345" y="956"/>
                    </a:lnTo>
                    <a:lnTo>
                      <a:pt x="340" y="946"/>
                    </a:lnTo>
                    <a:lnTo>
                      <a:pt x="340" y="939"/>
                    </a:lnTo>
                    <a:lnTo>
                      <a:pt x="335" y="930"/>
                    </a:lnTo>
                    <a:lnTo>
                      <a:pt x="335" y="920"/>
                    </a:lnTo>
                    <a:lnTo>
                      <a:pt x="347" y="887"/>
                    </a:lnTo>
                    <a:lnTo>
                      <a:pt x="349" y="863"/>
                    </a:lnTo>
                    <a:lnTo>
                      <a:pt x="307" y="866"/>
                    </a:lnTo>
                    <a:lnTo>
                      <a:pt x="262" y="868"/>
                    </a:lnTo>
                    <a:lnTo>
                      <a:pt x="219" y="871"/>
                    </a:lnTo>
                    <a:lnTo>
                      <a:pt x="174" y="873"/>
                    </a:lnTo>
                    <a:lnTo>
                      <a:pt x="132" y="875"/>
                    </a:lnTo>
                    <a:lnTo>
                      <a:pt x="87" y="878"/>
                    </a:lnTo>
                    <a:lnTo>
                      <a:pt x="42" y="880"/>
                    </a:lnTo>
                    <a:lnTo>
                      <a:pt x="0" y="882"/>
                    </a:lnTo>
                    <a:lnTo>
                      <a:pt x="0" y="878"/>
                    </a:lnTo>
                    <a:lnTo>
                      <a:pt x="7" y="868"/>
                    </a:lnTo>
                    <a:lnTo>
                      <a:pt x="9" y="859"/>
                    </a:lnTo>
                    <a:lnTo>
                      <a:pt x="2" y="837"/>
                    </a:lnTo>
                    <a:lnTo>
                      <a:pt x="4" y="823"/>
                    </a:lnTo>
                    <a:lnTo>
                      <a:pt x="14" y="821"/>
                    </a:lnTo>
                    <a:lnTo>
                      <a:pt x="18" y="809"/>
                    </a:lnTo>
                    <a:lnTo>
                      <a:pt x="18" y="788"/>
                    </a:lnTo>
                    <a:lnTo>
                      <a:pt x="21" y="771"/>
                    </a:lnTo>
                    <a:lnTo>
                      <a:pt x="30" y="764"/>
                    </a:lnTo>
                    <a:lnTo>
                      <a:pt x="37" y="745"/>
                    </a:lnTo>
                    <a:lnTo>
                      <a:pt x="42" y="717"/>
                    </a:lnTo>
                    <a:lnTo>
                      <a:pt x="56" y="693"/>
                    </a:lnTo>
                    <a:lnTo>
                      <a:pt x="80" y="672"/>
                    </a:lnTo>
                    <a:lnTo>
                      <a:pt x="89" y="658"/>
                    </a:lnTo>
                    <a:lnTo>
                      <a:pt x="89" y="644"/>
                    </a:lnTo>
                    <a:lnTo>
                      <a:pt x="92" y="639"/>
                    </a:lnTo>
                    <a:lnTo>
                      <a:pt x="96" y="634"/>
                    </a:lnTo>
                    <a:lnTo>
                      <a:pt x="104" y="627"/>
                    </a:lnTo>
                    <a:lnTo>
                      <a:pt x="113" y="615"/>
                    </a:lnTo>
                    <a:lnTo>
                      <a:pt x="115" y="606"/>
                    </a:lnTo>
                    <a:lnTo>
                      <a:pt x="115" y="601"/>
                    </a:lnTo>
                    <a:lnTo>
                      <a:pt x="113" y="594"/>
                    </a:lnTo>
                    <a:lnTo>
                      <a:pt x="106" y="584"/>
                    </a:lnTo>
                    <a:lnTo>
                      <a:pt x="92" y="577"/>
                    </a:lnTo>
                    <a:lnTo>
                      <a:pt x="82" y="563"/>
                    </a:lnTo>
                    <a:lnTo>
                      <a:pt x="82" y="551"/>
                    </a:lnTo>
                    <a:lnTo>
                      <a:pt x="80" y="542"/>
                    </a:lnTo>
                    <a:lnTo>
                      <a:pt x="73" y="535"/>
                    </a:lnTo>
                    <a:lnTo>
                      <a:pt x="75" y="528"/>
                    </a:lnTo>
                    <a:lnTo>
                      <a:pt x="82" y="521"/>
                    </a:lnTo>
                    <a:lnTo>
                      <a:pt x="82" y="514"/>
                    </a:lnTo>
                    <a:lnTo>
                      <a:pt x="75" y="506"/>
                    </a:lnTo>
                    <a:lnTo>
                      <a:pt x="75" y="497"/>
                    </a:lnTo>
                    <a:lnTo>
                      <a:pt x="80" y="480"/>
                    </a:lnTo>
                    <a:lnTo>
                      <a:pt x="80" y="469"/>
                    </a:lnTo>
                    <a:lnTo>
                      <a:pt x="70" y="464"/>
                    </a:lnTo>
                    <a:lnTo>
                      <a:pt x="68" y="452"/>
                    </a:lnTo>
                    <a:lnTo>
                      <a:pt x="68" y="447"/>
                    </a:lnTo>
                    <a:lnTo>
                      <a:pt x="75" y="409"/>
                    </a:lnTo>
                    <a:lnTo>
                      <a:pt x="73" y="405"/>
                    </a:lnTo>
                    <a:lnTo>
                      <a:pt x="63" y="393"/>
                    </a:lnTo>
                    <a:lnTo>
                      <a:pt x="61" y="381"/>
                    </a:lnTo>
                    <a:lnTo>
                      <a:pt x="66" y="362"/>
                    </a:lnTo>
                    <a:lnTo>
                      <a:pt x="63" y="350"/>
                    </a:lnTo>
                    <a:lnTo>
                      <a:pt x="56" y="346"/>
                    </a:lnTo>
                    <a:lnTo>
                      <a:pt x="54" y="341"/>
                    </a:lnTo>
                    <a:lnTo>
                      <a:pt x="52" y="334"/>
                    </a:lnTo>
                    <a:lnTo>
                      <a:pt x="59" y="327"/>
                    </a:lnTo>
                    <a:lnTo>
                      <a:pt x="59" y="320"/>
                    </a:lnTo>
                    <a:lnTo>
                      <a:pt x="52" y="315"/>
                    </a:lnTo>
                    <a:lnTo>
                      <a:pt x="56" y="305"/>
                    </a:lnTo>
                    <a:lnTo>
                      <a:pt x="70" y="294"/>
                    </a:lnTo>
                    <a:lnTo>
                      <a:pt x="73" y="287"/>
                    </a:lnTo>
                    <a:lnTo>
                      <a:pt x="78" y="279"/>
                    </a:lnTo>
                    <a:lnTo>
                      <a:pt x="80" y="265"/>
                    </a:lnTo>
                    <a:lnTo>
                      <a:pt x="78" y="256"/>
                    </a:lnTo>
                    <a:lnTo>
                      <a:pt x="73" y="249"/>
                    </a:lnTo>
                    <a:lnTo>
                      <a:pt x="75" y="246"/>
                    </a:lnTo>
                    <a:lnTo>
                      <a:pt x="78" y="244"/>
                    </a:lnTo>
                    <a:lnTo>
                      <a:pt x="94" y="237"/>
                    </a:lnTo>
                    <a:lnTo>
                      <a:pt x="99" y="232"/>
                    </a:lnTo>
                    <a:lnTo>
                      <a:pt x="99" y="227"/>
                    </a:lnTo>
                    <a:lnTo>
                      <a:pt x="94" y="216"/>
                    </a:lnTo>
                    <a:lnTo>
                      <a:pt x="99" y="204"/>
                    </a:lnTo>
                    <a:lnTo>
                      <a:pt x="113" y="190"/>
                    </a:lnTo>
                    <a:lnTo>
                      <a:pt x="122" y="175"/>
                    </a:lnTo>
                    <a:lnTo>
                      <a:pt x="122" y="166"/>
                    </a:lnTo>
                    <a:lnTo>
                      <a:pt x="130" y="159"/>
                    </a:lnTo>
                    <a:lnTo>
                      <a:pt x="144" y="152"/>
                    </a:lnTo>
                    <a:lnTo>
                      <a:pt x="151" y="133"/>
                    </a:lnTo>
                    <a:lnTo>
                      <a:pt x="153" y="100"/>
                    </a:lnTo>
                    <a:lnTo>
                      <a:pt x="156" y="86"/>
                    </a:lnTo>
                    <a:lnTo>
                      <a:pt x="163" y="83"/>
                    </a:lnTo>
                    <a:lnTo>
                      <a:pt x="167" y="78"/>
                    </a:lnTo>
                    <a:lnTo>
                      <a:pt x="167" y="69"/>
                    </a:lnTo>
                    <a:lnTo>
                      <a:pt x="177" y="60"/>
                    </a:lnTo>
                    <a:lnTo>
                      <a:pt x="191" y="48"/>
                    </a:lnTo>
                    <a:lnTo>
                      <a:pt x="198" y="38"/>
                    </a:lnTo>
                    <a:lnTo>
                      <a:pt x="196" y="31"/>
                    </a:lnTo>
                    <a:lnTo>
                      <a:pt x="196" y="26"/>
                    </a:lnTo>
                    <a:lnTo>
                      <a:pt x="238" y="24"/>
                    </a:lnTo>
                    <a:lnTo>
                      <a:pt x="286" y="19"/>
                    </a:lnTo>
                    <a:lnTo>
                      <a:pt x="330" y="17"/>
                    </a:lnTo>
                    <a:lnTo>
                      <a:pt x="378" y="15"/>
                    </a:lnTo>
                    <a:lnTo>
                      <a:pt x="423" y="10"/>
                    </a:lnTo>
                    <a:lnTo>
                      <a:pt x="468" y="8"/>
                    </a:lnTo>
                    <a:lnTo>
                      <a:pt x="515" y="3"/>
                    </a:lnTo>
                    <a:lnTo>
                      <a:pt x="562" y="0"/>
                    </a:lnTo>
                    <a:close/>
                    <a:moveTo>
                      <a:pt x="579" y="1012"/>
                    </a:moveTo>
                    <a:lnTo>
                      <a:pt x="576" y="1015"/>
                    </a:lnTo>
                    <a:lnTo>
                      <a:pt x="560" y="1012"/>
                    </a:lnTo>
                    <a:lnTo>
                      <a:pt x="548" y="1008"/>
                    </a:lnTo>
                    <a:lnTo>
                      <a:pt x="546" y="1005"/>
                    </a:lnTo>
                    <a:lnTo>
                      <a:pt x="574" y="1010"/>
                    </a:lnTo>
                    <a:lnTo>
                      <a:pt x="579" y="101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11" name="Freeform 68">
                <a:extLst>
                  <a:ext uri="{FF2B5EF4-FFF2-40B4-BE49-F238E27FC236}">
                    <a16:creationId xmlns:a16="http://schemas.microsoft.com/office/drawing/2014/main" id="{A975B6A3-FA97-8882-F668-6887309D0E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3" y="-1102"/>
                <a:ext cx="1716" cy="1104"/>
              </a:xfrm>
              <a:custGeom>
                <a:avLst/>
                <a:gdLst>
                  <a:gd name="T0" fmla="*/ 1650 w 1716"/>
                  <a:gd name="T1" fmla="*/ 1052 h 1104"/>
                  <a:gd name="T2" fmla="*/ 1645 w 1716"/>
                  <a:gd name="T3" fmla="*/ 1104 h 1104"/>
                  <a:gd name="T4" fmla="*/ 1642 w 1716"/>
                  <a:gd name="T5" fmla="*/ 1104 h 1104"/>
                  <a:gd name="T6" fmla="*/ 1543 w 1716"/>
                  <a:gd name="T7" fmla="*/ 1095 h 1104"/>
                  <a:gd name="T8" fmla="*/ 1411 w 1716"/>
                  <a:gd name="T9" fmla="*/ 1083 h 1104"/>
                  <a:gd name="T10" fmla="*/ 1281 w 1716"/>
                  <a:gd name="T11" fmla="*/ 1069 h 1104"/>
                  <a:gd name="T12" fmla="*/ 1151 w 1716"/>
                  <a:gd name="T13" fmla="*/ 1052 h 1104"/>
                  <a:gd name="T14" fmla="*/ 1021 w 1716"/>
                  <a:gd name="T15" fmla="*/ 1036 h 1104"/>
                  <a:gd name="T16" fmla="*/ 888 w 1716"/>
                  <a:gd name="T17" fmla="*/ 1017 h 1104"/>
                  <a:gd name="T18" fmla="*/ 758 w 1716"/>
                  <a:gd name="T19" fmla="*/ 998 h 1104"/>
                  <a:gd name="T20" fmla="*/ 628 w 1716"/>
                  <a:gd name="T21" fmla="*/ 977 h 1104"/>
                  <a:gd name="T22" fmla="*/ 583 w 1716"/>
                  <a:gd name="T23" fmla="*/ 1050 h 1104"/>
                  <a:gd name="T24" fmla="*/ 560 w 1716"/>
                  <a:gd name="T25" fmla="*/ 1052 h 1104"/>
                  <a:gd name="T26" fmla="*/ 541 w 1716"/>
                  <a:gd name="T27" fmla="*/ 1017 h 1104"/>
                  <a:gd name="T28" fmla="*/ 517 w 1716"/>
                  <a:gd name="T29" fmla="*/ 1038 h 1104"/>
                  <a:gd name="T30" fmla="*/ 515 w 1716"/>
                  <a:gd name="T31" fmla="*/ 1055 h 1104"/>
                  <a:gd name="T32" fmla="*/ 430 w 1716"/>
                  <a:gd name="T33" fmla="*/ 1041 h 1104"/>
                  <a:gd name="T34" fmla="*/ 383 w 1716"/>
                  <a:gd name="T35" fmla="*/ 1045 h 1104"/>
                  <a:gd name="T36" fmla="*/ 331 w 1716"/>
                  <a:gd name="T37" fmla="*/ 1033 h 1104"/>
                  <a:gd name="T38" fmla="*/ 312 w 1716"/>
                  <a:gd name="T39" fmla="*/ 1050 h 1104"/>
                  <a:gd name="T40" fmla="*/ 288 w 1716"/>
                  <a:gd name="T41" fmla="*/ 1029 h 1104"/>
                  <a:gd name="T42" fmla="*/ 283 w 1716"/>
                  <a:gd name="T43" fmla="*/ 977 h 1104"/>
                  <a:gd name="T44" fmla="*/ 255 w 1716"/>
                  <a:gd name="T45" fmla="*/ 953 h 1104"/>
                  <a:gd name="T46" fmla="*/ 236 w 1716"/>
                  <a:gd name="T47" fmla="*/ 922 h 1104"/>
                  <a:gd name="T48" fmla="*/ 238 w 1716"/>
                  <a:gd name="T49" fmla="*/ 882 h 1104"/>
                  <a:gd name="T50" fmla="*/ 219 w 1716"/>
                  <a:gd name="T51" fmla="*/ 821 h 1104"/>
                  <a:gd name="T52" fmla="*/ 217 w 1716"/>
                  <a:gd name="T53" fmla="*/ 776 h 1104"/>
                  <a:gd name="T54" fmla="*/ 198 w 1716"/>
                  <a:gd name="T55" fmla="*/ 752 h 1104"/>
                  <a:gd name="T56" fmla="*/ 189 w 1716"/>
                  <a:gd name="T57" fmla="*/ 754 h 1104"/>
                  <a:gd name="T58" fmla="*/ 139 w 1716"/>
                  <a:gd name="T59" fmla="*/ 780 h 1104"/>
                  <a:gd name="T60" fmla="*/ 108 w 1716"/>
                  <a:gd name="T61" fmla="*/ 757 h 1104"/>
                  <a:gd name="T62" fmla="*/ 118 w 1716"/>
                  <a:gd name="T63" fmla="*/ 714 h 1104"/>
                  <a:gd name="T64" fmla="*/ 141 w 1716"/>
                  <a:gd name="T65" fmla="*/ 695 h 1104"/>
                  <a:gd name="T66" fmla="*/ 141 w 1716"/>
                  <a:gd name="T67" fmla="*/ 648 h 1104"/>
                  <a:gd name="T68" fmla="*/ 158 w 1716"/>
                  <a:gd name="T69" fmla="*/ 601 h 1104"/>
                  <a:gd name="T70" fmla="*/ 182 w 1716"/>
                  <a:gd name="T71" fmla="*/ 549 h 1104"/>
                  <a:gd name="T72" fmla="*/ 177 w 1716"/>
                  <a:gd name="T73" fmla="*/ 535 h 1104"/>
                  <a:gd name="T74" fmla="*/ 141 w 1716"/>
                  <a:gd name="T75" fmla="*/ 525 h 1104"/>
                  <a:gd name="T76" fmla="*/ 127 w 1716"/>
                  <a:gd name="T77" fmla="*/ 509 h 1104"/>
                  <a:gd name="T78" fmla="*/ 113 w 1716"/>
                  <a:gd name="T79" fmla="*/ 483 h 1104"/>
                  <a:gd name="T80" fmla="*/ 71 w 1716"/>
                  <a:gd name="T81" fmla="*/ 388 h 1104"/>
                  <a:gd name="T82" fmla="*/ 23 w 1716"/>
                  <a:gd name="T83" fmla="*/ 334 h 1104"/>
                  <a:gd name="T84" fmla="*/ 28 w 1716"/>
                  <a:gd name="T85" fmla="*/ 329 h 1104"/>
                  <a:gd name="T86" fmla="*/ 33 w 1716"/>
                  <a:gd name="T87" fmla="*/ 282 h 1104"/>
                  <a:gd name="T88" fmla="*/ 11 w 1716"/>
                  <a:gd name="T89" fmla="*/ 230 h 1104"/>
                  <a:gd name="T90" fmla="*/ 35 w 1716"/>
                  <a:gd name="T91" fmla="*/ 50 h 1104"/>
                  <a:gd name="T92" fmla="*/ 189 w 1716"/>
                  <a:gd name="T93" fmla="*/ 31 h 1104"/>
                  <a:gd name="T94" fmla="*/ 366 w 1716"/>
                  <a:gd name="T95" fmla="*/ 66 h 1104"/>
                  <a:gd name="T96" fmla="*/ 602 w 1716"/>
                  <a:gd name="T97" fmla="*/ 111 h 1104"/>
                  <a:gd name="T98" fmla="*/ 839 w 1716"/>
                  <a:gd name="T99" fmla="*/ 151 h 1104"/>
                  <a:gd name="T100" fmla="*/ 1016 w 1716"/>
                  <a:gd name="T101" fmla="*/ 177 h 1104"/>
                  <a:gd name="T102" fmla="*/ 1255 w 1716"/>
                  <a:gd name="T103" fmla="*/ 211 h 1104"/>
                  <a:gd name="T104" fmla="*/ 1494 w 1716"/>
                  <a:gd name="T105" fmla="*/ 237 h 1104"/>
                  <a:gd name="T106" fmla="*/ 1716 w 1716"/>
                  <a:gd name="T107" fmla="*/ 260 h 1104"/>
                  <a:gd name="T108" fmla="*/ 1702 w 1716"/>
                  <a:gd name="T109" fmla="*/ 421 h 1104"/>
                  <a:gd name="T110" fmla="*/ 1690 w 1716"/>
                  <a:gd name="T111" fmla="*/ 584 h 1104"/>
                  <a:gd name="T112" fmla="*/ 1676 w 1716"/>
                  <a:gd name="T113" fmla="*/ 745 h 1104"/>
                  <a:gd name="T114" fmla="*/ 1661 w 1716"/>
                  <a:gd name="T115" fmla="*/ 906 h 1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16" h="1104">
                    <a:moveTo>
                      <a:pt x="1661" y="906"/>
                    </a:moveTo>
                    <a:lnTo>
                      <a:pt x="1659" y="955"/>
                    </a:lnTo>
                    <a:lnTo>
                      <a:pt x="1654" y="1005"/>
                    </a:lnTo>
                    <a:lnTo>
                      <a:pt x="1650" y="1052"/>
                    </a:lnTo>
                    <a:lnTo>
                      <a:pt x="1645" y="1102"/>
                    </a:lnTo>
                    <a:lnTo>
                      <a:pt x="1645" y="1102"/>
                    </a:lnTo>
                    <a:lnTo>
                      <a:pt x="1645" y="1104"/>
                    </a:lnTo>
                    <a:lnTo>
                      <a:pt x="1645" y="1104"/>
                    </a:lnTo>
                    <a:lnTo>
                      <a:pt x="1645" y="1104"/>
                    </a:lnTo>
                    <a:lnTo>
                      <a:pt x="1645" y="1104"/>
                    </a:lnTo>
                    <a:lnTo>
                      <a:pt x="1642" y="1104"/>
                    </a:lnTo>
                    <a:lnTo>
                      <a:pt x="1642" y="1104"/>
                    </a:lnTo>
                    <a:lnTo>
                      <a:pt x="1640" y="1104"/>
                    </a:lnTo>
                    <a:lnTo>
                      <a:pt x="1607" y="1102"/>
                    </a:lnTo>
                    <a:lnTo>
                      <a:pt x="1576" y="1100"/>
                    </a:lnTo>
                    <a:lnTo>
                      <a:pt x="1543" y="1095"/>
                    </a:lnTo>
                    <a:lnTo>
                      <a:pt x="1510" y="1093"/>
                    </a:lnTo>
                    <a:lnTo>
                      <a:pt x="1477" y="1090"/>
                    </a:lnTo>
                    <a:lnTo>
                      <a:pt x="1444" y="1085"/>
                    </a:lnTo>
                    <a:lnTo>
                      <a:pt x="1411" y="1083"/>
                    </a:lnTo>
                    <a:lnTo>
                      <a:pt x="1380" y="1078"/>
                    </a:lnTo>
                    <a:lnTo>
                      <a:pt x="1347" y="1076"/>
                    </a:lnTo>
                    <a:lnTo>
                      <a:pt x="1314" y="1071"/>
                    </a:lnTo>
                    <a:lnTo>
                      <a:pt x="1281" y="1069"/>
                    </a:lnTo>
                    <a:lnTo>
                      <a:pt x="1248" y="1064"/>
                    </a:lnTo>
                    <a:lnTo>
                      <a:pt x="1215" y="1059"/>
                    </a:lnTo>
                    <a:lnTo>
                      <a:pt x="1184" y="1057"/>
                    </a:lnTo>
                    <a:lnTo>
                      <a:pt x="1151" y="1052"/>
                    </a:lnTo>
                    <a:lnTo>
                      <a:pt x="1118" y="1048"/>
                    </a:lnTo>
                    <a:lnTo>
                      <a:pt x="1085" y="1043"/>
                    </a:lnTo>
                    <a:lnTo>
                      <a:pt x="1052" y="1041"/>
                    </a:lnTo>
                    <a:lnTo>
                      <a:pt x="1021" y="1036"/>
                    </a:lnTo>
                    <a:lnTo>
                      <a:pt x="988" y="1031"/>
                    </a:lnTo>
                    <a:lnTo>
                      <a:pt x="955" y="1026"/>
                    </a:lnTo>
                    <a:lnTo>
                      <a:pt x="922" y="1022"/>
                    </a:lnTo>
                    <a:lnTo>
                      <a:pt x="888" y="1017"/>
                    </a:lnTo>
                    <a:lnTo>
                      <a:pt x="858" y="1012"/>
                    </a:lnTo>
                    <a:lnTo>
                      <a:pt x="825" y="1007"/>
                    </a:lnTo>
                    <a:lnTo>
                      <a:pt x="791" y="1003"/>
                    </a:lnTo>
                    <a:lnTo>
                      <a:pt x="758" y="998"/>
                    </a:lnTo>
                    <a:lnTo>
                      <a:pt x="728" y="993"/>
                    </a:lnTo>
                    <a:lnTo>
                      <a:pt x="695" y="986"/>
                    </a:lnTo>
                    <a:lnTo>
                      <a:pt x="661" y="981"/>
                    </a:lnTo>
                    <a:lnTo>
                      <a:pt x="628" y="977"/>
                    </a:lnTo>
                    <a:lnTo>
                      <a:pt x="598" y="972"/>
                    </a:lnTo>
                    <a:lnTo>
                      <a:pt x="593" y="998"/>
                    </a:lnTo>
                    <a:lnTo>
                      <a:pt x="588" y="1024"/>
                    </a:lnTo>
                    <a:lnTo>
                      <a:pt x="583" y="1050"/>
                    </a:lnTo>
                    <a:lnTo>
                      <a:pt x="579" y="1076"/>
                    </a:lnTo>
                    <a:lnTo>
                      <a:pt x="572" y="1069"/>
                    </a:lnTo>
                    <a:lnTo>
                      <a:pt x="565" y="1062"/>
                    </a:lnTo>
                    <a:lnTo>
                      <a:pt x="560" y="1052"/>
                    </a:lnTo>
                    <a:lnTo>
                      <a:pt x="555" y="1031"/>
                    </a:lnTo>
                    <a:lnTo>
                      <a:pt x="550" y="1024"/>
                    </a:lnTo>
                    <a:lnTo>
                      <a:pt x="546" y="1017"/>
                    </a:lnTo>
                    <a:lnTo>
                      <a:pt x="541" y="1017"/>
                    </a:lnTo>
                    <a:lnTo>
                      <a:pt x="534" y="1017"/>
                    </a:lnTo>
                    <a:lnTo>
                      <a:pt x="529" y="1022"/>
                    </a:lnTo>
                    <a:lnTo>
                      <a:pt x="524" y="1029"/>
                    </a:lnTo>
                    <a:lnTo>
                      <a:pt x="517" y="1038"/>
                    </a:lnTo>
                    <a:lnTo>
                      <a:pt x="517" y="1048"/>
                    </a:lnTo>
                    <a:lnTo>
                      <a:pt x="520" y="1052"/>
                    </a:lnTo>
                    <a:lnTo>
                      <a:pt x="517" y="1055"/>
                    </a:lnTo>
                    <a:lnTo>
                      <a:pt x="515" y="1055"/>
                    </a:lnTo>
                    <a:lnTo>
                      <a:pt x="491" y="1048"/>
                    </a:lnTo>
                    <a:lnTo>
                      <a:pt x="470" y="1048"/>
                    </a:lnTo>
                    <a:lnTo>
                      <a:pt x="456" y="1043"/>
                    </a:lnTo>
                    <a:lnTo>
                      <a:pt x="430" y="1041"/>
                    </a:lnTo>
                    <a:lnTo>
                      <a:pt x="406" y="1033"/>
                    </a:lnTo>
                    <a:lnTo>
                      <a:pt x="397" y="1033"/>
                    </a:lnTo>
                    <a:lnTo>
                      <a:pt x="392" y="1036"/>
                    </a:lnTo>
                    <a:lnTo>
                      <a:pt x="383" y="1045"/>
                    </a:lnTo>
                    <a:lnTo>
                      <a:pt x="380" y="1048"/>
                    </a:lnTo>
                    <a:lnTo>
                      <a:pt x="378" y="1048"/>
                    </a:lnTo>
                    <a:lnTo>
                      <a:pt x="342" y="1033"/>
                    </a:lnTo>
                    <a:lnTo>
                      <a:pt x="331" y="1033"/>
                    </a:lnTo>
                    <a:lnTo>
                      <a:pt x="319" y="1038"/>
                    </a:lnTo>
                    <a:lnTo>
                      <a:pt x="316" y="1043"/>
                    </a:lnTo>
                    <a:lnTo>
                      <a:pt x="314" y="1050"/>
                    </a:lnTo>
                    <a:lnTo>
                      <a:pt x="312" y="1050"/>
                    </a:lnTo>
                    <a:lnTo>
                      <a:pt x="307" y="1050"/>
                    </a:lnTo>
                    <a:lnTo>
                      <a:pt x="300" y="1043"/>
                    </a:lnTo>
                    <a:lnTo>
                      <a:pt x="293" y="1033"/>
                    </a:lnTo>
                    <a:lnTo>
                      <a:pt x="288" y="1029"/>
                    </a:lnTo>
                    <a:lnTo>
                      <a:pt x="290" y="1017"/>
                    </a:lnTo>
                    <a:lnTo>
                      <a:pt x="286" y="1000"/>
                    </a:lnTo>
                    <a:lnTo>
                      <a:pt x="286" y="989"/>
                    </a:lnTo>
                    <a:lnTo>
                      <a:pt x="283" y="977"/>
                    </a:lnTo>
                    <a:lnTo>
                      <a:pt x="279" y="965"/>
                    </a:lnTo>
                    <a:lnTo>
                      <a:pt x="274" y="958"/>
                    </a:lnTo>
                    <a:lnTo>
                      <a:pt x="267" y="953"/>
                    </a:lnTo>
                    <a:lnTo>
                      <a:pt x="255" y="953"/>
                    </a:lnTo>
                    <a:lnTo>
                      <a:pt x="253" y="951"/>
                    </a:lnTo>
                    <a:lnTo>
                      <a:pt x="241" y="934"/>
                    </a:lnTo>
                    <a:lnTo>
                      <a:pt x="238" y="927"/>
                    </a:lnTo>
                    <a:lnTo>
                      <a:pt x="236" y="922"/>
                    </a:lnTo>
                    <a:lnTo>
                      <a:pt x="245" y="908"/>
                    </a:lnTo>
                    <a:lnTo>
                      <a:pt x="245" y="901"/>
                    </a:lnTo>
                    <a:lnTo>
                      <a:pt x="243" y="892"/>
                    </a:lnTo>
                    <a:lnTo>
                      <a:pt x="238" y="882"/>
                    </a:lnTo>
                    <a:lnTo>
                      <a:pt x="234" y="875"/>
                    </a:lnTo>
                    <a:lnTo>
                      <a:pt x="229" y="858"/>
                    </a:lnTo>
                    <a:lnTo>
                      <a:pt x="219" y="837"/>
                    </a:lnTo>
                    <a:lnTo>
                      <a:pt x="219" y="821"/>
                    </a:lnTo>
                    <a:lnTo>
                      <a:pt x="215" y="806"/>
                    </a:lnTo>
                    <a:lnTo>
                      <a:pt x="217" y="795"/>
                    </a:lnTo>
                    <a:lnTo>
                      <a:pt x="215" y="785"/>
                    </a:lnTo>
                    <a:lnTo>
                      <a:pt x="217" y="776"/>
                    </a:lnTo>
                    <a:lnTo>
                      <a:pt x="215" y="773"/>
                    </a:lnTo>
                    <a:lnTo>
                      <a:pt x="215" y="771"/>
                    </a:lnTo>
                    <a:lnTo>
                      <a:pt x="208" y="764"/>
                    </a:lnTo>
                    <a:lnTo>
                      <a:pt x="198" y="752"/>
                    </a:lnTo>
                    <a:lnTo>
                      <a:pt x="193" y="747"/>
                    </a:lnTo>
                    <a:lnTo>
                      <a:pt x="191" y="747"/>
                    </a:lnTo>
                    <a:lnTo>
                      <a:pt x="191" y="750"/>
                    </a:lnTo>
                    <a:lnTo>
                      <a:pt x="189" y="754"/>
                    </a:lnTo>
                    <a:lnTo>
                      <a:pt x="170" y="769"/>
                    </a:lnTo>
                    <a:lnTo>
                      <a:pt x="153" y="773"/>
                    </a:lnTo>
                    <a:lnTo>
                      <a:pt x="146" y="778"/>
                    </a:lnTo>
                    <a:lnTo>
                      <a:pt x="139" y="780"/>
                    </a:lnTo>
                    <a:lnTo>
                      <a:pt x="134" y="780"/>
                    </a:lnTo>
                    <a:lnTo>
                      <a:pt x="132" y="778"/>
                    </a:lnTo>
                    <a:lnTo>
                      <a:pt x="120" y="764"/>
                    </a:lnTo>
                    <a:lnTo>
                      <a:pt x="108" y="757"/>
                    </a:lnTo>
                    <a:lnTo>
                      <a:pt x="108" y="754"/>
                    </a:lnTo>
                    <a:lnTo>
                      <a:pt x="111" y="745"/>
                    </a:lnTo>
                    <a:lnTo>
                      <a:pt x="118" y="736"/>
                    </a:lnTo>
                    <a:lnTo>
                      <a:pt x="118" y="714"/>
                    </a:lnTo>
                    <a:lnTo>
                      <a:pt x="120" y="707"/>
                    </a:lnTo>
                    <a:lnTo>
                      <a:pt x="125" y="702"/>
                    </a:lnTo>
                    <a:lnTo>
                      <a:pt x="139" y="698"/>
                    </a:lnTo>
                    <a:lnTo>
                      <a:pt x="141" y="695"/>
                    </a:lnTo>
                    <a:lnTo>
                      <a:pt x="141" y="676"/>
                    </a:lnTo>
                    <a:lnTo>
                      <a:pt x="137" y="667"/>
                    </a:lnTo>
                    <a:lnTo>
                      <a:pt x="137" y="662"/>
                    </a:lnTo>
                    <a:lnTo>
                      <a:pt x="141" y="648"/>
                    </a:lnTo>
                    <a:lnTo>
                      <a:pt x="139" y="636"/>
                    </a:lnTo>
                    <a:lnTo>
                      <a:pt x="149" y="629"/>
                    </a:lnTo>
                    <a:lnTo>
                      <a:pt x="151" y="615"/>
                    </a:lnTo>
                    <a:lnTo>
                      <a:pt x="158" y="601"/>
                    </a:lnTo>
                    <a:lnTo>
                      <a:pt x="167" y="579"/>
                    </a:lnTo>
                    <a:lnTo>
                      <a:pt x="170" y="568"/>
                    </a:lnTo>
                    <a:lnTo>
                      <a:pt x="177" y="558"/>
                    </a:lnTo>
                    <a:lnTo>
                      <a:pt x="182" y="549"/>
                    </a:lnTo>
                    <a:lnTo>
                      <a:pt x="182" y="542"/>
                    </a:lnTo>
                    <a:lnTo>
                      <a:pt x="182" y="537"/>
                    </a:lnTo>
                    <a:lnTo>
                      <a:pt x="182" y="535"/>
                    </a:lnTo>
                    <a:lnTo>
                      <a:pt x="177" y="535"/>
                    </a:lnTo>
                    <a:lnTo>
                      <a:pt x="156" y="535"/>
                    </a:lnTo>
                    <a:lnTo>
                      <a:pt x="151" y="532"/>
                    </a:lnTo>
                    <a:lnTo>
                      <a:pt x="144" y="530"/>
                    </a:lnTo>
                    <a:lnTo>
                      <a:pt x="141" y="525"/>
                    </a:lnTo>
                    <a:lnTo>
                      <a:pt x="144" y="516"/>
                    </a:lnTo>
                    <a:lnTo>
                      <a:pt x="139" y="509"/>
                    </a:lnTo>
                    <a:lnTo>
                      <a:pt x="137" y="509"/>
                    </a:lnTo>
                    <a:lnTo>
                      <a:pt x="127" y="509"/>
                    </a:lnTo>
                    <a:lnTo>
                      <a:pt x="127" y="509"/>
                    </a:lnTo>
                    <a:lnTo>
                      <a:pt x="125" y="506"/>
                    </a:lnTo>
                    <a:lnTo>
                      <a:pt x="123" y="499"/>
                    </a:lnTo>
                    <a:lnTo>
                      <a:pt x="113" y="483"/>
                    </a:lnTo>
                    <a:lnTo>
                      <a:pt x="108" y="464"/>
                    </a:lnTo>
                    <a:lnTo>
                      <a:pt x="97" y="447"/>
                    </a:lnTo>
                    <a:lnTo>
                      <a:pt x="89" y="426"/>
                    </a:lnTo>
                    <a:lnTo>
                      <a:pt x="71" y="388"/>
                    </a:lnTo>
                    <a:lnTo>
                      <a:pt x="66" y="381"/>
                    </a:lnTo>
                    <a:lnTo>
                      <a:pt x="47" y="367"/>
                    </a:lnTo>
                    <a:lnTo>
                      <a:pt x="35" y="348"/>
                    </a:lnTo>
                    <a:lnTo>
                      <a:pt x="23" y="334"/>
                    </a:lnTo>
                    <a:lnTo>
                      <a:pt x="21" y="331"/>
                    </a:lnTo>
                    <a:lnTo>
                      <a:pt x="21" y="331"/>
                    </a:lnTo>
                    <a:lnTo>
                      <a:pt x="23" y="329"/>
                    </a:lnTo>
                    <a:lnTo>
                      <a:pt x="28" y="329"/>
                    </a:lnTo>
                    <a:lnTo>
                      <a:pt x="30" y="322"/>
                    </a:lnTo>
                    <a:lnTo>
                      <a:pt x="28" y="310"/>
                    </a:lnTo>
                    <a:lnTo>
                      <a:pt x="33" y="298"/>
                    </a:lnTo>
                    <a:lnTo>
                      <a:pt x="33" y="282"/>
                    </a:lnTo>
                    <a:lnTo>
                      <a:pt x="30" y="277"/>
                    </a:lnTo>
                    <a:lnTo>
                      <a:pt x="23" y="260"/>
                    </a:lnTo>
                    <a:lnTo>
                      <a:pt x="19" y="244"/>
                    </a:lnTo>
                    <a:lnTo>
                      <a:pt x="11" y="230"/>
                    </a:lnTo>
                    <a:lnTo>
                      <a:pt x="0" y="206"/>
                    </a:lnTo>
                    <a:lnTo>
                      <a:pt x="11" y="154"/>
                    </a:lnTo>
                    <a:lnTo>
                      <a:pt x="23" y="102"/>
                    </a:lnTo>
                    <a:lnTo>
                      <a:pt x="35" y="50"/>
                    </a:lnTo>
                    <a:lnTo>
                      <a:pt x="47" y="0"/>
                    </a:lnTo>
                    <a:lnTo>
                      <a:pt x="73" y="5"/>
                    </a:lnTo>
                    <a:lnTo>
                      <a:pt x="132" y="17"/>
                    </a:lnTo>
                    <a:lnTo>
                      <a:pt x="189" y="31"/>
                    </a:lnTo>
                    <a:lnTo>
                      <a:pt x="248" y="43"/>
                    </a:lnTo>
                    <a:lnTo>
                      <a:pt x="307" y="55"/>
                    </a:lnTo>
                    <a:lnTo>
                      <a:pt x="321" y="57"/>
                    </a:lnTo>
                    <a:lnTo>
                      <a:pt x="366" y="66"/>
                    </a:lnTo>
                    <a:lnTo>
                      <a:pt x="425" y="78"/>
                    </a:lnTo>
                    <a:lnTo>
                      <a:pt x="484" y="90"/>
                    </a:lnTo>
                    <a:lnTo>
                      <a:pt x="543" y="99"/>
                    </a:lnTo>
                    <a:lnTo>
                      <a:pt x="602" y="111"/>
                    </a:lnTo>
                    <a:lnTo>
                      <a:pt x="661" y="121"/>
                    </a:lnTo>
                    <a:lnTo>
                      <a:pt x="721" y="130"/>
                    </a:lnTo>
                    <a:lnTo>
                      <a:pt x="780" y="142"/>
                    </a:lnTo>
                    <a:lnTo>
                      <a:pt x="839" y="151"/>
                    </a:lnTo>
                    <a:lnTo>
                      <a:pt x="884" y="159"/>
                    </a:lnTo>
                    <a:lnTo>
                      <a:pt x="898" y="161"/>
                    </a:lnTo>
                    <a:lnTo>
                      <a:pt x="957" y="168"/>
                    </a:lnTo>
                    <a:lnTo>
                      <a:pt x="1016" y="177"/>
                    </a:lnTo>
                    <a:lnTo>
                      <a:pt x="1075" y="187"/>
                    </a:lnTo>
                    <a:lnTo>
                      <a:pt x="1134" y="194"/>
                    </a:lnTo>
                    <a:lnTo>
                      <a:pt x="1196" y="201"/>
                    </a:lnTo>
                    <a:lnTo>
                      <a:pt x="1255" y="211"/>
                    </a:lnTo>
                    <a:lnTo>
                      <a:pt x="1314" y="218"/>
                    </a:lnTo>
                    <a:lnTo>
                      <a:pt x="1373" y="225"/>
                    </a:lnTo>
                    <a:lnTo>
                      <a:pt x="1432" y="232"/>
                    </a:lnTo>
                    <a:lnTo>
                      <a:pt x="1494" y="237"/>
                    </a:lnTo>
                    <a:lnTo>
                      <a:pt x="1553" y="244"/>
                    </a:lnTo>
                    <a:lnTo>
                      <a:pt x="1612" y="248"/>
                    </a:lnTo>
                    <a:lnTo>
                      <a:pt x="1671" y="256"/>
                    </a:lnTo>
                    <a:lnTo>
                      <a:pt x="1716" y="260"/>
                    </a:lnTo>
                    <a:lnTo>
                      <a:pt x="1713" y="300"/>
                    </a:lnTo>
                    <a:lnTo>
                      <a:pt x="1709" y="341"/>
                    </a:lnTo>
                    <a:lnTo>
                      <a:pt x="1706" y="381"/>
                    </a:lnTo>
                    <a:lnTo>
                      <a:pt x="1702" y="421"/>
                    </a:lnTo>
                    <a:lnTo>
                      <a:pt x="1699" y="461"/>
                    </a:lnTo>
                    <a:lnTo>
                      <a:pt x="1697" y="501"/>
                    </a:lnTo>
                    <a:lnTo>
                      <a:pt x="1692" y="544"/>
                    </a:lnTo>
                    <a:lnTo>
                      <a:pt x="1690" y="584"/>
                    </a:lnTo>
                    <a:lnTo>
                      <a:pt x="1685" y="624"/>
                    </a:lnTo>
                    <a:lnTo>
                      <a:pt x="1683" y="665"/>
                    </a:lnTo>
                    <a:lnTo>
                      <a:pt x="1678" y="705"/>
                    </a:lnTo>
                    <a:lnTo>
                      <a:pt x="1676" y="745"/>
                    </a:lnTo>
                    <a:lnTo>
                      <a:pt x="1673" y="785"/>
                    </a:lnTo>
                    <a:lnTo>
                      <a:pt x="1668" y="825"/>
                    </a:lnTo>
                    <a:lnTo>
                      <a:pt x="1666" y="866"/>
                    </a:lnTo>
                    <a:lnTo>
                      <a:pt x="1661" y="90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12" name="Freeform 69">
                <a:extLst>
                  <a:ext uri="{FF2B5EF4-FFF2-40B4-BE49-F238E27FC236}">
                    <a16:creationId xmlns:a16="http://schemas.microsoft.com/office/drawing/2014/main" id="{FC359C36-434A-4E77-346F-3284750D9D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25" y="1459"/>
                <a:ext cx="1489" cy="645"/>
              </a:xfrm>
              <a:custGeom>
                <a:avLst/>
                <a:gdLst>
                  <a:gd name="T0" fmla="*/ 1383 w 1489"/>
                  <a:gd name="T1" fmla="*/ 57 h 645"/>
                  <a:gd name="T2" fmla="*/ 1335 w 1489"/>
                  <a:gd name="T3" fmla="*/ 66 h 645"/>
                  <a:gd name="T4" fmla="*/ 1331 w 1489"/>
                  <a:gd name="T5" fmla="*/ 102 h 645"/>
                  <a:gd name="T6" fmla="*/ 1279 w 1489"/>
                  <a:gd name="T7" fmla="*/ 135 h 645"/>
                  <a:gd name="T8" fmla="*/ 1253 w 1489"/>
                  <a:gd name="T9" fmla="*/ 137 h 645"/>
                  <a:gd name="T10" fmla="*/ 1331 w 1489"/>
                  <a:gd name="T11" fmla="*/ 135 h 645"/>
                  <a:gd name="T12" fmla="*/ 1373 w 1489"/>
                  <a:gd name="T13" fmla="*/ 184 h 645"/>
                  <a:gd name="T14" fmla="*/ 1406 w 1489"/>
                  <a:gd name="T15" fmla="*/ 120 h 645"/>
                  <a:gd name="T16" fmla="*/ 1402 w 1489"/>
                  <a:gd name="T17" fmla="*/ 217 h 645"/>
                  <a:gd name="T18" fmla="*/ 1326 w 1489"/>
                  <a:gd name="T19" fmla="*/ 255 h 645"/>
                  <a:gd name="T20" fmla="*/ 1293 w 1489"/>
                  <a:gd name="T21" fmla="*/ 236 h 645"/>
                  <a:gd name="T22" fmla="*/ 1234 w 1489"/>
                  <a:gd name="T23" fmla="*/ 265 h 645"/>
                  <a:gd name="T24" fmla="*/ 1309 w 1489"/>
                  <a:gd name="T25" fmla="*/ 314 h 645"/>
                  <a:gd name="T26" fmla="*/ 1231 w 1489"/>
                  <a:gd name="T27" fmla="*/ 331 h 645"/>
                  <a:gd name="T28" fmla="*/ 1361 w 1489"/>
                  <a:gd name="T29" fmla="*/ 350 h 645"/>
                  <a:gd name="T30" fmla="*/ 1309 w 1489"/>
                  <a:gd name="T31" fmla="*/ 411 h 645"/>
                  <a:gd name="T32" fmla="*/ 1224 w 1489"/>
                  <a:gd name="T33" fmla="*/ 449 h 645"/>
                  <a:gd name="T34" fmla="*/ 1198 w 1489"/>
                  <a:gd name="T35" fmla="*/ 459 h 645"/>
                  <a:gd name="T36" fmla="*/ 1161 w 1489"/>
                  <a:gd name="T37" fmla="*/ 522 h 645"/>
                  <a:gd name="T38" fmla="*/ 1135 w 1489"/>
                  <a:gd name="T39" fmla="*/ 600 h 645"/>
                  <a:gd name="T40" fmla="*/ 1057 w 1489"/>
                  <a:gd name="T41" fmla="*/ 631 h 645"/>
                  <a:gd name="T42" fmla="*/ 917 w 1489"/>
                  <a:gd name="T43" fmla="*/ 567 h 645"/>
                  <a:gd name="T44" fmla="*/ 782 w 1489"/>
                  <a:gd name="T45" fmla="*/ 494 h 645"/>
                  <a:gd name="T46" fmla="*/ 662 w 1489"/>
                  <a:gd name="T47" fmla="*/ 511 h 645"/>
                  <a:gd name="T48" fmla="*/ 589 w 1489"/>
                  <a:gd name="T49" fmla="*/ 473 h 645"/>
                  <a:gd name="T50" fmla="*/ 555 w 1489"/>
                  <a:gd name="T51" fmla="*/ 461 h 645"/>
                  <a:gd name="T52" fmla="*/ 440 w 1489"/>
                  <a:gd name="T53" fmla="*/ 470 h 645"/>
                  <a:gd name="T54" fmla="*/ 326 w 1489"/>
                  <a:gd name="T55" fmla="*/ 482 h 645"/>
                  <a:gd name="T56" fmla="*/ 236 w 1489"/>
                  <a:gd name="T57" fmla="*/ 532 h 645"/>
                  <a:gd name="T58" fmla="*/ 52 w 1489"/>
                  <a:gd name="T59" fmla="*/ 567 h 645"/>
                  <a:gd name="T60" fmla="*/ 26 w 1489"/>
                  <a:gd name="T61" fmla="*/ 513 h 645"/>
                  <a:gd name="T62" fmla="*/ 87 w 1489"/>
                  <a:gd name="T63" fmla="*/ 442 h 645"/>
                  <a:gd name="T64" fmla="*/ 210 w 1489"/>
                  <a:gd name="T65" fmla="*/ 366 h 645"/>
                  <a:gd name="T66" fmla="*/ 239 w 1489"/>
                  <a:gd name="T67" fmla="*/ 326 h 645"/>
                  <a:gd name="T68" fmla="*/ 267 w 1489"/>
                  <a:gd name="T69" fmla="*/ 326 h 645"/>
                  <a:gd name="T70" fmla="*/ 300 w 1489"/>
                  <a:gd name="T71" fmla="*/ 298 h 645"/>
                  <a:gd name="T72" fmla="*/ 371 w 1489"/>
                  <a:gd name="T73" fmla="*/ 241 h 645"/>
                  <a:gd name="T74" fmla="*/ 399 w 1489"/>
                  <a:gd name="T75" fmla="*/ 201 h 645"/>
                  <a:gd name="T76" fmla="*/ 529 w 1489"/>
                  <a:gd name="T77" fmla="*/ 156 h 645"/>
                  <a:gd name="T78" fmla="*/ 832 w 1489"/>
                  <a:gd name="T79" fmla="*/ 106 h 645"/>
                  <a:gd name="T80" fmla="*/ 1132 w 1489"/>
                  <a:gd name="T81" fmla="*/ 50 h 645"/>
                  <a:gd name="T82" fmla="*/ 1366 w 1489"/>
                  <a:gd name="T83" fmla="*/ 0 h 645"/>
                  <a:gd name="T84" fmla="*/ 1449 w 1489"/>
                  <a:gd name="T85" fmla="*/ 128 h 645"/>
                  <a:gd name="T86" fmla="*/ 1439 w 1489"/>
                  <a:gd name="T87" fmla="*/ 137 h 645"/>
                  <a:gd name="T88" fmla="*/ 1484 w 1489"/>
                  <a:gd name="T89" fmla="*/ 255 h 645"/>
                  <a:gd name="T90" fmla="*/ 1480 w 1489"/>
                  <a:gd name="T91" fmla="*/ 184 h 645"/>
                  <a:gd name="T92" fmla="*/ 1489 w 1489"/>
                  <a:gd name="T93" fmla="*/ 210 h 645"/>
                  <a:gd name="T94" fmla="*/ 1416 w 1489"/>
                  <a:gd name="T95" fmla="*/ 298 h 645"/>
                  <a:gd name="T96" fmla="*/ 1357 w 1489"/>
                  <a:gd name="T97" fmla="*/ 390 h 645"/>
                  <a:gd name="T98" fmla="*/ 1343 w 1489"/>
                  <a:gd name="T99" fmla="*/ 414 h 645"/>
                  <a:gd name="T100" fmla="*/ 1328 w 1489"/>
                  <a:gd name="T101" fmla="*/ 409 h 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489" h="645">
                    <a:moveTo>
                      <a:pt x="1354" y="2"/>
                    </a:moveTo>
                    <a:lnTo>
                      <a:pt x="1352" y="19"/>
                    </a:lnTo>
                    <a:lnTo>
                      <a:pt x="1357" y="28"/>
                    </a:lnTo>
                    <a:lnTo>
                      <a:pt x="1369" y="35"/>
                    </a:lnTo>
                    <a:lnTo>
                      <a:pt x="1383" y="57"/>
                    </a:lnTo>
                    <a:lnTo>
                      <a:pt x="1399" y="87"/>
                    </a:lnTo>
                    <a:lnTo>
                      <a:pt x="1385" y="78"/>
                    </a:lnTo>
                    <a:lnTo>
                      <a:pt x="1373" y="73"/>
                    </a:lnTo>
                    <a:lnTo>
                      <a:pt x="1354" y="71"/>
                    </a:lnTo>
                    <a:lnTo>
                      <a:pt x="1335" y="66"/>
                    </a:lnTo>
                    <a:lnTo>
                      <a:pt x="1340" y="78"/>
                    </a:lnTo>
                    <a:lnTo>
                      <a:pt x="1343" y="92"/>
                    </a:lnTo>
                    <a:lnTo>
                      <a:pt x="1328" y="92"/>
                    </a:lnTo>
                    <a:lnTo>
                      <a:pt x="1321" y="87"/>
                    </a:lnTo>
                    <a:lnTo>
                      <a:pt x="1331" y="102"/>
                    </a:lnTo>
                    <a:lnTo>
                      <a:pt x="1314" y="102"/>
                    </a:lnTo>
                    <a:lnTo>
                      <a:pt x="1305" y="104"/>
                    </a:lnTo>
                    <a:lnTo>
                      <a:pt x="1300" y="118"/>
                    </a:lnTo>
                    <a:lnTo>
                      <a:pt x="1293" y="130"/>
                    </a:lnTo>
                    <a:lnTo>
                      <a:pt x="1279" y="135"/>
                    </a:lnTo>
                    <a:lnTo>
                      <a:pt x="1257" y="128"/>
                    </a:lnTo>
                    <a:lnTo>
                      <a:pt x="1248" y="113"/>
                    </a:lnTo>
                    <a:lnTo>
                      <a:pt x="1241" y="97"/>
                    </a:lnTo>
                    <a:lnTo>
                      <a:pt x="1243" y="118"/>
                    </a:lnTo>
                    <a:lnTo>
                      <a:pt x="1253" y="137"/>
                    </a:lnTo>
                    <a:lnTo>
                      <a:pt x="1255" y="154"/>
                    </a:lnTo>
                    <a:lnTo>
                      <a:pt x="1274" y="151"/>
                    </a:lnTo>
                    <a:lnTo>
                      <a:pt x="1291" y="144"/>
                    </a:lnTo>
                    <a:lnTo>
                      <a:pt x="1317" y="139"/>
                    </a:lnTo>
                    <a:lnTo>
                      <a:pt x="1331" y="135"/>
                    </a:lnTo>
                    <a:lnTo>
                      <a:pt x="1340" y="128"/>
                    </a:lnTo>
                    <a:lnTo>
                      <a:pt x="1364" y="125"/>
                    </a:lnTo>
                    <a:lnTo>
                      <a:pt x="1369" y="144"/>
                    </a:lnTo>
                    <a:lnTo>
                      <a:pt x="1371" y="163"/>
                    </a:lnTo>
                    <a:lnTo>
                      <a:pt x="1373" y="184"/>
                    </a:lnTo>
                    <a:lnTo>
                      <a:pt x="1380" y="182"/>
                    </a:lnTo>
                    <a:lnTo>
                      <a:pt x="1387" y="175"/>
                    </a:lnTo>
                    <a:lnTo>
                      <a:pt x="1383" y="137"/>
                    </a:lnTo>
                    <a:lnTo>
                      <a:pt x="1399" y="120"/>
                    </a:lnTo>
                    <a:lnTo>
                      <a:pt x="1406" y="120"/>
                    </a:lnTo>
                    <a:lnTo>
                      <a:pt x="1416" y="130"/>
                    </a:lnTo>
                    <a:lnTo>
                      <a:pt x="1421" y="139"/>
                    </a:lnTo>
                    <a:lnTo>
                      <a:pt x="1428" y="156"/>
                    </a:lnTo>
                    <a:lnTo>
                      <a:pt x="1428" y="182"/>
                    </a:lnTo>
                    <a:lnTo>
                      <a:pt x="1402" y="217"/>
                    </a:lnTo>
                    <a:lnTo>
                      <a:pt x="1385" y="248"/>
                    </a:lnTo>
                    <a:lnTo>
                      <a:pt x="1373" y="258"/>
                    </a:lnTo>
                    <a:lnTo>
                      <a:pt x="1357" y="258"/>
                    </a:lnTo>
                    <a:lnTo>
                      <a:pt x="1335" y="255"/>
                    </a:lnTo>
                    <a:lnTo>
                      <a:pt x="1326" y="255"/>
                    </a:lnTo>
                    <a:lnTo>
                      <a:pt x="1319" y="260"/>
                    </a:lnTo>
                    <a:lnTo>
                      <a:pt x="1314" y="253"/>
                    </a:lnTo>
                    <a:lnTo>
                      <a:pt x="1307" y="239"/>
                    </a:lnTo>
                    <a:lnTo>
                      <a:pt x="1298" y="234"/>
                    </a:lnTo>
                    <a:lnTo>
                      <a:pt x="1293" y="236"/>
                    </a:lnTo>
                    <a:lnTo>
                      <a:pt x="1293" y="253"/>
                    </a:lnTo>
                    <a:lnTo>
                      <a:pt x="1276" y="262"/>
                    </a:lnTo>
                    <a:lnTo>
                      <a:pt x="1250" y="260"/>
                    </a:lnTo>
                    <a:lnTo>
                      <a:pt x="1220" y="253"/>
                    </a:lnTo>
                    <a:lnTo>
                      <a:pt x="1234" y="265"/>
                    </a:lnTo>
                    <a:lnTo>
                      <a:pt x="1305" y="277"/>
                    </a:lnTo>
                    <a:lnTo>
                      <a:pt x="1312" y="281"/>
                    </a:lnTo>
                    <a:lnTo>
                      <a:pt x="1321" y="286"/>
                    </a:lnTo>
                    <a:lnTo>
                      <a:pt x="1314" y="300"/>
                    </a:lnTo>
                    <a:lnTo>
                      <a:pt x="1309" y="314"/>
                    </a:lnTo>
                    <a:lnTo>
                      <a:pt x="1312" y="324"/>
                    </a:lnTo>
                    <a:lnTo>
                      <a:pt x="1309" y="331"/>
                    </a:lnTo>
                    <a:lnTo>
                      <a:pt x="1288" y="355"/>
                    </a:lnTo>
                    <a:lnTo>
                      <a:pt x="1274" y="355"/>
                    </a:lnTo>
                    <a:lnTo>
                      <a:pt x="1231" y="331"/>
                    </a:lnTo>
                    <a:lnTo>
                      <a:pt x="1253" y="355"/>
                    </a:lnTo>
                    <a:lnTo>
                      <a:pt x="1269" y="362"/>
                    </a:lnTo>
                    <a:lnTo>
                      <a:pt x="1295" y="362"/>
                    </a:lnTo>
                    <a:lnTo>
                      <a:pt x="1343" y="343"/>
                    </a:lnTo>
                    <a:lnTo>
                      <a:pt x="1361" y="350"/>
                    </a:lnTo>
                    <a:lnTo>
                      <a:pt x="1352" y="371"/>
                    </a:lnTo>
                    <a:lnTo>
                      <a:pt x="1343" y="388"/>
                    </a:lnTo>
                    <a:lnTo>
                      <a:pt x="1326" y="392"/>
                    </a:lnTo>
                    <a:lnTo>
                      <a:pt x="1312" y="400"/>
                    </a:lnTo>
                    <a:lnTo>
                      <a:pt x="1309" y="411"/>
                    </a:lnTo>
                    <a:lnTo>
                      <a:pt x="1298" y="414"/>
                    </a:lnTo>
                    <a:lnTo>
                      <a:pt x="1281" y="418"/>
                    </a:lnTo>
                    <a:lnTo>
                      <a:pt x="1255" y="423"/>
                    </a:lnTo>
                    <a:lnTo>
                      <a:pt x="1241" y="426"/>
                    </a:lnTo>
                    <a:lnTo>
                      <a:pt x="1224" y="449"/>
                    </a:lnTo>
                    <a:lnTo>
                      <a:pt x="1217" y="452"/>
                    </a:lnTo>
                    <a:lnTo>
                      <a:pt x="1205" y="452"/>
                    </a:lnTo>
                    <a:lnTo>
                      <a:pt x="1198" y="437"/>
                    </a:lnTo>
                    <a:lnTo>
                      <a:pt x="1191" y="430"/>
                    </a:lnTo>
                    <a:lnTo>
                      <a:pt x="1198" y="459"/>
                    </a:lnTo>
                    <a:lnTo>
                      <a:pt x="1201" y="466"/>
                    </a:lnTo>
                    <a:lnTo>
                      <a:pt x="1205" y="470"/>
                    </a:lnTo>
                    <a:lnTo>
                      <a:pt x="1187" y="492"/>
                    </a:lnTo>
                    <a:lnTo>
                      <a:pt x="1168" y="515"/>
                    </a:lnTo>
                    <a:lnTo>
                      <a:pt x="1161" y="522"/>
                    </a:lnTo>
                    <a:lnTo>
                      <a:pt x="1153" y="534"/>
                    </a:lnTo>
                    <a:lnTo>
                      <a:pt x="1139" y="565"/>
                    </a:lnTo>
                    <a:lnTo>
                      <a:pt x="1139" y="586"/>
                    </a:lnTo>
                    <a:lnTo>
                      <a:pt x="1137" y="612"/>
                    </a:lnTo>
                    <a:lnTo>
                      <a:pt x="1135" y="600"/>
                    </a:lnTo>
                    <a:lnTo>
                      <a:pt x="1132" y="584"/>
                    </a:lnTo>
                    <a:lnTo>
                      <a:pt x="1123" y="565"/>
                    </a:lnTo>
                    <a:lnTo>
                      <a:pt x="1127" y="603"/>
                    </a:lnTo>
                    <a:lnTo>
                      <a:pt x="1123" y="619"/>
                    </a:lnTo>
                    <a:lnTo>
                      <a:pt x="1057" y="631"/>
                    </a:lnTo>
                    <a:lnTo>
                      <a:pt x="1031" y="645"/>
                    </a:lnTo>
                    <a:lnTo>
                      <a:pt x="1000" y="626"/>
                    </a:lnTo>
                    <a:lnTo>
                      <a:pt x="974" y="608"/>
                    </a:lnTo>
                    <a:lnTo>
                      <a:pt x="945" y="589"/>
                    </a:lnTo>
                    <a:lnTo>
                      <a:pt x="917" y="567"/>
                    </a:lnTo>
                    <a:lnTo>
                      <a:pt x="889" y="548"/>
                    </a:lnTo>
                    <a:lnTo>
                      <a:pt x="863" y="530"/>
                    </a:lnTo>
                    <a:lnTo>
                      <a:pt x="834" y="511"/>
                    </a:lnTo>
                    <a:lnTo>
                      <a:pt x="808" y="492"/>
                    </a:lnTo>
                    <a:lnTo>
                      <a:pt x="782" y="494"/>
                    </a:lnTo>
                    <a:lnTo>
                      <a:pt x="759" y="499"/>
                    </a:lnTo>
                    <a:lnTo>
                      <a:pt x="735" y="501"/>
                    </a:lnTo>
                    <a:lnTo>
                      <a:pt x="709" y="504"/>
                    </a:lnTo>
                    <a:lnTo>
                      <a:pt x="685" y="508"/>
                    </a:lnTo>
                    <a:lnTo>
                      <a:pt x="662" y="511"/>
                    </a:lnTo>
                    <a:lnTo>
                      <a:pt x="638" y="515"/>
                    </a:lnTo>
                    <a:lnTo>
                      <a:pt x="612" y="518"/>
                    </a:lnTo>
                    <a:lnTo>
                      <a:pt x="610" y="501"/>
                    </a:lnTo>
                    <a:lnTo>
                      <a:pt x="607" y="489"/>
                    </a:lnTo>
                    <a:lnTo>
                      <a:pt x="589" y="473"/>
                    </a:lnTo>
                    <a:lnTo>
                      <a:pt x="577" y="463"/>
                    </a:lnTo>
                    <a:lnTo>
                      <a:pt x="560" y="475"/>
                    </a:lnTo>
                    <a:lnTo>
                      <a:pt x="558" y="470"/>
                    </a:lnTo>
                    <a:lnTo>
                      <a:pt x="558" y="463"/>
                    </a:lnTo>
                    <a:lnTo>
                      <a:pt x="555" y="461"/>
                    </a:lnTo>
                    <a:lnTo>
                      <a:pt x="551" y="459"/>
                    </a:lnTo>
                    <a:lnTo>
                      <a:pt x="522" y="461"/>
                    </a:lnTo>
                    <a:lnTo>
                      <a:pt x="496" y="466"/>
                    </a:lnTo>
                    <a:lnTo>
                      <a:pt x="468" y="468"/>
                    </a:lnTo>
                    <a:lnTo>
                      <a:pt x="440" y="470"/>
                    </a:lnTo>
                    <a:lnTo>
                      <a:pt x="414" y="475"/>
                    </a:lnTo>
                    <a:lnTo>
                      <a:pt x="385" y="478"/>
                    </a:lnTo>
                    <a:lnTo>
                      <a:pt x="359" y="480"/>
                    </a:lnTo>
                    <a:lnTo>
                      <a:pt x="331" y="482"/>
                    </a:lnTo>
                    <a:lnTo>
                      <a:pt x="326" y="482"/>
                    </a:lnTo>
                    <a:lnTo>
                      <a:pt x="314" y="492"/>
                    </a:lnTo>
                    <a:lnTo>
                      <a:pt x="284" y="506"/>
                    </a:lnTo>
                    <a:lnTo>
                      <a:pt x="269" y="518"/>
                    </a:lnTo>
                    <a:lnTo>
                      <a:pt x="262" y="518"/>
                    </a:lnTo>
                    <a:lnTo>
                      <a:pt x="236" y="532"/>
                    </a:lnTo>
                    <a:lnTo>
                      <a:pt x="210" y="544"/>
                    </a:lnTo>
                    <a:lnTo>
                      <a:pt x="208" y="544"/>
                    </a:lnTo>
                    <a:lnTo>
                      <a:pt x="156" y="553"/>
                    </a:lnTo>
                    <a:lnTo>
                      <a:pt x="104" y="560"/>
                    </a:lnTo>
                    <a:lnTo>
                      <a:pt x="52" y="567"/>
                    </a:lnTo>
                    <a:lnTo>
                      <a:pt x="0" y="574"/>
                    </a:lnTo>
                    <a:lnTo>
                      <a:pt x="2" y="530"/>
                    </a:lnTo>
                    <a:lnTo>
                      <a:pt x="5" y="520"/>
                    </a:lnTo>
                    <a:lnTo>
                      <a:pt x="9" y="515"/>
                    </a:lnTo>
                    <a:lnTo>
                      <a:pt x="26" y="513"/>
                    </a:lnTo>
                    <a:lnTo>
                      <a:pt x="38" y="508"/>
                    </a:lnTo>
                    <a:lnTo>
                      <a:pt x="45" y="480"/>
                    </a:lnTo>
                    <a:lnTo>
                      <a:pt x="64" y="454"/>
                    </a:lnTo>
                    <a:lnTo>
                      <a:pt x="73" y="449"/>
                    </a:lnTo>
                    <a:lnTo>
                      <a:pt x="87" y="442"/>
                    </a:lnTo>
                    <a:lnTo>
                      <a:pt x="123" y="433"/>
                    </a:lnTo>
                    <a:lnTo>
                      <a:pt x="158" y="407"/>
                    </a:lnTo>
                    <a:lnTo>
                      <a:pt x="184" y="383"/>
                    </a:lnTo>
                    <a:lnTo>
                      <a:pt x="206" y="373"/>
                    </a:lnTo>
                    <a:lnTo>
                      <a:pt x="210" y="366"/>
                    </a:lnTo>
                    <a:lnTo>
                      <a:pt x="215" y="357"/>
                    </a:lnTo>
                    <a:lnTo>
                      <a:pt x="215" y="343"/>
                    </a:lnTo>
                    <a:lnTo>
                      <a:pt x="217" y="340"/>
                    </a:lnTo>
                    <a:lnTo>
                      <a:pt x="232" y="340"/>
                    </a:lnTo>
                    <a:lnTo>
                      <a:pt x="239" y="326"/>
                    </a:lnTo>
                    <a:lnTo>
                      <a:pt x="248" y="319"/>
                    </a:lnTo>
                    <a:lnTo>
                      <a:pt x="255" y="314"/>
                    </a:lnTo>
                    <a:lnTo>
                      <a:pt x="262" y="314"/>
                    </a:lnTo>
                    <a:lnTo>
                      <a:pt x="265" y="317"/>
                    </a:lnTo>
                    <a:lnTo>
                      <a:pt x="267" y="326"/>
                    </a:lnTo>
                    <a:lnTo>
                      <a:pt x="269" y="329"/>
                    </a:lnTo>
                    <a:lnTo>
                      <a:pt x="274" y="329"/>
                    </a:lnTo>
                    <a:lnTo>
                      <a:pt x="279" y="326"/>
                    </a:lnTo>
                    <a:lnTo>
                      <a:pt x="286" y="319"/>
                    </a:lnTo>
                    <a:lnTo>
                      <a:pt x="300" y="298"/>
                    </a:lnTo>
                    <a:lnTo>
                      <a:pt x="312" y="288"/>
                    </a:lnTo>
                    <a:lnTo>
                      <a:pt x="331" y="281"/>
                    </a:lnTo>
                    <a:lnTo>
                      <a:pt x="345" y="288"/>
                    </a:lnTo>
                    <a:lnTo>
                      <a:pt x="355" y="284"/>
                    </a:lnTo>
                    <a:lnTo>
                      <a:pt x="371" y="241"/>
                    </a:lnTo>
                    <a:lnTo>
                      <a:pt x="381" y="234"/>
                    </a:lnTo>
                    <a:lnTo>
                      <a:pt x="388" y="229"/>
                    </a:lnTo>
                    <a:lnTo>
                      <a:pt x="399" y="227"/>
                    </a:lnTo>
                    <a:lnTo>
                      <a:pt x="397" y="217"/>
                    </a:lnTo>
                    <a:lnTo>
                      <a:pt x="399" y="201"/>
                    </a:lnTo>
                    <a:lnTo>
                      <a:pt x="399" y="189"/>
                    </a:lnTo>
                    <a:lnTo>
                      <a:pt x="404" y="173"/>
                    </a:lnTo>
                    <a:lnTo>
                      <a:pt x="407" y="175"/>
                    </a:lnTo>
                    <a:lnTo>
                      <a:pt x="468" y="165"/>
                    </a:lnTo>
                    <a:lnTo>
                      <a:pt x="529" y="156"/>
                    </a:lnTo>
                    <a:lnTo>
                      <a:pt x="589" y="147"/>
                    </a:lnTo>
                    <a:lnTo>
                      <a:pt x="650" y="137"/>
                    </a:lnTo>
                    <a:lnTo>
                      <a:pt x="709" y="125"/>
                    </a:lnTo>
                    <a:lnTo>
                      <a:pt x="771" y="116"/>
                    </a:lnTo>
                    <a:lnTo>
                      <a:pt x="832" y="106"/>
                    </a:lnTo>
                    <a:lnTo>
                      <a:pt x="891" y="94"/>
                    </a:lnTo>
                    <a:lnTo>
                      <a:pt x="953" y="83"/>
                    </a:lnTo>
                    <a:lnTo>
                      <a:pt x="1012" y="71"/>
                    </a:lnTo>
                    <a:lnTo>
                      <a:pt x="1073" y="61"/>
                    </a:lnTo>
                    <a:lnTo>
                      <a:pt x="1132" y="50"/>
                    </a:lnTo>
                    <a:lnTo>
                      <a:pt x="1194" y="35"/>
                    </a:lnTo>
                    <a:lnTo>
                      <a:pt x="1253" y="24"/>
                    </a:lnTo>
                    <a:lnTo>
                      <a:pt x="1312" y="12"/>
                    </a:lnTo>
                    <a:lnTo>
                      <a:pt x="1354" y="2"/>
                    </a:lnTo>
                    <a:close/>
                    <a:moveTo>
                      <a:pt x="1366" y="0"/>
                    </a:moveTo>
                    <a:lnTo>
                      <a:pt x="1371" y="0"/>
                    </a:lnTo>
                    <a:lnTo>
                      <a:pt x="1404" y="61"/>
                    </a:lnTo>
                    <a:lnTo>
                      <a:pt x="1454" y="125"/>
                    </a:lnTo>
                    <a:lnTo>
                      <a:pt x="1461" y="137"/>
                    </a:lnTo>
                    <a:lnTo>
                      <a:pt x="1449" y="128"/>
                    </a:lnTo>
                    <a:lnTo>
                      <a:pt x="1413" y="85"/>
                    </a:lnTo>
                    <a:lnTo>
                      <a:pt x="1392" y="54"/>
                    </a:lnTo>
                    <a:lnTo>
                      <a:pt x="1366" y="0"/>
                    </a:lnTo>
                    <a:close/>
                    <a:moveTo>
                      <a:pt x="1442" y="132"/>
                    </a:moveTo>
                    <a:lnTo>
                      <a:pt x="1439" y="137"/>
                    </a:lnTo>
                    <a:lnTo>
                      <a:pt x="1423" y="118"/>
                    </a:lnTo>
                    <a:lnTo>
                      <a:pt x="1437" y="123"/>
                    </a:lnTo>
                    <a:lnTo>
                      <a:pt x="1439" y="128"/>
                    </a:lnTo>
                    <a:lnTo>
                      <a:pt x="1442" y="132"/>
                    </a:lnTo>
                    <a:close/>
                    <a:moveTo>
                      <a:pt x="1484" y="255"/>
                    </a:moveTo>
                    <a:lnTo>
                      <a:pt x="1463" y="267"/>
                    </a:lnTo>
                    <a:lnTo>
                      <a:pt x="1461" y="265"/>
                    </a:lnTo>
                    <a:lnTo>
                      <a:pt x="1484" y="248"/>
                    </a:lnTo>
                    <a:lnTo>
                      <a:pt x="1484" y="206"/>
                    </a:lnTo>
                    <a:lnTo>
                      <a:pt x="1480" y="184"/>
                    </a:lnTo>
                    <a:lnTo>
                      <a:pt x="1468" y="154"/>
                    </a:lnTo>
                    <a:lnTo>
                      <a:pt x="1468" y="147"/>
                    </a:lnTo>
                    <a:lnTo>
                      <a:pt x="1475" y="156"/>
                    </a:lnTo>
                    <a:lnTo>
                      <a:pt x="1484" y="187"/>
                    </a:lnTo>
                    <a:lnTo>
                      <a:pt x="1489" y="210"/>
                    </a:lnTo>
                    <a:lnTo>
                      <a:pt x="1489" y="246"/>
                    </a:lnTo>
                    <a:lnTo>
                      <a:pt x="1484" y="255"/>
                    </a:lnTo>
                    <a:close/>
                    <a:moveTo>
                      <a:pt x="1447" y="274"/>
                    </a:moveTo>
                    <a:lnTo>
                      <a:pt x="1421" y="298"/>
                    </a:lnTo>
                    <a:lnTo>
                      <a:pt x="1416" y="298"/>
                    </a:lnTo>
                    <a:lnTo>
                      <a:pt x="1435" y="281"/>
                    </a:lnTo>
                    <a:lnTo>
                      <a:pt x="1447" y="274"/>
                    </a:lnTo>
                    <a:close/>
                    <a:moveTo>
                      <a:pt x="1350" y="416"/>
                    </a:moveTo>
                    <a:lnTo>
                      <a:pt x="1347" y="418"/>
                    </a:lnTo>
                    <a:lnTo>
                      <a:pt x="1357" y="390"/>
                    </a:lnTo>
                    <a:lnTo>
                      <a:pt x="1380" y="350"/>
                    </a:lnTo>
                    <a:lnTo>
                      <a:pt x="1387" y="343"/>
                    </a:lnTo>
                    <a:lnTo>
                      <a:pt x="1369" y="376"/>
                    </a:lnTo>
                    <a:lnTo>
                      <a:pt x="1350" y="416"/>
                    </a:lnTo>
                    <a:close/>
                    <a:moveTo>
                      <a:pt x="1343" y="414"/>
                    </a:moveTo>
                    <a:lnTo>
                      <a:pt x="1338" y="416"/>
                    </a:lnTo>
                    <a:lnTo>
                      <a:pt x="1331" y="414"/>
                    </a:lnTo>
                    <a:lnTo>
                      <a:pt x="1321" y="411"/>
                    </a:lnTo>
                    <a:lnTo>
                      <a:pt x="1319" y="409"/>
                    </a:lnTo>
                    <a:lnTo>
                      <a:pt x="1328" y="409"/>
                    </a:lnTo>
                    <a:lnTo>
                      <a:pt x="1343" y="41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13" name="Freeform 70">
                <a:extLst>
                  <a:ext uri="{FF2B5EF4-FFF2-40B4-BE49-F238E27FC236}">
                    <a16:creationId xmlns:a16="http://schemas.microsoft.com/office/drawing/2014/main" id="{DDDFA668-30D5-F2CF-FE4E-5552F370D4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4" y="-842"/>
                <a:ext cx="1102" cy="698"/>
              </a:xfrm>
              <a:custGeom>
                <a:avLst/>
                <a:gdLst>
                  <a:gd name="T0" fmla="*/ 1066 w 1102"/>
                  <a:gd name="T1" fmla="*/ 698 h 698"/>
                  <a:gd name="T2" fmla="*/ 998 w 1102"/>
                  <a:gd name="T3" fmla="*/ 698 h 698"/>
                  <a:gd name="T4" fmla="*/ 929 w 1102"/>
                  <a:gd name="T5" fmla="*/ 695 h 698"/>
                  <a:gd name="T6" fmla="*/ 861 w 1102"/>
                  <a:gd name="T7" fmla="*/ 695 h 698"/>
                  <a:gd name="T8" fmla="*/ 792 w 1102"/>
                  <a:gd name="T9" fmla="*/ 693 h 698"/>
                  <a:gd name="T10" fmla="*/ 724 w 1102"/>
                  <a:gd name="T11" fmla="*/ 691 h 698"/>
                  <a:gd name="T12" fmla="*/ 655 w 1102"/>
                  <a:gd name="T13" fmla="*/ 688 h 698"/>
                  <a:gd name="T14" fmla="*/ 587 w 1102"/>
                  <a:gd name="T15" fmla="*/ 686 h 698"/>
                  <a:gd name="T16" fmla="*/ 516 w 1102"/>
                  <a:gd name="T17" fmla="*/ 681 h 698"/>
                  <a:gd name="T18" fmla="*/ 447 w 1102"/>
                  <a:gd name="T19" fmla="*/ 679 h 698"/>
                  <a:gd name="T20" fmla="*/ 379 w 1102"/>
                  <a:gd name="T21" fmla="*/ 674 h 698"/>
                  <a:gd name="T22" fmla="*/ 310 w 1102"/>
                  <a:gd name="T23" fmla="*/ 669 h 698"/>
                  <a:gd name="T24" fmla="*/ 241 w 1102"/>
                  <a:gd name="T25" fmla="*/ 665 h 698"/>
                  <a:gd name="T26" fmla="*/ 173 w 1102"/>
                  <a:gd name="T27" fmla="*/ 660 h 698"/>
                  <a:gd name="T28" fmla="*/ 104 w 1102"/>
                  <a:gd name="T29" fmla="*/ 655 h 698"/>
                  <a:gd name="T30" fmla="*/ 36 w 1102"/>
                  <a:gd name="T31" fmla="*/ 648 h 698"/>
                  <a:gd name="T32" fmla="*/ 5 w 1102"/>
                  <a:gd name="T33" fmla="*/ 606 h 698"/>
                  <a:gd name="T34" fmla="*/ 12 w 1102"/>
                  <a:gd name="T35" fmla="*/ 525 h 698"/>
                  <a:gd name="T36" fmla="*/ 17 w 1102"/>
                  <a:gd name="T37" fmla="*/ 445 h 698"/>
                  <a:gd name="T38" fmla="*/ 24 w 1102"/>
                  <a:gd name="T39" fmla="*/ 364 h 698"/>
                  <a:gd name="T40" fmla="*/ 31 w 1102"/>
                  <a:gd name="T41" fmla="*/ 284 h 698"/>
                  <a:gd name="T42" fmla="*/ 38 w 1102"/>
                  <a:gd name="T43" fmla="*/ 201 h 698"/>
                  <a:gd name="T44" fmla="*/ 45 w 1102"/>
                  <a:gd name="T45" fmla="*/ 121 h 698"/>
                  <a:gd name="T46" fmla="*/ 52 w 1102"/>
                  <a:gd name="T47" fmla="*/ 40 h 698"/>
                  <a:gd name="T48" fmla="*/ 71 w 1102"/>
                  <a:gd name="T49" fmla="*/ 0 h 698"/>
                  <a:gd name="T50" fmla="*/ 189 w 1102"/>
                  <a:gd name="T51" fmla="*/ 10 h 698"/>
                  <a:gd name="T52" fmla="*/ 310 w 1102"/>
                  <a:gd name="T53" fmla="*/ 19 h 698"/>
                  <a:gd name="T54" fmla="*/ 431 w 1102"/>
                  <a:gd name="T55" fmla="*/ 26 h 698"/>
                  <a:gd name="T56" fmla="*/ 549 w 1102"/>
                  <a:gd name="T57" fmla="*/ 33 h 698"/>
                  <a:gd name="T58" fmla="*/ 669 w 1102"/>
                  <a:gd name="T59" fmla="*/ 38 h 698"/>
                  <a:gd name="T60" fmla="*/ 790 w 1102"/>
                  <a:gd name="T61" fmla="*/ 43 h 698"/>
                  <a:gd name="T62" fmla="*/ 908 w 1102"/>
                  <a:gd name="T63" fmla="*/ 45 h 698"/>
                  <a:gd name="T64" fmla="*/ 1012 w 1102"/>
                  <a:gd name="T65" fmla="*/ 48 h 698"/>
                  <a:gd name="T66" fmla="*/ 1024 w 1102"/>
                  <a:gd name="T67" fmla="*/ 133 h 698"/>
                  <a:gd name="T68" fmla="*/ 1024 w 1102"/>
                  <a:gd name="T69" fmla="*/ 166 h 698"/>
                  <a:gd name="T70" fmla="*/ 1024 w 1102"/>
                  <a:gd name="T71" fmla="*/ 199 h 698"/>
                  <a:gd name="T72" fmla="*/ 1031 w 1102"/>
                  <a:gd name="T73" fmla="*/ 251 h 698"/>
                  <a:gd name="T74" fmla="*/ 1040 w 1102"/>
                  <a:gd name="T75" fmla="*/ 284 h 698"/>
                  <a:gd name="T76" fmla="*/ 1048 w 1102"/>
                  <a:gd name="T77" fmla="*/ 312 h 698"/>
                  <a:gd name="T78" fmla="*/ 1059 w 1102"/>
                  <a:gd name="T79" fmla="*/ 383 h 698"/>
                  <a:gd name="T80" fmla="*/ 1064 w 1102"/>
                  <a:gd name="T81" fmla="*/ 468 h 698"/>
                  <a:gd name="T82" fmla="*/ 1071 w 1102"/>
                  <a:gd name="T83" fmla="*/ 490 h 698"/>
                  <a:gd name="T84" fmla="*/ 1069 w 1102"/>
                  <a:gd name="T85" fmla="*/ 516 h 698"/>
                  <a:gd name="T86" fmla="*/ 1074 w 1102"/>
                  <a:gd name="T87" fmla="*/ 561 h 698"/>
                  <a:gd name="T88" fmla="*/ 1092 w 1102"/>
                  <a:gd name="T89" fmla="*/ 617 h 698"/>
                  <a:gd name="T90" fmla="*/ 1097 w 1102"/>
                  <a:gd name="T91" fmla="*/ 639 h 698"/>
                  <a:gd name="T92" fmla="*/ 1100 w 1102"/>
                  <a:gd name="T93" fmla="*/ 681 h 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102" h="698">
                    <a:moveTo>
                      <a:pt x="1102" y="698"/>
                    </a:moveTo>
                    <a:lnTo>
                      <a:pt x="1066" y="698"/>
                    </a:lnTo>
                    <a:lnTo>
                      <a:pt x="1033" y="698"/>
                    </a:lnTo>
                    <a:lnTo>
                      <a:pt x="998" y="698"/>
                    </a:lnTo>
                    <a:lnTo>
                      <a:pt x="965" y="698"/>
                    </a:lnTo>
                    <a:lnTo>
                      <a:pt x="929" y="695"/>
                    </a:lnTo>
                    <a:lnTo>
                      <a:pt x="896" y="695"/>
                    </a:lnTo>
                    <a:lnTo>
                      <a:pt x="861" y="695"/>
                    </a:lnTo>
                    <a:lnTo>
                      <a:pt x="825" y="693"/>
                    </a:lnTo>
                    <a:lnTo>
                      <a:pt x="792" y="693"/>
                    </a:lnTo>
                    <a:lnTo>
                      <a:pt x="757" y="691"/>
                    </a:lnTo>
                    <a:lnTo>
                      <a:pt x="724" y="691"/>
                    </a:lnTo>
                    <a:lnTo>
                      <a:pt x="688" y="688"/>
                    </a:lnTo>
                    <a:lnTo>
                      <a:pt x="655" y="688"/>
                    </a:lnTo>
                    <a:lnTo>
                      <a:pt x="620" y="686"/>
                    </a:lnTo>
                    <a:lnTo>
                      <a:pt x="587" y="686"/>
                    </a:lnTo>
                    <a:lnTo>
                      <a:pt x="551" y="684"/>
                    </a:lnTo>
                    <a:lnTo>
                      <a:pt x="516" y="681"/>
                    </a:lnTo>
                    <a:lnTo>
                      <a:pt x="483" y="681"/>
                    </a:lnTo>
                    <a:lnTo>
                      <a:pt x="447" y="679"/>
                    </a:lnTo>
                    <a:lnTo>
                      <a:pt x="414" y="676"/>
                    </a:lnTo>
                    <a:lnTo>
                      <a:pt x="379" y="674"/>
                    </a:lnTo>
                    <a:lnTo>
                      <a:pt x="345" y="672"/>
                    </a:lnTo>
                    <a:lnTo>
                      <a:pt x="310" y="669"/>
                    </a:lnTo>
                    <a:lnTo>
                      <a:pt x="277" y="667"/>
                    </a:lnTo>
                    <a:lnTo>
                      <a:pt x="241" y="665"/>
                    </a:lnTo>
                    <a:lnTo>
                      <a:pt x="208" y="662"/>
                    </a:lnTo>
                    <a:lnTo>
                      <a:pt x="173" y="660"/>
                    </a:lnTo>
                    <a:lnTo>
                      <a:pt x="137" y="658"/>
                    </a:lnTo>
                    <a:lnTo>
                      <a:pt x="104" y="655"/>
                    </a:lnTo>
                    <a:lnTo>
                      <a:pt x="69" y="653"/>
                    </a:lnTo>
                    <a:lnTo>
                      <a:pt x="36" y="648"/>
                    </a:lnTo>
                    <a:lnTo>
                      <a:pt x="0" y="646"/>
                    </a:lnTo>
                    <a:lnTo>
                      <a:pt x="5" y="606"/>
                    </a:lnTo>
                    <a:lnTo>
                      <a:pt x="7" y="565"/>
                    </a:lnTo>
                    <a:lnTo>
                      <a:pt x="12" y="525"/>
                    </a:lnTo>
                    <a:lnTo>
                      <a:pt x="15" y="485"/>
                    </a:lnTo>
                    <a:lnTo>
                      <a:pt x="17" y="445"/>
                    </a:lnTo>
                    <a:lnTo>
                      <a:pt x="22" y="405"/>
                    </a:lnTo>
                    <a:lnTo>
                      <a:pt x="24" y="364"/>
                    </a:lnTo>
                    <a:lnTo>
                      <a:pt x="29" y="324"/>
                    </a:lnTo>
                    <a:lnTo>
                      <a:pt x="31" y="284"/>
                    </a:lnTo>
                    <a:lnTo>
                      <a:pt x="36" y="241"/>
                    </a:lnTo>
                    <a:lnTo>
                      <a:pt x="38" y="201"/>
                    </a:lnTo>
                    <a:lnTo>
                      <a:pt x="41" y="161"/>
                    </a:lnTo>
                    <a:lnTo>
                      <a:pt x="45" y="121"/>
                    </a:lnTo>
                    <a:lnTo>
                      <a:pt x="48" y="81"/>
                    </a:lnTo>
                    <a:lnTo>
                      <a:pt x="52" y="40"/>
                    </a:lnTo>
                    <a:lnTo>
                      <a:pt x="55" y="0"/>
                    </a:lnTo>
                    <a:lnTo>
                      <a:pt x="71" y="0"/>
                    </a:lnTo>
                    <a:lnTo>
                      <a:pt x="130" y="5"/>
                    </a:lnTo>
                    <a:lnTo>
                      <a:pt x="189" y="10"/>
                    </a:lnTo>
                    <a:lnTo>
                      <a:pt x="251" y="14"/>
                    </a:lnTo>
                    <a:lnTo>
                      <a:pt x="310" y="19"/>
                    </a:lnTo>
                    <a:lnTo>
                      <a:pt x="369" y="24"/>
                    </a:lnTo>
                    <a:lnTo>
                      <a:pt x="431" y="26"/>
                    </a:lnTo>
                    <a:lnTo>
                      <a:pt x="490" y="31"/>
                    </a:lnTo>
                    <a:lnTo>
                      <a:pt x="549" y="33"/>
                    </a:lnTo>
                    <a:lnTo>
                      <a:pt x="610" y="36"/>
                    </a:lnTo>
                    <a:lnTo>
                      <a:pt x="669" y="38"/>
                    </a:lnTo>
                    <a:lnTo>
                      <a:pt x="728" y="40"/>
                    </a:lnTo>
                    <a:lnTo>
                      <a:pt x="790" y="43"/>
                    </a:lnTo>
                    <a:lnTo>
                      <a:pt x="849" y="45"/>
                    </a:lnTo>
                    <a:lnTo>
                      <a:pt x="908" y="45"/>
                    </a:lnTo>
                    <a:lnTo>
                      <a:pt x="970" y="48"/>
                    </a:lnTo>
                    <a:lnTo>
                      <a:pt x="1012" y="48"/>
                    </a:lnTo>
                    <a:lnTo>
                      <a:pt x="1024" y="114"/>
                    </a:lnTo>
                    <a:lnTo>
                      <a:pt x="1024" y="133"/>
                    </a:lnTo>
                    <a:lnTo>
                      <a:pt x="1022" y="147"/>
                    </a:lnTo>
                    <a:lnTo>
                      <a:pt x="1024" y="166"/>
                    </a:lnTo>
                    <a:lnTo>
                      <a:pt x="1022" y="180"/>
                    </a:lnTo>
                    <a:lnTo>
                      <a:pt x="1024" y="199"/>
                    </a:lnTo>
                    <a:lnTo>
                      <a:pt x="1024" y="223"/>
                    </a:lnTo>
                    <a:lnTo>
                      <a:pt x="1031" y="251"/>
                    </a:lnTo>
                    <a:lnTo>
                      <a:pt x="1040" y="277"/>
                    </a:lnTo>
                    <a:lnTo>
                      <a:pt x="1040" y="284"/>
                    </a:lnTo>
                    <a:lnTo>
                      <a:pt x="1043" y="298"/>
                    </a:lnTo>
                    <a:lnTo>
                      <a:pt x="1048" y="312"/>
                    </a:lnTo>
                    <a:lnTo>
                      <a:pt x="1062" y="348"/>
                    </a:lnTo>
                    <a:lnTo>
                      <a:pt x="1059" y="383"/>
                    </a:lnTo>
                    <a:lnTo>
                      <a:pt x="1062" y="395"/>
                    </a:lnTo>
                    <a:lnTo>
                      <a:pt x="1064" y="468"/>
                    </a:lnTo>
                    <a:lnTo>
                      <a:pt x="1064" y="480"/>
                    </a:lnTo>
                    <a:lnTo>
                      <a:pt x="1071" y="490"/>
                    </a:lnTo>
                    <a:lnTo>
                      <a:pt x="1069" y="509"/>
                    </a:lnTo>
                    <a:lnTo>
                      <a:pt x="1069" y="516"/>
                    </a:lnTo>
                    <a:lnTo>
                      <a:pt x="1069" y="549"/>
                    </a:lnTo>
                    <a:lnTo>
                      <a:pt x="1074" y="561"/>
                    </a:lnTo>
                    <a:lnTo>
                      <a:pt x="1076" y="587"/>
                    </a:lnTo>
                    <a:lnTo>
                      <a:pt x="1092" y="617"/>
                    </a:lnTo>
                    <a:lnTo>
                      <a:pt x="1097" y="629"/>
                    </a:lnTo>
                    <a:lnTo>
                      <a:pt x="1097" y="639"/>
                    </a:lnTo>
                    <a:lnTo>
                      <a:pt x="1102" y="658"/>
                    </a:lnTo>
                    <a:lnTo>
                      <a:pt x="1100" y="681"/>
                    </a:lnTo>
                    <a:lnTo>
                      <a:pt x="1102" y="69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14" name="Freeform 71">
                <a:extLst>
                  <a:ext uri="{FF2B5EF4-FFF2-40B4-BE49-F238E27FC236}">
                    <a16:creationId xmlns:a16="http://schemas.microsoft.com/office/drawing/2014/main" id="{B2A6C696-D4E9-3905-4E50-FB2E7CE616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2" y="423"/>
                <a:ext cx="1381" cy="686"/>
              </a:xfrm>
              <a:custGeom>
                <a:avLst/>
                <a:gdLst>
                  <a:gd name="T0" fmla="*/ 1206 w 1381"/>
                  <a:gd name="T1" fmla="*/ 159 h 686"/>
                  <a:gd name="T2" fmla="*/ 1220 w 1381"/>
                  <a:gd name="T3" fmla="*/ 211 h 686"/>
                  <a:gd name="T4" fmla="*/ 1244 w 1381"/>
                  <a:gd name="T5" fmla="*/ 258 h 686"/>
                  <a:gd name="T6" fmla="*/ 1253 w 1381"/>
                  <a:gd name="T7" fmla="*/ 284 h 686"/>
                  <a:gd name="T8" fmla="*/ 1262 w 1381"/>
                  <a:gd name="T9" fmla="*/ 303 h 686"/>
                  <a:gd name="T10" fmla="*/ 1265 w 1381"/>
                  <a:gd name="T11" fmla="*/ 348 h 686"/>
                  <a:gd name="T12" fmla="*/ 1274 w 1381"/>
                  <a:gd name="T13" fmla="*/ 364 h 686"/>
                  <a:gd name="T14" fmla="*/ 1277 w 1381"/>
                  <a:gd name="T15" fmla="*/ 374 h 686"/>
                  <a:gd name="T16" fmla="*/ 1286 w 1381"/>
                  <a:gd name="T17" fmla="*/ 379 h 686"/>
                  <a:gd name="T18" fmla="*/ 1284 w 1381"/>
                  <a:gd name="T19" fmla="*/ 400 h 686"/>
                  <a:gd name="T20" fmla="*/ 1293 w 1381"/>
                  <a:gd name="T21" fmla="*/ 409 h 686"/>
                  <a:gd name="T22" fmla="*/ 1291 w 1381"/>
                  <a:gd name="T23" fmla="*/ 426 h 686"/>
                  <a:gd name="T24" fmla="*/ 1298 w 1381"/>
                  <a:gd name="T25" fmla="*/ 438 h 686"/>
                  <a:gd name="T26" fmla="*/ 1303 w 1381"/>
                  <a:gd name="T27" fmla="*/ 499 h 686"/>
                  <a:gd name="T28" fmla="*/ 1298 w 1381"/>
                  <a:gd name="T29" fmla="*/ 530 h 686"/>
                  <a:gd name="T30" fmla="*/ 1314 w 1381"/>
                  <a:gd name="T31" fmla="*/ 561 h 686"/>
                  <a:gd name="T32" fmla="*/ 1326 w 1381"/>
                  <a:gd name="T33" fmla="*/ 589 h 686"/>
                  <a:gd name="T34" fmla="*/ 1340 w 1381"/>
                  <a:gd name="T35" fmla="*/ 624 h 686"/>
                  <a:gd name="T36" fmla="*/ 1362 w 1381"/>
                  <a:gd name="T37" fmla="*/ 646 h 686"/>
                  <a:gd name="T38" fmla="*/ 1378 w 1381"/>
                  <a:gd name="T39" fmla="*/ 684 h 686"/>
                  <a:gd name="T40" fmla="*/ 1352 w 1381"/>
                  <a:gd name="T41" fmla="*/ 686 h 686"/>
                  <a:gd name="T42" fmla="*/ 1286 w 1381"/>
                  <a:gd name="T43" fmla="*/ 686 h 686"/>
                  <a:gd name="T44" fmla="*/ 1218 w 1381"/>
                  <a:gd name="T45" fmla="*/ 686 h 686"/>
                  <a:gd name="T46" fmla="*/ 1149 w 1381"/>
                  <a:gd name="T47" fmla="*/ 686 h 686"/>
                  <a:gd name="T48" fmla="*/ 1083 w 1381"/>
                  <a:gd name="T49" fmla="*/ 686 h 686"/>
                  <a:gd name="T50" fmla="*/ 1014 w 1381"/>
                  <a:gd name="T51" fmla="*/ 684 h 686"/>
                  <a:gd name="T52" fmla="*/ 946 w 1381"/>
                  <a:gd name="T53" fmla="*/ 684 h 686"/>
                  <a:gd name="T54" fmla="*/ 880 w 1381"/>
                  <a:gd name="T55" fmla="*/ 681 h 686"/>
                  <a:gd name="T56" fmla="*/ 811 w 1381"/>
                  <a:gd name="T57" fmla="*/ 679 h 686"/>
                  <a:gd name="T58" fmla="*/ 742 w 1381"/>
                  <a:gd name="T59" fmla="*/ 677 h 686"/>
                  <a:gd name="T60" fmla="*/ 676 w 1381"/>
                  <a:gd name="T61" fmla="*/ 674 h 686"/>
                  <a:gd name="T62" fmla="*/ 608 w 1381"/>
                  <a:gd name="T63" fmla="*/ 672 h 686"/>
                  <a:gd name="T64" fmla="*/ 539 w 1381"/>
                  <a:gd name="T65" fmla="*/ 669 h 686"/>
                  <a:gd name="T66" fmla="*/ 473 w 1381"/>
                  <a:gd name="T67" fmla="*/ 665 h 686"/>
                  <a:gd name="T68" fmla="*/ 404 w 1381"/>
                  <a:gd name="T69" fmla="*/ 660 h 686"/>
                  <a:gd name="T70" fmla="*/ 336 w 1381"/>
                  <a:gd name="T71" fmla="*/ 658 h 686"/>
                  <a:gd name="T72" fmla="*/ 305 w 1381"/>
                  <a:gd name="T73" fmla="*/ 629 h 686"/>
                  <a:gd name="T74" fmla="*/ 307 w 1381"/>
                  <a:gd name="T75" fmla="*/ 575 h 686"/>
                  <a:gd name="T76" fmla="*/ 312 w 1381"/>
                  <a:gd name="T77" fmla="*/ 523 h 686"/>
                  <a:gd name="T78" fmla="*/ 315 w 1381"/>
                  <a:gd name="T79" fmla="*/ 471 h 686"/>
                  <a:gd name="T80" fmla="*/ 277 w 1381"/>
                  <a:gd name="T81" fmla="*/ 442 h 686"/>
                  <a:gd name="T82" fmla="*/ 199 w 1381"/>
                  <a:gd name="T83" fmla="*/ 435 h 686"/>
                  <a:gd name="T84" fmla="*/ 118 w 1381"/>
                  <a:gd name="T85" fmla="*/ 431 h 686"/>
                  <a:gd name="T86" fmla="*/ 40 w 1381"/>
                  <a:gd name="T87" fmla="*/ 424 h 686"/>
                  <a:gd name="T88" fmla="*/ 5 w 1381"/>
                  <a:gd name="T89" fmla="*/ 367 h 686"/>
                  <a:gd name="T90" fmla="*/ 14 w 1381"/>
                  <a:gd name="T91" fmla="*/ 263 h 686"/>
                  <a:gd name="T92" fmla="*/ 21 w 1381"/>
                  <a:gd name="T93" fmla="*/ 159 h 686"/>
                  <a:gd name="T94" fmla="*/ 31 w 1381"/>
                  <a:gd name="T95" fmla="*/ 52 h 686"/>
                  <a:gd name="T96" fmla="*/ 90 w 1381"/>
                  <a:gd name="T97" fmla="*/ 5 h 686"/>
                  <a:gd name="T98" fmla="*/ 196 w 1381"/>
                  <a:gd name="T99" fmla="*/ 14 h 686"/>
                  <a:gd name="T100" fmla="*/ 303 w 1381"/>
                  <a:gd name="T101" fmla="*/ 22 h 686"/>
                  <a:gd name="T102" fmla="*/ 409 w 1381"/>
                  <a:gd name="T103" fmla="*/ 29 h 686"/>
                  <a:gd name="T104" fmla="*/ 515 w 1381"/>
                  <a:gd name="T105" fmla="*/ 36 h 686"/>
                  <a:gd name="T106" fmla="*/ 624 w 1381"/>
                  <a:gd name="T107" fmla="*/ 40 h 686"/>
                  <a:gd name="T108" fmla="*/ 731 w 1381"/>
                  <a:gd name="T109" fmla="*/ 45 h 686"/>
                  <a:gd name="T110" fmla="*/ 837 w 1381"/>
                  <a:gd name="T111" fmla="*/ 48 h 686"/>
                  <a:gd name="T112" fmla="*/ 943 w 1381"/>
                  <a:gd name="T113" fmla="*/ 83 h 686"/>
                  <a:gd name="T114" fmla="*/ 984 w 1381"/>
                  <a:gd name="T115" fmla="*/ 85 h 686"/>
                  <a:gd name="T116" fmla="*/ 1057 w 1381"/>
                  <a:gd name="T117" fmla="*/ 78 h 686"/>
                  <a:gd name="T118" fmla="*/ 1095 w 1381"/>
                  <a:gd name="T119" fmla="*/ 95 h 686"/>
                  <a:gd name="T120" fmla="*/ 1151 w 1381"/>
                  <a:gd name="T121" fmla="*/ 118 h 686"/>
                  <a:gd name="T122" fmla="*/ 1177 w 1381"/>
                  <a:gd name="T123" fmla="*/ 147 h 686"/>
                  <a:gd name="T124" fmla="*/ 1201 w 1381"/>
                  <a:gd name="T125" fmla="*/ 159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381" h="686">
                    <a:moveTo>
                      <a:pt x="1201" y="159"/>
                    </a:moveTo>
                    <a:lnTo>
                      <a:pt x="1206" y="159"/>
                    </a:lnTo>
                    <a:lnTo>
                      <a:pt x="1215" y="178"/>
                    </a:lnTo>
                    <a:lnTo>
                      <a:pt x="1220" y="211"/>
                    </a:lnTo>
                    <a:lnTo>
                      <a:pt x="1229" y="239"/>
                    </a:lnTo>
                    <a:lnTo>
                      <a:pt x="1244" y="258"/>
                    </a:lnTo>
                    <a:lnTo>
                      <a:pt x="1253" y="275"/>
                    </a:lnTo>
                    <a:lnTo>
                      <a:pt x="1253" y="284"/>
                    </a:lnTo>
                    <a:lnTo>
                      <a:pt x="1255" y="293"/>
                    </a:lnTo>
                    <a:lnTo>
                      <a:pt x="1262" y="303"/>
                    </a:lnTo>
                    <a:lnTo>
                      <a:pt x="1265" y="322"/>
                    </a:lnTo>
                    <a:lnTo>
                      <a:pt x="1265" y="348"/>
                    </a:lnTo>
                    <a:lnTo>
                      <a:pt x="1267" y="362"/>
                    </a:lnTo>
                    <a:lnTo>
                      <a:pt x="1274" y="364"/>
                    </a:lnTo>
                    <a:lnTo>
                      <a:pt x="1277" y="367"/>
                    </a:lnTo>
                    <a:lnTo>
                      <a:pt x="1277" y="374"/>
                    </a:lnTo>
                    <a:lnTo>
                      <a:pt x="1279" y="376"/>
                    </a:lnTo>
                    <a:lnTo>
                      <a:pt x="1286" y="379"/>
                    </a:lnTo>
                    <a:lnTo>
                      <a:pt x="1286" y="388"/>
                    </a:lnTo>
                    <a:lnTo>
                      <a:pt x="1284" y="400"/>
                    </a:lnTo>
                    <a:lnTo>
                      <a:pt x="1286" y="407"/>
                    </a:lnTo>
                    <a:lnTo>
                      <a:pt x="1293" y="409"/>
                    </a:lnTo>
                    <a:lnTo>
                      <a:pt x="1296" y="416"/>
                    </a:lnTo>
                    <a:lnTo>
                      <a:pt x="1291" y="426"/>
                    </a:lnTo>
                    <a:lnTo>
                      <a:pt x="1291" y="433"/>
                    </a:lnTo>
                    <a:lnTo>
                      <a:pt x="1298" y="438"/>
                    </a:lnTo>
                    <a:lnTo>
                      <a:pt x="1300" y="459"/>
                    </a:lnTo>
                    <a:lnTo>
                      <a:pt x="1303" y="499"/>
                    </a:lnTo>
                    <a:lnTo>
                      <a:pt x="1303" y="523"/>
                    </a:lnTo>
                    <a:lnTo>
                      <a:pt x="1298" y="530"/>
                    </a:lnTo>
                    <a:lnTo>
                      <a:pt x="1305" y="544"/>
                    </a:lnTo>
                    <a:lnTo>
                      <a:pt x="1314" y="561"/>
                    </a:lnTo>
                    <a:lnTo>
                      <a:pt x="1317" y="568"/>
                    </a:lnTo>
                    <a:lnTo>
                      <a:pt x="1326" y="589"/>
                    </a:lnTo>
                    <a:lnTo>
                      <a:pt x="1331" y="610"/>
                    </a:lnTo>
                    <a:lnTo>
                      <a:pt x="1340" y="624"/>
                    </a:lnTo>
                    <a:lnTo>
                      <a:pt x="1352" y="632"/>
                    </a:lnTo>
                    <a:lnTo>
                      <a:pt x="1362" y="646"/>
                    </a:lnTo>
                    <a:lnTo>
                      <a:pt x="1366" y="667"/>
                    </a:lnTo>
                    <a:lnTo>
                      <a:pt x="1378" y="684"/>
                    </a:lnTo>
                    <a:lnTo>
                      <a:pt x="1381" y="686"/>
                    </a:lnTo>
                    <a:lnTo>
                      <a:pt x="1352" y="686"/>
                    </a:lnTo>
                    <a:lnTo>
                      <a:pt x="1319" y="686"/>
                    </a:lnTo>
                    <a:lnTo>
                      <a:pt x="1286" y="686"/>
                    </a:lnTo>
                    <a:lnTo>
                      <a:pt x="1251" y="686"/>
                    </a:lnTo>
                    <a:lnTo>
                      <a:pt x="1218" y="686"/>
                    </a:lnTo>
                    <a:lnTo>
                      <a:pt x="1184" y="686"/>
                    </a:lnTo>
                    <a:lnTo>
                      <a:pt x="1149" y="686"/>
                    </a:lnTo>
                    <a:lnTo>
                      <a:pt x="1116" y="686"/>
                    </a:lnTo>
                    <a:lnTo>
                      <a:pt x="1083" y="686"/>
                    </a:lnTo>
                    <a:lnTo>
                      <a:pt x="1047" y="686"/>
                    </a:lnTo>
                    <a:lnTo>
                      <a:pt x="1014" y="684"/>
                    </a:lnTo>
                    <a:lnTo>
                      <a:pt x="981" y="684"/>
                    </a:lnTo>
                    <a:lnTo>
                      <a:pt x="946" y="684"/>
                    </a:lnTo>
                    <a:lnTo>
                      <a:pt x="913" y="681"/>
                    </a:lnTo>
                    <a:lnTo>
                      <a:pt x="880" y="681"/>
                    </a:lnTo>
                    <a:lnTo>
                      <a:pt x="844" y="681"/>
                    </a:lnTo>
                    <a:lnTo>
                      <a:pt x="811" y="679"/>
                    </a:lnTo>
                    <a:lnTo>
                      <a:pt x="778" y="679"/>
                    </a:lnTo>
                    <a:lnTo>
                      <a:pt x="742" y="677"/>
                    </a:lnTo>
                    <a:lnTo>
                      <a:pt x="709" y="677"/>
                    </a:lnTo>
                    <a:lnTo>
                      <a:pt x="676" y="674"/>
                    </a:lnTo>
                    <a:lnTo>
                      <a:pt x="641" y="674"/>
                    </a:lnTo>
                    <a:lnTo>
                      <a:pt x="608" y="672"/>
                    </a:lnTo>
                    <a:lnTo>
                      <a:pt x="575" y="669"/>
                    </a:lnTo>
                    <a:lnTo>
                      <a:pt x="539" y="669"/>
                    </a:lnTo>
                    <a:lnTo>
                      <a:pt x="506" y="667"/>
                    </a:lnTo>
                    <a:lnTo>
                      <a:pt x="473" y="665"/>
                    </a:lnTo>
                    <a:lnTo>
                      <a:pt x="437" y="662"/>
                    </a:lnTo>
                    <a:lnTo>
                      <a:pt x="404" y="660"/>
                    </a:lnTo>
                    <a:lnTo>
                      <a:pt x="371" y="660"/>
                    </a:lnTo>
                    <a:lnTo>
                      <a:pt x="336" y="658"/>
                    </a:lnTo>
                    <a:lnTo>
                      <a:pt x="303" y="655"/>
                    </a:lnTo>
                    <a:lnTo>
                      <a:pt x="305" y="629"/>
                    </a:lnTo>
                    <a:lnTo>
                      <a:pt x="307" y="603"/>
                    </a:lnTo>
                    <a:lnTo>
                      <a:pt x="307" y="575"/>
                    </a:lnTo>
                    <a:lnTo>
                      <a:pt x="310" y="549"/>
                    </a:lnTo>
                    <a:lnTo>
                      <a:pt x="312" y="523"/>
                    </a:lnTo>
                    <a:lnTo>
                      <a:pt x="315" y="497"/>
                    </a:lnTo>
                    <a:lnTo>
                      <a:pt x="315" y="471"/>
                    </a:lnTo>
                    <a:lnTo>
                      <a:pt x="317" y="445"/>
                    </a:lnTo>
                    <a:lnTo>
                      <a:pt x="277" y="442"/>
                    </a:lnTo>
                    <a:lnTo>
                      <a:pt x="237" y="440"/>
                    </a:lnTo>
                    <a:lnTo>
                      <a:pt x="199" y="435"/>
                    </a:lnTo>
                    <a:lnTo>
                      <a:pt x="159" y="433"/>
                    </a:lnTo>
                    <a:lnTo>
                      <a:pt x="118" y="431"/>
                    </a:lnTo>
                    <a:lnTo>
                      <a:pt x="78" y="426"/>
                    </a:lnTo>
                    <a:lnTo>
                      <a:pt x="40" y="424"/>
                    </a:lnTo>
                    <a:lnTo>
                      <a:pt x="0" y="421"/>
                    </a:lnTo>
                    <a:lnTo>
                      <a:pt x="5" y="367"/>
                    </a:lnTo>
                    <a:lnTo>
                      <a:pt x="10" y="315"/>
                    </a:lnTo>
                    <a:lnTo>
                      <a:pt x="14" y="263"/>
                    </a:lnTo>
                    <a:lnTo>
                      <a:pt x="17" y="211"/>
                    </a:lnTo>
                    <a:lnTo>
                      <a:pt x="21" y="159"/>
                    </a:lnTo>
                    <a:lnTo>
                      <a:pt x="26" y="104"/>
                    </a:lnTo>
                    <a:lnTo>
                      <a:pt x="31" y="52"/>
                    </a:lnTo>
                    <a:lnTo>
                      <a:pt x="36" y="0"/>
                    </a:lnTo>
                    <a:lnTo>
                      <a:pt x="90" y="5"/>
                    </a:lnTo>
                    <a:lnTo>
                      <a:pt x="142" y="10"/>
                    </a:lnTo>
                    <a:lnTo>
                      <a:pt x="196" y="14"/>
                    </a:lnTo>
                    <a:lnTo>
                      <a:pt x="248" y="17"/>
                    </a:lnTo>
                    <a:lnTo>
                      <a:pt x="303" y="22"/>
                    </a:lnTo>
                    <a:lnTo>
                      <a:pt x="357" y="26"/>
                    </a:lnTo>
                    <a:lnTo>
                      <a:pt x="409" y="29"/>
                    </a:lnTo>
                    <a:lnTo>
                      <a:pt x="463" y="31"/>
                    </a:lnTo>
                    <a:lnTo>
                      <a:pt x="515" y="36"/>
                    </a:lnTo>
                    <a:lnTo>
                      <a:pt x="570" y="38"/>
                    </a:lnTo>
                    <a:lnTo>
                      <a:pt x="624" y="40"/>
                    </a:lnTo>
                    <a:lnTo>
                      <a:pt x="676" y="43"/>
                    </a:lnTo>
                    <a:lnTo>
                      <a:pt x="731" y="45"/>
                    </a:lnTo>
                    <a:lnTo>
                      <a:pt x="785" y="48"/>
                    </a:lnTo>
                    <a:lnTo>
                      <a:pt x="837" y="48"/>
                    </a:lnTo>
                    <a:lnTo>
                      <a:pt x="898" y="50"/>
                    </a:lnTo>
                    <a:lnTo>
                      <a:pt x="943" y="83"/>
                    </a:lnTo>
                    <a:lnTo>
                      <a:pt x="972" y="92"/>
                    </a:lnTo>
                    <a:lnTo>
                      <a:pt x="984" y="85"/>
                    </a:lnTo>
                    <a:lnTo>
                      <a:pt x="1012" y="81"/>
                    </a:lnTo>
                    <a:lnTo>
                      <a:pt x="1057" y="78"/>
                    </a:lnTo>
                    <a:lnTo>
                      <a:pt x="1085" y="83"/>
                    </a:lnTo>
                    <a:lnTo>
                      <a:pt x="1095" y="95"/>
                    </a:lnTo>
                    <a:lnTo>
                      <a:pt x="1118" y="104"/>
                    </a:lnTo>
                    <a:lnTo>
                      <a:pt x="1151" y="118"/>
                    </a:lnTo>
                    <a:lnTo>
                      <a:pt x="1170" y="133"/>
                    </a:lnTo>
                    <a:lnTo>
                      <a:pt x="1177" y="147"/>
                    </a:lnTo>
                    <a:lnTo>
                      <a:pt x="1189" y="156"/>
                    </a:lnTo>
                    <a:lnTo>
                      <a:pt x="1201" y="15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15" name="Freeform 72">
                <a:extLst>
                  <a:ext uri="{FF2B5EF4-FFF2-40B4-BE49-F238E27FC236}">
                    <a16:creationId xmlns:a16="http://schemas.microsoft.com/office/drawing/2014/main" id="{1F210C24-6781-9980-C317-19D492202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2" y="-513"/>
                <a:ext cx="272" cy="577"/>
              </a:xfrm>
              <a:custGeom>
                <a:avLst/>
                <a:gdLst>
                  <a:gd name="T0" fmla="*/ 272 w 272"/>
                  <a:gd name="T1" fmla="*/ 466 h 577"/>
                  <a:gd name="T2" fmla="*/ 253 w 272"/>
                  <a:gd name="T3" fmla="*/ 485 h 577"/>
                  <a:gd name="T4" fmla="*/ 234 w 272"/>
                  <a:gd name="T5" fmla="*/ 501 h 577"/>
                  <a:gd name="T6" fmla="*/ 215 w 272"/>
                  <a:gd name="T7" fmla="*/ 527 h 577"/>
                  <a:gd name="T8" fmla="*/ 182 w 272"/>
                  <a:gd name="T9" fmla="*/ 541 h 577"/>
                  <a:gd name="T10" fmla="*/ 137 w 272"/>
                  <a:gd name="T11" fmla="*/ 553 h 577"/>
                  <a:gd name="T12" fmla="*/ 95 w 272"/>
                  <a:gd name="T13" fmla="*/ 563 h 577"/>
                  <a:gd name="T14" fmla="*/ 52 w 272"/>
                  <a:gd name="T15" fmla="*/ 572 h 577"/>
                  <a:gd name="T16" fmla="*/ 26 w 272"/>
                  <a:gd name="T17" fmla="*/ 572 h 577"/>
                  <a:gd name="T18" fmla="*/ 12 w 272"/>
                  <a:gd name="T19" fmla="*/ 556 h 577"/>
                  <a:gd name="T20" fmla="*/ 10 w 272"/>
                  <a:gd name="T21" fmla="*/ 532 h 577"/>
                  <a:gd name="T22" fmla="*/ 14 w 272"/>
                  <a:gd name="T23" fmla="*/ 515 h 577"/>
                  <a:gd name="T24" fmla="*/ 7 w 272"/>
                  <a:gd name="T25" fmla="*/ 452 h 577"/>
                  <a:gd name="T26" fmla="*/ 0 w 272"/>
                  <a:gd name="T27" fmla="*/ 400 h 577"/>
                  <a:gd name="T28" fmla="*/ 3 w 272"/>
                  <a:gd name="T29" fmla="*/ 371 h 577"/>
                  <a:gd name="T30" fmla="*/ 12 w 272"/>
                  <a:gd name="T31" fmla="*/ 331 h 577"/>
                  <a:gd name="T32" fmla="*/ 14 w 272"/>
                  <a:gd name="T33" fmla="*/ 303 h 577"/>
                  <a:gd name="T34" fmla="*/ 10 w 272"/>
                  <a:gd name="T35" fmla="*/ 241 h 577"/>
                  <a:gd name="T36" fmla="*/ 31 w 272"/>
                  <a:gd name="T37" fmla="*/ 222 h 577"/>
                  <a:gd name="T38" fmla="*/ 52 w 272"/>
                  <a:gd name="T39" fmla="*/ 196 h 577"/>
                  <a:gd name="T40" fmla="*/ 59 w 272"/>
                  <a:gd name="T41" fmla="*/ 180 h 577"/>
                  <a:gd name="T42" fmla="*/ 62 w 272"/>
                  <a:gd name="T43" fmla="*/ 165 h 577"/>
                  <a:gd name="T44" fmla="*/ 47 w 272"/>
                  <a:gd name="T45" fmla="*/ 137 h 577"/>
                  <a:gd name="T46" fmla="*/ 52 w 272"/>
                  <a:gd name="T47" fmla="*/ 94 h 577"/>
                  <a:gd name="T48" fmla="*/ 45 w 272"/>
                  <a:gd name="T49" fmla="*/ 76 h 577"/>
                  <a:gd name="T50" fmla="*/ 57 w 272"/>
                  <a:gd name="T51" fmla="*/ 9 h 577"/>
                  <a:gd name="T52" fmla="*/ 85 w 272"/>
                  <a:gd name="T53" fmla="*/ 9 h 577"/>
                  <a:gd name="T54" fmla="*/ 97 w 272"/>
                  <a:gd name="T55" fmla="*/ 19 h 577"/>
                  <a:gd name="T56" fmla="*/ 114 w 272"/>
                  <a:gd name="T57" fmla="*/ 64 h 577"/>
                  <a:gd name="T58" fmla="*/ 128 w 272"/>
                  <a:gd name="T59" fmla="*/ 109 h 577"/>
                  <a:gd name="T60" fmla="*/ 142 w 272"/>
                  <a:gd name="T61" fmla="*/ 154 h 577"/>
                  <a:gd name="T62" fmla="*/ 159 w 272"/>
                  <a:gd name="T63" fmla="*/ 199 h 577"/>
                  <a:gd name="T64" fmla="*/ 173 w 272"/>
                  <a:gd name="T65" fmla="*/ 241 h 577"/>
                  <a:gd name="T66" fmla="*/ 187 w 272"/>
                  <a:gd name="T67" fmla="*/ 286 h 577"/>
                  <a:gd name="T68" fmla="*/ 203 w 272"/>
                  <a:gd name="T69" fmla="*/ 331 h 577"/>
                  <a:gd name="T70" fmla="*/ 213 w 272"/>
                  <a:gd name="T71" fmla="*/ 369 h 577"/>
                  <a:gd name="T72" fmla="*/ 227 w 272"/>
                  <a:gd name="T73" fmla="*/ 392 h 577"/>
                  <a:gd name="T74" fmla="*/ 253 w 272"/>
                  <a:gd name="T75" fmla="*/ 421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72" h="577">
                    <a:moveTo>
                      <a:pt x="272" y="437"/>
                    </a:moveTo>
                    <a:lnTo>
                      <a:pt x="272" y="466"/>
                    </a:lnTo>
                    <a:lnTo>
                      <a:pt x="272" y="480"/>
                    </a:lnTo>
                    <a:lnTo>
                      <a:pt x="253" y="485"/>
                    </a:lnTo>
                    <a:lnTo>
                      <a:pt x="246" y="487"/>
                    </a:lnTo>
                    <a:lnTo>
                      <a:pt x="234" y="501"/>
                    </a:lnTo>
                    <a:lnTo>
                      <a:pt x="225" y="508"/>
                    </a:lnTo>
                    <a:lnTo>
                      <a:pt x="215" y="527"/>
                    </a:lnTo>
                    <a:lnTo>
                      <a:pt x="203" y="537"/>
                    </a:lnTo>
                    <a:lnTo>
                      <a:pt x="182" y="541"/>
                    </a:lnTo>
                    <a:lnTo>
                      <a:pt x="161" y="548"/>
                    </a:lnTo>
                    <a:lnTo>
                      <a:pt x="137" y="553"/>
                    </a:lnTo>
                    <a:lnTo>
                      <a:pt x="116" y="558"/>
                    </a:lnTo>
                    <a:lnTo>
                      <a:pt x="95" y="563"/>
                    </a:lnTo>
                    <a:lnTo>
                      <a:pt x="73" y="567"/>
                    </a:lnTo>
                    <a:lnTo>
                      <a:pt x="52" y="572"/>
                    </a:lnTo>
                    <a:lnTo>
                      <a:pt x="31" y="577"/>
                    </a:lnTo>
                    <a:lnTo>
                      <a:pt x="26" y="572"/>
                    </a:lnTo>
                    <a:lnTo>
                      <a:pt x="14" y="560"/>
                    </a:lnTo>
                    <a:lnTo>
                      <a:pt x="12" y="556"/>
                    </a:lnTo>
                    <a:lnTo>
                      <a:pt x="10" y="548"/>
                    </a:lnTo>
                    <a:lnTo>
                      <a:pt x="10" y="532"/>
                    </a:lnTo>
                    <a:lnTo>
                      <a:pt x="12" y="525"/>
                    </a:lnTo>
                    <a:lnTo>
                      <a:pt x="14" y="515"/>
                    </a:lnTo>
                    <a:lnTo>
                      <a:pt x="7" y="475"/>
                    </a:lnTo>
                    <a:lnTo>
                      <a:pt x="7" y="452"/>
                    </a:lnTo>
                    <a:lnTo>
                      <a:pt x="0" y="411"/>
                    </a:lnTo>
                    <a:lnTo>
                      <a:pt x="0" y="400"/>
                    </a:lnTo>
                    <a:lnTo>
                      <a:pt x="3" y="390"/>
                    </a:lnTo>
                    <a:lnTo>
                      <a:pt x="3" y="371"/>
                    </a:lnTo>
                    <a:lnTo>
                      <a:pt x="10" y="352"/>
                    </a:lnTo>
                    <a:lnTo>
                      <a:pt x="12" y="331"/>
                    </a:lnTo>
                    <a:lnTo>
                      <a:pt x="17" y="312"/>
                    </a:lnTo>
                    <a:lnTo>
                      <a:pt x="14" y="303"/>
                    </a:lnTo>
                    <a:lnTo>
                      <a:pt x="14" y="279"/>
                    </a:lnTo>
                    <a:lnTo>
                      <a:pt x="10" y="241"/>
                    </a:lnTo>
                    <a:lnTo>
                      <a:pt x="12" y="234"/>
                    </a:lnTo>
                    <a:lnTo>
                      <a:pt x="31" y="222"/>
                    </a:lnTo>
                    <a:lnTo>
                      <a:pt x="36" y="217"/>
                    </a:lnTo>
                    <a:lnTo>
                      <a:pt x="52" y="196"/>
                    </a:lnTo>
                    <a:lnTo>
                      <a:pt x="57" y="187"/>
                    </a:lnTo>
                    <a:lnTo>
                      <a:pt x="59" y="180"/>
                    </a:lnTo>
                    <a:lnTo>
                      <a:pt x="59" y="168"/>
                    </a:lnTo>
                    <a:lnTo>
                      <a:pt x="62" y="165"/>
                    </a:lnTo>
                    <a:lnTo>
                      <a:pt x="59" y="158"/>
                    </a:lnTo>
                    <a:lnTo>
                      <a:pt x="47" y="137"/>
                    </a:lnTo>
                    <a:lnTo>
                      <a:pt x="43" y="128"/>
                    </a:lnTo>
                    <a:lnTo>
                      <a:pt x="52" y="94"/>
                    </a:lnTo>
                    <a:lnTo>
                      <a:pt x="45" y="80"/>
                    </a:lnTo>
                    <a:lnTo>
                      <a:pt x="45" y="76"/>
                    </a:lnTo>
                    <a:lnTo>
                      <a:pt x="47" y="33"/>
                    </a:lnTo>
                    <a:lnTo>
                      <a:pt x="57" y="9"/>
                    </a:lnTo>
                    <a:lnTo>
                      <a:pt x="76" y="12"/>
                    </a:lnTo>
                    <a:lnTo>
                      <a:pt x="85" y="9"/>
                    </a:lnTo>
                    <a:lnTo>
                      <a:pt x="92" y="0"/>
                    </a:lnTo>
                    <a:lnTo>
                      <a:pt x="97" y="19"/>
                    </a:lnTo>
                    <a:lnTo>
                      <a:pt x="107" y="42"/>
                    </a:lnTo>
                    <a:lnTo>
                      <a:pt x="114" y="64"/>
                    </a:lnTo>
                    <a:lnTo>
                      <a:pt x="121" y="87"/>
                    </a:lnTo>
                    <a:lnTo>
                      <a:pt x="128" y="109"/>
                    </a:lnTo>
                    <a:lnTo>
                      <a:pt x="135" y="130"/>
                    </a:lnTo>
                    <a:lnTo>
                      <a:pt x="142" y="154"/>
                    </a:lnTo>
                    <a:lnTo>
                      <a:pt x="151" y="175"/>
                    </a:lnTo>
                    <a:lnTo>
                      <a:pt x="159" y="199"/>
                    </a:lnTo>
                    <a:lnTo>
                      <a:pt x="166" y="220"/>
                    </a:lnTo>
                    <a:lnTo>
                      <a:pt x="173" y="241"/>
                    </a:lnTo>
                    <a:lnTo>
                      <a:pt x="180" y="265"/>
                    </a:lnTo>
                    <a:lnTo>
                      <a:pt x="187" y="286"/>
                    </a:lnTo>
                    <a:lnTo>
                      <a:pt x="196" y="310"/>
                    </a:lnTo>
                    <a:lnTo>
                      <a:pt x="203" y="331"/>
                    </a:lnTo>
                    <a:lnTo>
                      <a:pt x="211" y="352"/>
                    </a:lnTo>
                    <a:lnTo>
                      <a:pt x="213" y="369"/>
                    </a:lnTo>
                    <a:lnTo>
                      <a:pt x="220" y="383"/>
                    </a:lnTo>
                    <a:lnTo>
                      <a:pt x="227" y="392"/>
                    </a:lnTo>
                    <a:lnTo>
                      <a:pt x="246" y="407"/>
                    </a:lnTo>
                    <a:lnTo>
                      <a:pt x="253" y="421"/>
                    </a:lnTo>
                    <a:lnTo>
                      <a:pt x="272" y="43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16" name="Freeform 73">
                <a:extLst>
                  <a:ext uri="{FF2B5EF4-FFF2-40B4-BE49-F238E27FC236}">
                    <a16:creationId xmlns:a16="http://schemas.microsoft.com/office/drawing/2014/main" id="{70FB14BD-9E83-2DCB-BE6D-147D5C3CEA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06" y="430"/>
                <a:ext cx="222" cy="504"/>
              </a:xfrm>
              <a:custGeom>
                <a:avLst/>
                <a:gdLst>
                  <a:gd name="T0" fmla="*/ 189 w 222"/>
                  <a:gd name="T1" fmla="*/ 62 h 504"/>
                  <a:gd name="T2" fmla="*/ 177 w 222"/>
                  <a:gd name="T3" fmla="*/ 107 h 504"/>
                  <a:gd name="T4" fmla="*/ 166 w 222"/>
                  <a:gd name="T5" fmla="*/ 121 h 504"/>
                  <a:gd name="T6" fmla="*/ 158 w 222"/>
                  <a:gd name="T7" fmla="*/ 135 h 504"/>
                  <a:gd name="T8" fmla="*/ 163 w 222"/>
                  <a:gd name="T9" fmla="*/ 168 h 504"/>
                  <a:gd name="T10" fmla="*/ 201 w 222"/>
                  <a:gd name="T11" fmla="*/ 159 h 504"/>
                  <a:gd name="T12" fmla="*/ 213 w 222"/>
                  <a:gd name="T13" fmla="*/ 182 h 504"/>
                  <a:gd name="T14" fmla="*/ 215 w 222"/>
                  <a:gd name="T15" fmla="*/ 216 h 504"/>
                  <a:gd name="T16" fmla="*/ 220 w 222"/>
                  <a:gd name="T17" fmla="*/ 270 h 504"/>
                  <a:gd name="T18" fmla="*/ 220 w 222"/>
                  <a:gd name="T19" fmla="*/ 289 h 504"/>
                  <a:gd name="T20" fmla="*/ 210 w 222"/>
                  <a:gd name="T21" fmla="*/ 260 h 504"/>
                  <a:gd name="T22" fmla="*/ 210 w 222"/>
                  <a:gd name="T23" fmla="*/ 315 h 504"/>
                  <a:gd name="T24" fmla="*/ 194 w 222"/>
                  <a:gd name="T25" fmla="*/ 360 h 504"/>
                  <a:gd name="T26" fmla="*/ 187 w 222"/>
                  <a:gd name="T27" fmla="*/ 372 h 504"/>
                  <a:gd name="T28" fmla="*/ 187 w 222"/>
                  <a:gd name="T29" fmla="*/ 393 h 504"/>
                  <a:gd name="T30" fmla="*/ 175 w 222"/>
                  <a:gd name="T31" fmla="*/ 405 h 504"/>
                  <a:gd name="T32" fmla="*/ 163 w 222"/>
                  <a:gd name="T33" fmla="*/ 419 h 504"/>
                  <a:gd name="T34" fmla="*/ 161 w 222"/>
                  <a:gd name="T35" fmla="*/ 438 h 504"/>
                  <a:gd name="T36" fmla="*/ 130 w 222"/>
                  <a:gd name="T37" fmla="*/ 504 h 504"/>
                  <a:gd name="T38" fmla="*/ 125 w 222"/>
                  <a:gd name="T39" fmla="*/ 480 h 504"/>
                  <a:gd name="T40" fmla="*/ 109 w 222"/>
                  <a:gd name="T41" fmla="*/ 454 h 504"/>
                  <a:gd name="T42" fmla="*/ 83 w 222"/>
                  <a:gd name="T43" fmla="*/ 457 h 504"/>
                  <a:gd name="T44" fmla="*/ 43 w 222"/>
                  <a:gd name="T45" fmla="*/ 438 h 504"/>
                  <a:gd name="T46" fmla="*/ 7 w 222"/>
                  <a:gd name="T47" fmla="*/ 405 h 504"/>
                  <a:gd name="T48" fmla="*/ 5 w 222"/>
                  <a:gd name="T49" fmla="*/ 364 h 504"/>
                  <a:gd name="T50" fmla="*/ 19 w 222"/>
                  <a:gd name="T51" fmla="*/ 336 h 504"/>
                  <a:gd name="T52" fmla="*/ 54 w 222"/>
                  <a:gd name="T53" fmla="*/ 308 h 504"/>
                  <a:gd name="T54" fmla="*/ 62 w 222"/>
                  <a:gd name="T55" fmla="*/ 286 h 504"/>
                  <a:gd name="T56" fmla="*/ 102 w 222"/>
                  <a:gd name="T57" fmla="*/ 249 h 504"/>
                  <a:gd name="T58" fmla="*/ 40 w 222"/>
                  <a:gd name="T59" fmla="*/ 204 h 504"/>
                  <a:gd name="T60" fmla="*/ 12 w 222"/>
                  <a:gd name="T61" fmla="*/ 178 h 504"/>
                  <a:gd name="T62" fmla="*/ 2 w 222"/>
                  <a:gd name="T63" fmla="*/ 156 h 504"/>
                  <a:gd name="T64" fmla="*/ 2 w 222"/>
                  <a:gd name="T65" fmla="*/ 137 h 504"/>
                  <a:gd name="T66" fmla="*/ 14 w 222"/>
                  <a:gd name="T67" fmla="*/ 116 h 504"/>
                  <a:gd name="T68" fmla="*/ 0 w 222"/>
                  <a:gd name="T69" fmla="*/ 95 h 504"/>
                  <a:gd name="T70" fmla="*/ 12 w 222"/>
                  <a:gd name="T71" fmla="*/ 76 h 504"/>
                  <a:gd name="T72" fmla="*/ 31 w 222"/>
                  <a:gd name="T73" fmla="*/ 24 h 504"/>
                  <a:gd name="T74" fmla="*/ 38 w 222"/>
                  <a:gd name="T75" fmla="*/ 10 h 504"/>
                  <a:gd name="T76" fmla="*/ 64 w 222"/>
                  <a:gd name="T77" fmla="*/ 7 h 504"/>
                  <a:gd name="T78" fmla="*/ 99 w 222"/>
                  <a:gd name="T79" fmla="*/ 17 h 504"/>
                  <a:gd name="T80" fmla="*/ 135 w 222"/>
                  <a:gd name="T81" fmla="*/ 29 h 504"/>
                  <a:gd name="T82" fmla="*/ 170 w 222"/>
                  <a:gd name="T83" fmla="*/ 41 h 504"/>
                  <a:gd name="T84" fmla="*/ 220 w 222"/>
                  <a:gd name="T85" fmla="*/ 322 h 504"/>
                  <a:gd name="T86" fmla="*/ 206 w 222"/>
                  <a:gd name="T87" fmla="*/ 350 h 504"/>
                  <a:gd name="T88" fmla="*/ 220 w 222"/>
                  <a:gd name="T89" fmla="*/ 322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2" h="504">
                    <a:moveTo>
                      <a:pt x="187" y="45"/>
                    </a:moveTo>
                    <a:lnTo>
                      <a:pt x="189" y="62"/>
                    </a:lnTo>
                    <a:lnTo>
                      <a:pt x="182" y="97"/>
                    </a:lnTo>
                    <a:lnTo>
                      <a:pt x="177" y="107"/>
                    </a:lnTo>
                    <a:lnTo>
                      <a:pt x="170" y="116"/>
                    </a:lnTo>
                    <a:lnTo>
                      <a:pt x="166" y="121"/>
                    </a:lnTo>
                    <a:lnTo>
                      <a:pt x="163" y="126"/>
                    </a:lnTo>
                    <a:lnTo>
                      <a:pt x="158" y="135"/>
                    </a:lnTo>
                    <a:lnTo>
                      <a:pt x="156" y="154"/>
                    </a:lnTo>
                    <a:lnTo>
                      <a:pt x="163" y="168"/>
                    </a:lnTo>
                    <a:lnTo>
                      <a:pt x="194" y="166"/>
                    </a:lnTo>
                    <a:lnTo>
                      <a:pt x="201" y="159"/>
                    </a:lnTo>
                    <a:lnTo>
                      <a:pt x="208" y="168"/>
                    </a:lnTo>
                    <a:lnTo>
                      <a:pt x="213" y="182"/>
                    </a:lnTo>
                    <a:lnTo>
                      <a:pt x="215" y="199"/>
                    </a:lnTo>
                    <a:lnTo>
                      <a:pt x="215" y="216"/>
                    </a:lnTo>
                    <a:lnTo>
                      <a:pt x="215" y="237"/>
                    </a:lnTo>
                    <a:lnTo>
                      <a:pt x="220" y="270"/>
                    </a:lnTo>
                    <a:lnTo>
                      <a:pt x="222" y="298"/>
                    </a:lnTo>
                    <a:lnTo>
                      <a:pt x="220" y="289"/>
                    </a:lnTo>
                    <a:lnTo>
                      <a:pt x="215" y="256"/>
                    </a:lnTo>
                    <a:lnTo>
                      <a:pt x="210" y="260"/>
                    </a:lnTo>
                    <a:lnTo>
                      <a:pt x="208" y="268"/>
                    </a:lnTo>
                    <a:lnTo>
                      <a:pt x="210" y="315"/>
                    </a:lnTo>
                    <a:lnTo>
                      <a:pt x="203" y="341"/>
                    </a:lnTo>
                    <a:lnTo>
                      <a:pt x="194" y="360"/>
                    </a:lnTo>
                    <a:lnTo>
                      <a:pt x="182" y="360"/>
                    </a:lnTo>
                    <a:lnTo>
                      <a:pt x="187" y="372"/>
                    </a:lnTo>
                    <a:lnTo>
                      <a:pt x="187" y="379"/>
                    </a:lnTo>
                    <a:lnTo>
                      <a:pt x="187" y="393"/>
                    </a:lnTo>
                    <a:lnTo>
                      <a:pt x="182" y="405"/>
                    </a:lnTo>
                    <a:lnTo>
                      <a:pt x="175" y="405"/>
                    </a:lnTo>
                    <a:lnTo>
                      <a:pt x="166" y="414"/>
                    </a:lnTo>
                    <a:lnTo>
                      <a:pt x="163" y="419"/>
                    </a:lnTo>
                    <a:lnTo>
                      <a:pt x="166" y="428"/>
                    </a:lnTo>
                    <a:lnTo>
                      <a:pt x="161" y="438"/>
                    </a:lnTo>
                    <a:lnTo>
                      <a:pt x="147" y="485"/>
                    </a:lnTo>
                    <a:lnTo>
                      <a:pt x="130" y="504"/>
                    </a:lnTo>
                    <a:lnTo>
                      <a:pt x="125" y="502"/>
                    </a:lnTo>
                    <a:lnTo>
                      <a:pt x="125" y="480"/>
                    </a:lnTo>
                    <a:lnTo>
                      <a:pt x="123" y="461"/>
                    </a:lnTo>
                    <a:lnTo>
                      <a:pt x="109" y="454"/>
                    </a:lnTo>
                    <a:lnTo>
                      <a:pt x="97" y="452"/>
                    </a:lnTo>
                    <a:lnTo>
                      <a:pt x="83" y="457"/>
                    </a:lnTo>
                    <a:lnTo>
                      <a:pt x="64" y="445"/>
                    </a:lnTo>
                    <a:lnTo>
                      <a:pt x="43" y="438"/>
                    </a:lnTo>
                    <a:lnTo>
                      <a:pt x="7" y="414"/>
                    </a:lnTo>
                    <a:lnTo>
                      <a:pt x="7" y="405"/>
                    </a:lnTo>
                    <a:lnTo>
                      <a:pt x="2" y="390"/>
                    </a:lnTo>
                    <a:lnTo>
                      <a:pt x="5" y="364"/>
                    </a:lnTo>
                    <a:lnTo>
                      <a:pt x="10" y="348"/>
                    </a:lnTo>
                    <a:lnTo>
                      <a:pt x="19" y="336"/>
                    </a:lnTo>
                    <a:lnTo>
                      <a:pt x="47" y="322"/>
                    </a:lnTo>
                    <a:lnTo>
                      <a:pt x="54" y="308"/>
                    </a:lnTo>
                    <a:lnTo>
                      <a:pt x="54" y="296"/>
                    </a:lnTo>
                    <a:lnTo>
                      <a:pt x="62" y="286"/>
                    </a:lnTo>
                    <a:lnTo>
                      <a:pt x="76" y="270"/>
                    </a:lnTo>
                    <a:lnTo>
                      <a:pt x="102" y="249"/>
                    </a:lnTo>
                    <a:lnTo>
                      <a:pt x="50" y="206"/>
                    </a:lnTo>
                    <a:lnTo>
                      <a:pt x="40" y="204"/>
                    </a:lnTo>
                    <a:lnTo>
                      <a:pt x="26" y="182"/>
                    </a:lnTo>
                    <a:lnTo>
                      <a:pt x="12" y="178"/>
                    </a:lnTo>
                    <a:lnTo>
                      <a:pt x="7" y="175"/>
                    </a:lnTo>
                    <a:lnTo>
                      <a:pt x="2" y="156"/>
                    </a:lnTo>
                    <a:lnTo>
                      <a:pt x="2" y="145"/>
                    </a:lnTo>
                    <a:lnTo>
                      <a:pt x="2" y="137"/>
                    </a:lnTo>
                    <a:lnTo>
                      <a:pt x="10" y="130"/>
                    </a:lnTo>
                    <a:lnTo>
                      <a:pt x="14" y="116"/>
                    </a:lnTo>
                    <a:lnTo>
                      <a:pt x="12" y="111"/>
                    </a:lnTo>
                    <a:lnTo>
                      <a:pt x="0" y="95"/>
                    </a:lnTo>
                    <a:lnTo>
                      <a:pt x="0" y="90"/>
                    </a:lnTo>
                    <a:lnTo>
                      <a:pt x="12" y="76"/>
                    </a:lnTo>
                    <a:lnTo>
                      <a:pt x="24" y="50"/>
                    </a:lnTo>
                    <a:lnTo>
                      <a:pt x="31" y="24"/>
                    </a:lnTo>
                    <a:lnTo>
                      <a:pt x="33" y="17"/>
                    </a:lnTo>
                    <a:lnTo>
                      <a:pt x="38" y="10"/>
                    </a:lnTo>
                    <a:lnTo>
                      <a:pt x="47" y="0"/>
                    </a:lnTo>
                    <a:lnTo>
                      <a:pt x="64" y="7"/>
                    </a:lnTo>
                    <a:lnTo>
                      <a:pt x="83" y="12"/>
                    </a:lnTo>
                    <a:lnTo>
                      <a:pt x="99" y="17"/>
                    </a:lnTo>
                    <a:lnTo>
                      <a:pt x="118" y="24"/>
                    </a:lnTo>
                    <a:lnTo>
                      <a:pt x="135" y="29"/>
                    </a:lnTo>
                    <a:lnTo>
                      <a:pt x="154" y="33"/>
                    </a:lnTo>
                    <a:lnTo>
                      <a:pt x="170" y="41"/>
                    </a:lnTo>
                    <a:lnTo>
                      <a:pt x="187" y="45"/>
                    </a:lnTo>
                    <a:close/>
                    <a:moveTo>
                      <a:pt x="220" y="322"/>
                    </a:moveTo>
                    <a:lnTo>
                      <a:pt x="208" y="357"/>
                    </a:lnTo>
                    <a:lnTo>
                      <a:pt x="206" y="350"/>
                    </a:lnTo>
                    <a:lnTo>
                      <a:pt x="220" y="308"/>
                    </a:lnTo>
                    <a:lnTo>
                      <a:pt x="220" y="3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17" name="Freeform 74">
                <a:extLst>
                  <a:ext uri="{FF2B5EF4-FFF2-40B4-BE49-F238E27FC236}">
                    <a16:creationId xmlns:a16="http://schemas.microsoft.com/office/drawing/2014/main" id="{DDB92838-1EC8-F7B5-2DF2-2A51A338A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5" y="1582"/>
                <a:ext cx="1184" cy="1206"/>
              </a:xfrm>
              <a:custGeom>
                <a:avLst/>
                <a:gdLst>
                  <a:gd name="T0" fmla="*/ 1170 w 1184"/>
                  <a:gd name="T1" fmla="*/ 217 h 1206"/>
                  <a:gd name="T2" fmla="*/ 1160 w 1184"/>
                  <a:gd name="T3" fmla="*/ 336 h 1206"/>
                  <a:gd name="T4" fmla="*/ 1149 w 1184"/>
                  <a:gd name="T5" fmla="*/ 454 h 1206"/>
                  <a:gd name="T6" fmla="*/ 1139 w 1184"/>
                  <a:gd name="T7" fmla="*/ 572 h 1206"/>
                  <a:gd name="T8" fmla="*/ 1130 w 1184"/>
                  <a:gd name="T9" fmla="*/ 690 h 1206"/>
                  <a:gd name="T10" fmla="*/ 1120 w 1184"/>
                  <a:gd name="T11" fmla="*/ 806 h 1206"/>
                  <a:gd name="T12" fmla="*/ 1111 w 1184"/>
                  <a:gd name="T13" fmla="*/ 924 h 1206"/>
                  <a:gd name="T14" fmla="*/ 1101 w 1184"/>
                  <a:gd name="T15" fmla="*/ 1045 h 1206"/>
                  <a:gd name="T16" fmla="*/ 1092 w 1184"/>
                  <a:gd name="T17" fmla="*/ 1163 h 1206"/>
                  <a:gd name="T18" fmla="*/ 1012 w 1184"/>
                  <a:gd name="T19" fmla="*/ 1156 h 1206"/>
                  <a:gd name="T20" fmla="*/ 931 w 1184"/>
                  <a:gd name="T21" fmla="*/ 1149 h 1206"/>
                  <a:gd name="T22" fmla="*/ 848 w 1184"/>
                  <a:gd name="T23" fmla="*/ 1142 h 1206"/>
                  <a:gd name="T24" fmla="*/ 768 w 1184"/>
                  <a:gd name="T25" fmla="*/ 1135 h 1206"/>
                  <a:gd name="T26" fmla="*/ 688 w 1184"/>
                  <a:gd name="T27" fmla="*/ 1125 h 1206"/>
                  <a:gd name="T28" fmla="*/ 607 w 1184"/>
                  <a:gd name="T29" fmla="*/ 1118 h 1206"/>
                  <a:gd name="T30" fmla="*/ 527 w 1184"/>
                  <a:gd name="T31" fmla="*/ 1109 h 1206"/>
                  <a:gd name="T32" fmla="*/ 447 w 1184"/>
                  <a:gd name="T33" fmla="*/ 1099 h 1206"/>
                  <a:gd name="T34" fmla="*/ 458 w 1184"/>
                  <a:gd name="T35" fmla="*/ 1140 h 1206"/>
                  <a:gd name="T36" fmla="*/ 480 w 1184"/>
                  <a:gd name="T37" fmla="*/ 1154 h 1206"/>
                  <a:gd name="T38" fmla="*/ 440 w 1184"/>
                  <a:gd name="T39" fmla="*/ 1147 h 1206"/>
                  <a:gd name="T40" fmla="*/ 359 w 1184"/>
                  <a:gd name="T41" fmla="*/ 1137 h 1206"/>
                  <a:gd name="T42" fmla="*/ 281 w 1184"/>
                  <a:gd name="T43" fmla="*/ 1128 h 1206"/>
                  <a:gd name="T44" fmla="*/ 203 w 1184"/>
                  <a:gd name="T45" fmla="*/ 1116 h 1206"/>
                  <a:gd name="T46" fmla="*/ 161 w 1184"/>
                  <a:gd name="T47" fmla="*/ 1135 h 1206"/>
                  <a:gd name="T48" fmla="*/ 153 w 1184"/>
                  <a:gd name="T49" fmla="*/ 1182 h 1206"/>
                  <a:gd name="T50" fmla="*/ 87 w 1184"/>
                  <a:gd name="T51" fmla="*/ 1196 h 1206"/>
                  <a:gd name="T52" fmla="*/ 0 w 1184"/>
                  <a:gd name="T53" fmla="*/ 1184 h 1206"/>
                  <a:gd name="T54" fmla="*/ 21 w 1184"/>
                  <a:gd name="T55" fmla="*/ 1036 h 1206"/>
                  <a:gd name="T56" fmla="*/ 42 w 1184"/>
                  <a:gd name="T57" fmla="*/ 887 h 1206"/>
                  <a:gd name="T58" fmla="*/ 64 w 1184"/>
                  <a:gd name="T59" fmla="*/ 740 h 1206"/>
                  <a:gd name="T60" fmla="*/ 85 w 1184"/>
                  <a:gd name="T61" fmla="*/ 591 h 1206"/>
                  <a:gd name="T62" fmla="*/ 106 w 1184"/>
                  <a:gd name="T63" fmla="*/ 444 h 1206"/>
                  <a:gd name="T64" fmla="*/ 127 w 1184"/>
                  <a:gd name="T65" fmla="*/ 295 h 1206"/>
                  <a:gd name="T66" fmla="*/ 151 w 1184"/>
                  <a:gd name="T67" fmla="*/ 149 h 1206"/>
                  <a:gd name="T68" fmla="*/ 172 w 1184"/>
                  <a:gd name="T69" fmla="*/ 0 h 1206"/>
                  <a:gd name="T70" fmla="*/ 298 w 1184"/>
                  <a:gd name="T71" fmla="*/ 19 h 1206"/>
                  <a:gd name="T72" fmla="*/ 423 w 1184"/>
                  <a:gd name="T73" fmla="*/ 35 h 1206"/>
                  <a:gd name="T74" fmla="*/ 551 w 1184"/>
                  <a:gd name="T75" fmla="*/ 52 h 1206"/>
                  <a:gd name="T76" fmla="*/ 676 w 1184"/>
                  <a:gd name="T77" fmla="*/ 66 h 1206"/>
                  <a:gd name="T78" fmla="*/ 804 w 1184"/>
                  <a:gd name="T79" fmla="*/ 78 h 1206"/>
                  <a:gd name="T80" fmla="*/ 931 w 1184"/>
                  <a:gd name="T81" fmla="*/ 92 h 1206"/>
                  <a:gd name="T82" fmla="*/ 1056 w 1184"/>
                  <a:gd name="T83" fmla="*/ 102 h 1206"/>
                  <a:gd name="T84" fmla="*/ 1184 w 1184"/>
                  <a:gd name="T85" fmla="*/ 113 h 1206"/>
                  <a:gd name="T86" fmla="*/ 1179 w 1184"/>
                  <a:gd name="T87" fmla="*/ 165 h 1206"/>
                  <a:gd name="T88" fmla="*/ 1177 w 1184"/>
                  <a:gd name="T89" fmla="*/ 217 h 1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184" h="1206">
                    <a:moveTo>
                      <a:pt x="1177" y="217"/>
                    </a:moveTo>
                    <a:lnTo>
                      <a:pt x="1170" y="217"/>
                    </a:lnTo>
                    <a:lnTo>
                      <a:pt x="1165" y="277"/>
                    </a:lnTo>
                    <a:lnTo>
                      <a:pt x="1160" y="336"/>
                    </a:lnTo>
                    <a:lnTo>
                      <a:pt x="1156" y="395"/>
                    </a:lnTo>
                    <a:lnTo>
                      <a:pt x="1149" y="454"/>
                    </a:lnTo>
                    <a:lnTo>
                      <a:pt x="1144" y="513"/>
                    </a:lnTo>
                    <a:lnTo>
                      <a:pt x="1139" y="572"/>
                    </a:lnTo>
                    <a:lnTo>
                      <a:pt x="1134" y="631"/>
                    </a:lnTo>
                    <a:lnTo>
                      <a:pt x="1130" y="690"/>
                    </a:lnTo>
                    <a:lnTo>
                      <a:pt x="1125" y="747"/>
                    </a:lnTo>
                    <a:lnTo>
                      <a:pt x="1120" y="806"/>
                    </a:lnTo>
                    <a:lnTo>
                      <a:pt x="1116" y="865"/>
                    </a:lnTo>
                    <a:lnTo>
                      <a:pt x="1111" y="924"/>
                    </a:lnTo>
                    <a:lnTo>
                      <a:pt x="1106" y="983"/>
                    </a:lnTo>
                    <a:lnTo>
                      <a:pt x="1101" y="1045"/>
                    </a:lnTo>
                    <a:lnTo>
                      <a:pt x="1097" y="1104"/>
                    </a:lnTo>
                    <a:lnTo>
                      <a:pt x="1092" y="1163"/>
                    </a:lnTo>
                    <a:lnTo>
                      <a:pt x="1052" y="1158"/>
                    </a:lnTo>
                    <a:lnTo>
                      <a:pt x="1012" y="1156"/>
                    </a:lnTo>
                    <a:lnTo>
                      <a:pt x="971" y="1151"/>
                    </a:lnTo>
                    <a:lnTo>
                      <a:pt x="931" y="1149"/>
                    </a:lnTo>
                    <a:lnTo>
                      <a:pt x="889" y="1144"/>
                    </a:lnTo>
                    <a:lnTo>
                      <a:pt x="848" y="1142"/>
                    </a:lnTo>
                    <a:lnTo>
                      <a:pt x="808" y="1137"/>
                    </a:lnTo>
                    <a:lnTo>
                      <a:pt x="768" y="1135"/>
                    </a:lnTo>
                    <a:lnTo>
                      <a:pt x="728" y="1130"/>
                    </a:lnTo>
                    <a:lnTo>
                      <a:pt x="688" y="1125"/>
                    </a:lnTo>
                    <a:lnTo>
                      <a:pt x="648" y="1123"/>
                    </a:lnTo>
                    <a:lnTo>
                      <a:pt x="607" y="1118"/>
                    </a:lnTo>
                    <a:lnTo>
                      <a:pt x="567" y="1114"/>
                    </a:lnTo>
                    <a:lnTo>
                      <a:pt x="527" y="1109"/>
                    </a:lnTo>
                    <a:lnTo>
                      <a:pt x="487" y="1104"/>
                    </a:lnTo>
                    <a:lnTo>
                      <a:pt x="447" y="1099"/>
                    </a:lnTo>
                    <a:lnTo>
                      <a:pt x="447" y="1099"/>
                    </a:lnTo>
                    <a:lnTo>
                      <a:pt x="458" y="1140"/>
                    </a:lnTo>
                    <a:lnTo>
                      <a:pt x="458" y="1140"/>
                    </a:lnTo>
                    <a:lnTo>
                      <a:pt x="480" y="1154"/>
                    </a:lnTo>
                    <a:lnTo>
                      <a:pt x="477" y="1151"/>
                    </a:lnTo>
                    <a:lnTo>
                      <a:pt x="440" y="1147"/>
                    </a:lnTo>
                    <a:lnTo>
                      <a:pt x="399" y="1142"/>
                    </a:lnTo>
                    <a:lnTo>
                      <a:pt x="359" y="1137"/>
                    </a:lnTo>
                    <a:lnTo>
                      <a:pt x="321" y="1132"/>
                    </a:lnTo>
                    <a:lnTo>
                      <a:pt x="281" y="1128"/>
                    </a:lnTo>
                    <a:lnTo>
                      <a:pt x="241" y="1123"/>
                    </a:lnTo>
                    <a:lnTo>
                      <a:pt x="203" y="1116"/>
                    </a:lnTo>
                    <a:lnTo>
                      <a:pt x="163" y="1111"/>
                    </a:lnTo>
                    <a:lnTo>
                      <a:pt x="161" y="1135"/>
                    </a:lnTo>
                    <a:lnTo>
                      <a:pt x="156" y="1158"/>
                    </a:lnTo>
                    <a:lnTo>
                      <a:pt x="153" y="1182"/>
                    </a:lnTo>
                    <a:lnTo>
                      <a:pt x="151" y="1206"/>
                    </a:lnTo>
                    <a:lnTo>
                      <a:pt x="87" y="1196"/>
                    </a:lnTo>
                    <a:lnTo>
                      <a:pt x="23" y="1187"/>
                    </a:lnTo>
                    <a:lnTo>
                      <a:pt x="0" y="1184"/>
                    </a:lnTo>
                    <a:lnTo>
                      <a:pt x="12" y="1111"/>
                    </a:lnTo>
                    <a:lnTo>
                      <a:pt x="21" y="1036"/>
                    </a:lnTo>
                    <a:lnTo>
                      <a:pt x="33" y="962"/>
                    </a:lnTo>
                    <a:lnTo>
                      <a:pt x="42" y="887"/>
                    </a:lnTo>
                    <a:lnTo>
                      <a:pt x="54" y="813"/>
                    </a:lnTo>
                    <a:lnTo>
                      <a:pt x="64" y="740"/>
                    </a:lnTo>
                    <a:lnTo>
                      <a:pt x="75" y="667"/>
                    </a:lnTo>
                    <a:lnTo>
                      <a:pt x="85" y="591"/>
                    </a:lnTo>
                    <a:lnTo>
                      <a:pt x="97" y="518"/>
                    </a:lnTo>
                    <a:lnTo>
                      <a:pt x="106" y="444"/>
                    </a:lnTo>
                    <a:lnTo>
                      <a:pt x="118" y="369"/>
                    </a:lnTo>
                    <a:lnTo>
                      <a:pt x="127" y="295"/>
                    </a:lnTo>
                    <a:lnTo>
                      <a:pt x="139" y="222"/>
                    </a:lnTo>
                    <a:lnTo>
                      <a:pt x="151" y="149"/>
                    </a:lnTo>
                    <a:lnTo>
                      <a:pt x="161" y="76"/>
                    </a:lnTo>
                    <a:lnTo>
                      <a:pt x="172" y="0"/>
                    </a:lnTo>
                    <a:lnTo>
                      <a:pt x="234" y="9"/>
                    </a:lnTo>
                    <a:lnTo>
                      <a:pt x="298" y="19"/>
                    </a:lnTo>
                    <a:lnTo>
                      <a:pt x="362" y="26"/>
                    </a:lnTo>
                    <a:lnTo>
                      <a:pt x="423" y="35"/>
                    </a:lnTo>
                    <a:lnTo>
                      <a:pt x="487" y="42"/>
                    </a:lnTo>
                    <a:lnTo>
                      <a:pt x="551" y="52"/>
                    </a:lnTo>
                    <a:lnTo>
                      <a:pt x="614" y="59"/>
                    </a:lnTo>
                    <a:lnTo>
                      <a:pt x="676" y="66"/>
                    </a:lnTo>
                    <a:lnTo>
                      <a:pt x="740" y="73"/>
                    </a:lnTo>
                    <a:lnTo>
                      <a:pt x="804" y="78"/>
                    </a:lnTo>
                    <a:lnTo>
                      <a:pt x="867" y="85"/>
                    </a:lnTo>
                    <a:lnTo>
                      <a:pt x="931" y="92"/>
                    </a:lnTo>
                    <a:lnTo>
                      <a:pt x="993" y="97"/>
                    </a:lnTo>
                    <a:lnTo>
                      <a:pt x="1056" y="102"/>
                    </a:lnTo>
                    <a:lnTo>
                      <a:pt x="1120" y="109"/>
                    </a:lnTo>
                    <a:lnTo>
                      <a:pt x="1184" y="113"/>
                    </a:lnTo>
                    <a:lnTo>
                      <a:pt x="1182" y="139"/>
                    </a:lnTo>
                    <a:lnTo>
                      <a:pt x="1179" y="165"/>
                    </a:lnTo>
                    <a:lnTo>
                      <a:pt x="1177" y="191"/>
                    </a:lnTo>
                    <a:lnTo>
                      <a:pt x="1177" y="21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18" name="Freeform 75">
                <a:extLst>
                  <a:ext uri="{FF2B5EF4-FFF2-40B4-BE49-F238E27FC236}">
                    <a16:creationId xmlns:a16="http://schemas.microsoft.com/office/drawing/2014/main" id="{28652907-A06F-8C78-0D4C-E016D61EE0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8" y="194"/>
                <a:ext cx="1075" cy="1641"/>
              </a:xfrm>
              <a:custGeom>
                <a:avLst/>
                <a:gdLst>
                  <a:gd name="T0" fmla="*/ 853 w 1075"/>
                  <a:gd name="T1" fmla="*/ 1326 h 1641"/>
                  <a:gd name="T2" fmla="*/ 832 w 1075"/>
                  <a:gd name="T3" fmla="*/ 1414 h 1641"/>
                  <a:gd name="T4" fmla="*/ 804 w 1075"/>
                  <a:gd name="T5" fmla="*/ 1440 h 1641"/>
                  <a:gd name="T6" fmla="*/ 789 w 1075"/>
                  <a:gd name="T7" fmla="*/ 1430 h 1641"/>
                  <a:gd name="T8" fmla="*/ 773 w 1075"/>
                  <a:gd name="T9" fmla="*/ 1409 h 1641"/>
                  <a:gd name="T10" fmla="*/ 742 w 1075"/>
                  <a:gd name="T11" fmla="*/ 1402 h 1641"/>
                  <a:gd name="T12" fmla="*/ 718 w 1075"/>
                  <a:gd name="T13" fmla="*/ 1412 h 1641"/>
                  <a:gd name="T14" fmla="*/ 711 w 1075"/>
                  <a:gd name="T15" fmla="*/ 1430 h 1641"/>
                  <a:gd name="T16" fmla="*/ 711 w 1075"/>
                  <a:gd name="T17" fmla="*/ 1468 h 1641"/>
                  <a:gd name="T18" fmla="*/ 711 w 1075"/>
                  <a:gd name="T19" fmla="*/ 1497 h 1641"/>
                  <a:gd name="T20" fmla="*/ 704 w 1075"/>
                  <a:gd name="T21" fmla="*/ 1525 h 1641"/>
                  <a:gd name="T22" fmla="*/ 707 w 1075"/>
                  <a:gd name="T23" fmla="*/ 1565 h 1641"/>
                  <a:gd name="T24" fmla="*/ 688 w 1075"/>
                  <a:gd name="T25" fmla="*/ 1641 h 1641"/>
                  <a:gd name="T26" fmla="*/ 617 w 1075"/>
                  <a:gd name="T27" fmla="*/ 1537 h 1641"/>
                  <a:gd name="T28" fmla="*/ 551 w 1075"/>
                  <a:gd name="T29" fmla="*/ 1438 h 1641"/>
                  <a:gd name="T30" fmla="*/ 484 w 1075"/>
                  <a:gd name="T31" fmla="*/ 1336 h 1641"/>
                  <a:gd name="T32" fmla="*/ 418 w 1075"/>
                  <a:gd name="T33" fmla="*/ 1237 h 1641"/>
                  <a:gd name="T34" fmla="*/ 371 w 1075"/>
                  <a:gd name="T35" fmla="*/ 1166 h 1641"/>
                  <a:gd name="T36" fmla="*/ 324 w 1075"/>
                  <a:gd name="T37" fmla="*/ 1095 h 1641"/>
                  <a:gd name="T38" fmla="*/ 279 w 1075"/>
                  <a:gd name="T39" fmla="*/ 1024 h 1641"/>
                  <a:gd name="T40" fmla="*/ 231 w 1075"/>
                  <a:gd name="T41" fmla="*/ 953 h 1641"/>
                  <a:gd name="T42" fmla="*/ 172 w 1075"/>
                  <a:gd name="T43" fmla="*/ 868 h 1641"/>
                  <a:gd name="T44" fmla="*/ 116 w 1075"/>
                  <a:gd name="T45" fmla="*/ 783 h 1641"/>
                  <a:gd name="T46" fmla="*/ 57 w 1075"/>
                  <a:gd name="T47" fmla="*/ 695 h 1641"/>
                  <a:gd name="T48" fmla="*/ 0 w 1075"/>
                  <a:gd name="T49" fmla="*/ 610 h 1641"/>
                  <a:gd name="T50" fmla="*/ 21 w 1075"/>
                  <a:gd name="T51" fmla="*/ 534 h 1641"/>
                  <a:gd name="T52" fmla="*/ 42 w 1075"/>
                  <a:gd name="T53" fmla="*/ 456 h 1641"/>
                  <a:gd name="T54" fmla="*/ 61 w 1075"/>
                  <a:gd name="T55" fmla="*/ 381 h 1641"/>
                  <a:gd name="T56" fmla="*/ 83 w 1075"/>
                  <a:gd name="T57" fmla="*/ 305 h 1641"/>
                  <a:gd name="T58" fmla="*/ 104 w 1075"/>
                  <a:gd name="T59" fmla="*/ 229 h 1641"/>
                  <a:gd name="T60" fmla="*/ 125 w 1075"/>
                  <a:gd name="T61" fmla="*/ 154 h 1641"/>
                  <a:gd name="T62" fmla="*/ 144 w 1075"/>
                  <a:gd name="T63" fmla="*/ 76 h 1641"/>
                  <a:gd name="T64" fmla="*/ 165 w 1075"/>
                  <a:gd name="T65" fmla="*/ 0 h 1641"/>
                  <a:gd name="T66" fmla="*/ 279 w 1075"/>
                  <a:gd name="T67" fmla="*/ 31 h 1641"/>
                  <a:gd name="T68" fmla="*/ 392 w 1075"/>
                  <a:gd name="T69" fmla="*/ 59 h 1641"/>
                  <a:gd name="T70" fmla="*/ 506 w 1075"/>
                  <a:gd name="T71" fmla="*/ 87 h 1641"/>
                  <a:gd name="T72" fmla="*/ 619 w 1075"/>
                  <a:gd name="T73" fmla="*/ 116 h 1641"/>
                  <a:gd name="T74" fmla="*/ 733 w 1075"/>
                  <a:gd name="T75" fmla="*/ 142 h 1641"/>
                  <a:gd name="T76" fmla="*/ 848 w 1075"/>
                  <a:gd name="T77" fmla="*/ 168 h 1641"/>
                  <a:gd name="T78" fmla="*/ 962 w 1075"/>
                  <a:gd name="T79" fmla="*/ 191 h 1641"/>
                  <a:gd name="T80" fmla="*/ 1075 w 1075"/>
                  <a:gd name="T81" fmla="*/ 215 h 1641"/>
                  <a:gd name="T82" fmla="*/ 1064 w 1075"/>
                  <a:gd name="T83" fmla="*/ 279 h 1641"/>
                  <a:gd name="T84" fmla="*/ 1049 w 1075"/>
                  <a:gd name="T85" fmla="*/ 343 h 1641"/>
                  <a:gd name="T86" fmla="*/ 1038 w 1075"/>
                  <a:gd name="T87" fmla="*/ 409 h 1641"/>
                  <a:gd name="T88" fmla="*/ 1023 w 1075"/>
                  <a:gd name="T89" fmla="*/ 473 h 1641"/>
                  <a:gd name="T90" fmla="*/ 1012 w 1075"/>
                  <a:gd name="T91" fmla="*/ 537 h 1641"/>
                  <a:gd name="T92" fmla="*/ 997 w 1075"/>
                  <a:gd name="T93" fmla="*/ 600 h 1641"/>
                  <a:gd name="T94" fmla="*/ 986 w 1075"/>
                  <a:gd name="T95" fmla="*/ 667 h 1641"/>
                  <a:gd name="T96" fmla="*/ 971 w 1075"/>
                  <a:gd name="T97" fmla="*/ 731 h 1641"/>
                  <a:gd name="T98" fmla="*/ 960 w 1075"/>
                  <a:gd name="T99" fmla="*/ 794 h 1641"/>
                  <a:gd name="T100" fmla="*/ 945 w 1075"/>
                  <a:gd name="T101" fmla="*/ 858 h 1641"/>
                  <a:gd name="T102" fmla="*/ 934 w 1075"/>
                  <a:gd name="T103" fmla="*/ 922 h 1641"/>
                  <a:gd name="T104" fmla="*/ 922 w 1075"/>
                  <a:gd name="T105" fmla="*/ 988 h 1641"/>
                  <a:gd name="T106" fmla="*/ 908 w 1075"/>
                  <a:gd name="T107" fmla="*/ 1052 h 1641"/>
                  <a:gd name="T108" fmla="*/ 896 w 1075"/>
                  <a:gd name="T109" fmla="*/ 1116 h 1641"/>
                  <a:gd name="T110" fmla="*/ 882 w 1075"/>
                  <a:gd name="T111" fmla="*/ 1180 h 1641"/>
                  <a:gd name="T112" fmla="*/ 870 w 1075"/>
                  <a:gd name="T113" fmla="*/ 1244 h 1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75" h="1641">
                    <a:moveTo>
                      <a:pt x="870" y="1244"/>
                    </a:moveTo>
                    <a:lnTo>
                      <a:pt x="853" y="1326"/>
                    </a:lnTo>
                    <a:lnTo>
                      <a:pt x="834" y="1414"/>
                    </a:lnTo>
                    <a:lnTo>
                      <a:pt x="832" y="1414"/>
                    </a:lnTo>
                    <a:lnTo>
                      <a:pt x="818" y="1433"/>
                    </a:lnTo>
                    <a:lnTo>
                      <a:pt x="804" y="1440"/>
                    </a:lnTo>
                    <a:lnTo>
                      <a:pt x="796" y="1440"/>
                    </a:lnTo>
                    <a:lnTo>
                      <a:pt x="789" y="1430"/>
                    </a:lnTo>
                    <a:lnTo>
                      <a:pt x="785" y="1419"/>
                    </a:lnTo>
                    <a:lnTo>
                      <a:pt x="773" y="1409"/>
                    </a:lnTo>
                    <a:lnTo>
                      <a:pt x="756" y="1404"/>
                    </a:lnTo>
                    <a:lnTo>
                      <a:pt x="742" y="1402"/>
                    </a:lnTo>
                    <a:lnTo>
                      <a:pt x="728" y="1404"/>
                    </a:lnTo>
                    <a:lnTo>
                      <a:pt x="718" y="1412"/>
                    </a:lnTo>
                    <a:lnTo>
                      <a:pt x="711" y="1426"/>
                    </a:lnTo>
                    <a:lnTo>
                      <a:pt x="711" y="1430"/>
                    </a:lnTo>
                    <a:lnTo>
                      <a:pt x="716" y="1447"/>
                    </a:lnTo>
                    <a:lnTo>
                      <a:pt x="711" y="1468"/>
                    </a:lnTo>
                    <a:lnTo>
                      <a:pt x="709" y="1485"/>
                    </a:lnTo>
                    <a:lnTo>
                      <a:pt x="711" y="1497"/>
                    </a:lnTo>
                    <a:lnTo>
                      <a:pt x="711" y="1506"/>
                    </a:lnTo>
                    <a:lnTo>
                      <a:pt x="704" y="1525"/>
                    </a:lnTo>
                    <a:lnTo>
                      <a:pt x="702" y="1539"/>
                    </a:lnTo>
                    <a:lnTo>
                      <a:pt x="707" y="1565"/>
                    </a:lnTo>
                    <a:lnTo>
                      <a:pt x="690" y="1638"/>
                    </a:lnTo>
                    <a:lnTo>
                      <a:pt x="688" y="1641"/>
                    </a:lnTo>
                    <a:lnTo>
                      <a:pt x="652" y="1586"/>
                    </a:lnTo>
                    <a:lnTo>
                      <a:pt x="617" y="1537"/>
                    </a:lnTo>
                    <a:lnTo>
                      <a:pt x="584" y="1487"/>
                    </a:lnTo>
                    <a:lnTo>
                      <a:pt x="551" y="1438"/>
                    </a:lnTo>
                    <a:lnTo>
                      <a:pt x="518" y="1388"/>
                    </a:lnTo>
                    <a:lnTo>
                      <a:pt x="484" y="1336"/>
                    </a:lnTo>
                    <a:lnTo>
                      <a:pt x="451" y="1286"/>
                    </a:lnTo>
                    <a:lnTo>
                      <a:pt x="418" y="1237"/>
                    </a:lnTo>
                    <a:lnTo>
                      <a:pt x="395" y="1201"/>
                    </a:lnTo>
                    <a:lnTo>
                      <a:pt x="371" y="1166"/>
                    </a:lnTo>
                    <a:lnTo>
                      <a:pt x="347" y="1130"/>
                    </a:lnTo>
                    <a:lnTo>
                      <a:pt x="324" y="1095"/>
                    </a:lnTo>
                    <a:lnTo>
                      <a:pt x="300" y="1059"/>
                    </a:lnTo>
                    <a:lnTo>
                      <a:pt x="279" y="1024"/>
                    </a:lnTo>
                    <a:lnTo>
                      <a:pt x="255" y="988"/>
                    </a:lnTo>
                    <a:lnTo>
                      <a:pt x="231" y="953"/>
                    </a:lnTo>
                    <a:lnTo>
                      <a:pt x="203" y="910"/>
                    </a:lnTo>
                    <a:lnTo>
                      <a:pt x="172" y="868"/>
                    </a:lnTo>
                    <a:lnTo>
                      <a:pt x="144" y="825"/>
                    </a:lnTo>
                    <a:lnTo>
                      <a:pt x="116" y="783"/>
                    </a:lnTo>
                    <a:lnTo>
                      <a:pt x="85" y="738"/>
                    </a:lnTo>
                    <a:lnTo>
                      <a:pt x="57" y="695"/>
                    </a:lnTo>
                    <a:lnTo>
                      <a:pt x="28" y="653"/>
                    </a:lnTo>
                    <a:lnTo>
                      <a:pt x="0" y="610"/>
                    </a:lnTo>
                    <a:lnTo>
                      <a:pt x="12" y="572"/>
                    </a:lnTo>
                    <a:lnTo>
                      <a:pt x="21" y="534"/>
                    </a:lnTo>
                    <a:lnTo>
                      <a:pt x="31" y="494"/>
                    </a:lnTo>
                    <a:lnTo>
                      <a:pt x="42" y="456"/>
                    </a:lnTo>
                    <a:lnTo>
                      <a:pt x="52" y="418"/>
                    </a:lnTo>
                    <a:lnTo>
                      <a:pt x="61" y="381"/>
                    </a:lnTo>
                    <a:lnTo>
                      <a:pt x="73" y="343"/>
                    </a:lnTo>
                    <a:lnTo>
                      <a:pt x="83" y="305"/>
                    </a:lnTo>
                    <a:lnTo>
                      <a:pt x="94" y="267"/>
                    </a:lnTo>
                    <a:lnTo>
                      <a:pt x="104" y="229"/>
                    </a:lnTo>
                    <a:lnTo>
                      <a:pt x="113" y="191"/>
                    </a:lnTo>
                    <a:lnTo>
                      <a:pt x="125" y="154"/>
                    </a:lnTo>
                    <a:lnTo>
                      <a:pt x="135" y="113"/>
                    </a:lnTo>
                    <a:lnTo>
                      <a:pt x="144" y="76"/>
                    </a:lnTo>
                    <a:lnTo>
                      <a:pt x="156" y="38"/>
                    </a:lnTo>
                    <a:lnTo>
                      <a:pt x="165" y="0"/>
                    </a:lnTo>
                    <a:lnTo>
                      <a:pt x="222" y="16"/>
                    </a:lnTo>
                    <a:lnTo>
                      <a:pt x="279" y="31"/>
                    </a:lnTo>
                    <a:lnTo>
                      <a:pt x="335" y="45"/>
                    </a:lnTo>
                    <a:lnTo>
                      <a:pt x="392" y="59"/>
                    </a:lnTo>
                    <a:lnTo>
                      <a:pt x="449" y="73"/>
                    </a:lnTo>
                    <a:lnTo>
                      <a:pt x="506" y="87"/>
                    </a:lnTo>
                    <a:lnTo>
                      <a:pt x="562" y="102"/>
                    </a:lnTo>
                    <a:lnTo>
                      <a:pt x="619" y="116"/>
                    </a:lnTo>
                    <a:lnTo>
                      <a:pt x="676" y="128"/>
                    </a:lnTo>
                    <a:lnTo>
                      <a:pt x="733" y="142"/>
                    </a:lnTo>
                    <a:lnTo>
                      <a:pt x="789" y="154"/>
                    </a:lnTo>
                    <a:lnTo>
                      <a:pt x="848" y="168"/>
                    </a:lnTo>
                    <a:lnTo>
                      <a:pt x="905" y="180"/>
                    </a:lnTo>
                    <a:lnTo>
                      <a:pt x="962" y="191"/>
                    </a:lnTo>
                    <a:lnTo>
                      <a:pt x="1019" y="203"/>
                    </a:lnTo>
                    <a:lnTo>
                      <a:pt x="1075" y="215"/>
                    </a:lnTo>
                    <a:lnTo>
                      <a:pt x="1068" y="246"/>
                    </a:lnTo>
                    <a:lnTo>
                      <a:pt x="1064" y="279"/>
                    </a:lnTo>
                    <a:lnTo>
                      <a:pt x="1056" y="312"/>
                    </a:lnTo>
                    <a:lnTo>
                      <a:pt x="1049" y="343"/>
                    </a:lnTo>
                    <a:lnTo>
                      <a:pt x="1045" y="376"/>
                    </a:lnTo>
                    <a:lnTo>
                      <a:pt x="1038" y="409"/>
                    </a:lnTo>
                    <a:lnTo>
                      <a:pt x="1030" y="440"/>
                    </a:lnTo>
                    <a:lnTo>
                      <a:pt x="1023" y="473"/>
                    </a:lnTo>
                    <a:lnTo>
                      <a:pt x="1019" y="504"/>
                    </a:lnTo>
                    <a:lnTo>
                      <a:pt x="1012" y="537"/>
                    </a:lnTo>
                    <a:lnTo>
                      <a:pt x="1004" y="570"/>
                    </a:lnTo>
                    <a:lnTo>
                      <a:pt x="997" y="600"/>
                    </a:lnTo>
                    <a:lnTo>
                      <a:pt x="993" y="634"/>
                    </a:lnTo>
                    <a:lnTo>
                      <a:pt x="986" y="667"/>
                    </a:lnTo>
                    <a:lnTo>
                      <a:pt x="978" y="697"/>
                    </a:lnTo>
                    <a:lnTo>
                      <a:pt x="971" y="731"/>
                    </a:lnTo>
                    <a:lnTo>
                      <a:pt x="967" y="761"/>
                    </a:lnTo>
                    <a:lnTo>
                      <a:pt x="960" y="794"/>
                    </a:lnTo>
                    <a:lnTo>
                      <a:pt x="952" y="827"/>
                    </a:lnTo>
                    <a:lnTo>
                      <a:pt x="945" y="858"/>
                    </a:lnTo>
                    <a:lnTo>
                      <a:pt x="941" y="891"/>
                    </a:lnTo>
                    <a:lnTo>
                      <a:pt x="934" y="922"/>
                    </a:lnTo>
                    <a:lnTo>
                      <a:pt x="926" y="955"/>
                    </a:lnTo>
                    <a:lnTo>
                      <a:pt x="922" y="988"/>
                    </a:lnTo>
                    <a:lnTo>
                      <a:pt x="915" y="1019"/>
                    </a:lnTo>
                    <a:lnTo>
                      <a:pt x="908" y="1052"/>
                    </a:lnTo>
                    <a:lnTo>
                      <a:pt x="900" y="1083"/>
                    </a:lnTo>
                    <a:lnTo>
                      <a:pt x="896" y="1116"/>
                    </a:lnTo>
                    <a:lnTo>
                      <a:pt x="889" y="1149"/>
                    </a:lnTo>
                    <a:lnTo>
                      <a:pt x="882" y="1180"/>
                    </a:lnTo>
                    <a:lnTo>
                      <a:pt x="874" y="1213"/>
                    </a:lnTo>
                    <a:lnTo>
                      <a:pt x="870" y="12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19" name="Freeform 76">
                <a:extLst>
                  <a:ext uri="{FF2B5EF4-FFF2-40B4-BE49-F238E27FC236}">
                    <a16:creationId xmlns:a16="http://schemas.microsoft.com/office/drawing/2014/main" id="{DDBE8E76-B760-877E-725E-4B07042E2D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33" y="-466"/>
                <a:ext cx="1267" cy="1050"/>
              </a:xfrm>
              <a:custGeom>
                <a:avLst/>
                <a:gdLst>
                  <a:gd name="T0" fmla="*/ 969 w 1267"/>
                  <a:gd name="T1" fmla="*/ 556 h 1050"/>
                  <a:gd name="T2" fmla="*/ 969 w 1267"/>
                  <a:gd name="T3" fmla="*/ 648 h 1050"/>
                  <a:gd name="T4" fmla="*/ 976 w 1267"/>
                  <a:gd name="T5" fmla="*/ 728 h 1050"/>
                  <a:gd name="T6" fmla="*/ 995 w 1267"/>
                  <a:gd name="T7" fmla="*/ 825 h 1050"/>
                  <a:gd name="T8" fmla="*/ 1009 w 1267"/>
                  <a:gd name="T9" fmla="*/ 885 h 1050"/>
                  <a:gd name="T10" fmla="*/ 1005 w 1267"/>
                  <a:gd name="T11" fmla="*/ 929 h 1050"/>
                  <a:gd name="T12" fmla="*/ 967 w 1267"/>
                  <a:gd name="T13" fmla="*/ 986 h 1050"/>
                  <a:gd name="T14" fmla="*/ 955 w 1267"/>
                  <a:gd name="T15" fmla="*/ 903 h 1050"/>
                  <a:gd name="T16" fmla="*/ 960 w 1267"/>
                  <a:gd name="T17" fmla="*/ 941 h 1050"/>
                  <a:gd name="T18" fmla="*/ 872 w 1267"/>
                  <a:gd name="T19" fmla="*/ 913 h 1050"/>
                  <a:gd name="T20" fmla="*/ 809 w 1267"/>
                  <a:gd name="T21" fmla="*/ 885 h 1050"/>
                  <a:gd name="T22" fmla="*/ 749 w 1267"/>
                  <a:gd name="T23" fmla="*/ 847 h 1050"/>
                  <a:gd name="T24" fmla="*/ 731 w 1267"/>
                  <a:gd name="T25" fmla="*/ 809 h 1050"/>
                  <a:gd name="T26" fmla="*/ 648 w 1267"/>
                  <a:gd name="T27" fmla="*/ 797 h 1050"/>
                  <a:gd name="T28" fmla="*/ 541 w 1267"/>
                  <a:gd name="T29" fmla="*/ 821 h 1050"/>
                  <a:gd name="T30" fmla="*/ 435 w 1267"/>
                  <a:gd name="T31" fmla="*/ 844 h 1050"/>
                  <a:gd name="T32" fmla="*/ 331 w 1267"/>
                  <a:gd name="T33" fmla="*/ 866 h 1050"/>
                  <a:gd name="T34" fmla="*/ 225 w 1267"/>
                  <a:gd name="T35" fmla="*/ 887 h 1050"/>
                  <a:gd name="T36" fmla="*/ 118 w 1267"/>
                  <a:gd name="T37" fmla="*/ 908 h 1050"/>
                  <a:gd name="T38" fmla="*/ 12 w 1267"/>
                  <a:gd name="T39" fmla="*/ 927 h 1050"/>
                  <a:gd name="T40" fmla="*/ 36 w 1267"/>
                  <a:gd name="T41" fmla="*/ 840 h 1050"/>
                  <a:gd name="T42" fmla="*/ 92 w 1267"/>
                  <a:gd name="T43" fmla="*/ 766 h 1050"/>
                  <a:gd name="T44" fmla="*/ 111 w 1267"/>
                  <a:gd name="T45" fmla="*/ 719 h 1050"/>
                  <a:gd name="T46" fmla="*/ 102 w 1267"/>
                  <a:gd name="T47" fmla="*/ 681 h 1050"/>
                  <a:gd name="T48" fmla="*/ 123 w 1267"/>
                  <a:gd name="T49" fmla="*/ 615 h 1050"/>
                  <a:gd name="T50" fmla="*/ 286 w 1267"/>
                  <a:gd name="T51" fmla="*/ 601 h 1050"/>
                  <a:gd name="T52" fmla="*/ 385 w 1267"/>
                  <a:gd name="T53" fmla="*/ 580 h 1050"/>
                  <a:gd name="T54" fmla="*/ 416 w 1267"/>
                  <a:gd name="T55" fmla="*/ 558 h 1050"/>
                  <a:gd name="T56" fmla="*/ 449 w 1267"/>
                  <a:gd name="T57" fmla="*/ 516 h 1050"/>
                  <a:gd name="T58" fmla="*/ 487 w 1267"/>
                  <a:gd name="T59" fmla="*/ 490 h 1050"/>
                  <a:gd name="T60" fmla="*/ 482 w 1267"/>
                  <a:gd name="T61" fmla="*/ 473 h 1050"/>
                  <a:gd name="T62" fmla="*/ 461 w 1267"/>
                  <a:gd name="T63" fmla="*/ 435 h 1050"/>
                  <a:gd name="T64" fmla="*/ 480 w 1267"/>
                  <a:gd name="T65" fmla="*/ 419 h 1050"/>
                  <a:gd name="T66" fmla="*/ 473 w 1267"/>
                  <a:gd name="T67" fmla="*/ 407 h 1050"/>
                  <a:gd name="T68" fmla="*/ 466 w 1267"/>
                  <a:gd name="T69" fmla="*/ 388 h 1050"/>
                  <a:gd name="T70" fmla="*/ 454 w 1267"/>
                  <a:gd name="T71" fmla="*/ 369 h 1050"/>
                  <a:gd name="T72" fmla="*/ 506 w 1267"/>
                  <a:gd name="T73" fmla="*/ 291 h 1050"/>
                  <a:gd name="T74" fmla="*/ 619 w 1267"/>
                  <a:gd name="T75" fmla="*/ 154 h 1050"/>
                  <a:gd name="T76" fmla="*/ 742 w 1267"/>
                  <a:gd name="T77" fmla="*/ 123 h 1050"/>
                  <a:gd name="T78" fmla="*/ 851 w 1267"/>
                  <a:gd name="T79" fmla="*/ 147 h 1050"/>
                  <a:gd name="T80" fmla="*/ 882 w 1267"/>
                  <a:gd name="T81" fmla="*/ 256 h 1050"/>
                  <a:gd name="T82" fmla="*/ 894 w 1267"/>
                  <a:gd name="T83" fmla="*/ 331 h 1050"/>
                  <a:gd name="T84" fmla="*/ 905 w 1267"/>
                  <a:gd name="T85" fmla="*/ 393 h 1050"/>
                  <a:gd name="T86" fmla="*/ 929 w 1267"/>
                  <a:gd name="T87" fmla="*/ 393 h 1050"/>
                  <a:gd name="T88" fmla="*/ 955 w 1267"/>
                  <a:gd name="T89" fmla="*/ 501 h 1050"/>
                  <a:gd name="T90" fmla="*/ 468 w 1267"/>
                  <a:gd name="T91" fmla="*/ 345 h 1050"/>
                  <a:gd name="T92" fmla="*/ 473 w 1267"/>
                  <a:gd name="T93" fmla="*/ 338 h 1050"/>
                  <a:gd name="T94" fmla="*/ 456 w 1267"/>
                  <a:gd name="T95" fmla="*/ 407 h 1050"/>
                  <a:gd name="T96" fmla="*/ 99 w 1267"/>
                  <a:gd name="T97" fmla="*/ 693 h 1050"/>
                  <a:gd name="T98" fmla="*/ 85 w 1267"/>
                  <a:gd name="T99" fmla="*/ 688 h 1050"/>
                  <a:gd name="T100" fmla="*/ 1177 w 1267"/>
                  <a:gd name="T101" fmla="*/ 887 h 1050"/>
                  <a:gd name="T102" fmla="*/ 1210 w 1267"/>
                  <a:gd name="T103" fmla="*/ 870 h 1050"/>
                  <a:gd name="T104" fmla="*/ 1267 w 1267"/>
                  <a:gd name="T105" fmla="*/ 847 h 1050"/>
                  <a:gd name="T106" fmla="*/ 1149 w 1267"/>
                  <a:gd name="T107" fmla="*/ 939 h 1050"/>
                  <a:gd name="T108" fmla="*/ 1002 w 1267"/>
                  <a:gd name="T109" fmla="*/ 1017 h 1050"/>
                  <a:gd name="T110" fmla="*/ 983 w 1267"/>
                  <a:gd name="T111" fmla="*/ 1010 h 1050"/>
                  <a:gd name="T112" fmla="*/ 965 w 1267"/>
                  <a:gd name="T113" fmla="*/ 998 h 1050"/>
                  <a:gd name="T114" fmla="*/ 1007 w 1267"/>
                  <a:gd name="T115" fmla="*/ 953 h 1050"/>
                  <a:gd name="T116" fmla="*/ 1040 w 1267"/>
                  <a:gd name="T117" fmla="*/ 932 h 1050"/>
                  <a:gd name="T118" fmla="*/ 1097 w 1267"/>
                  <a:gd name="T119" fmla="*/ 913 h 1050"/>
                  <a:gd name="T120" fmla="*/ 1203 w 1267"/>
                  <a:gd name="T121" fmla="*/ 844 h 1050"/>
                  <a:gd name="T122" fmla="*/ 936 w 1267"/>
                  <a:gd name="T123" fmla="*/ 1029 h 1050"/>
                  <a:gd name="T124" fmla="*/ 948 w 1267"/>
                  <a:gd name="T125" fmla="*/ 1043 h 10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67" h="1050">
                    <a:moveTo>
                      <a:pt x="154" y="0"/>
                    </a:moveTo>
                    <a:lnTo>
                      <a:pt x="154" y="0"/>
                    </a:lnTo>
                    <a:lnTo>
                      <a:pt x="154" y="0"/>
                    </a:lnTo>
                    <a:lnTo>
                      <a:pt x="154" y="0"/>
                    </a:lnTo>
                    <a:close/>
                    <a:moveTo>
                      <a:pt x="969" y="556"/>
                    </a:moveTo>
                    <a:lnTo>
                      <a:pt x="969" y="575"/>
                    </a:lnTo>
                    <a:lnTo>
                      <a:pt x="969" y="594"/>
                    </a:lnTo>
                    <a:lnTo>
                      <a:pt x="969" y="613"/>
                    </a:lnTo>
                    <a:lnTo>
                      <a:pt x="969" y="629"/>
                    </a:lnTo>
                    <a:lnTo>
                      <a:pt x="969" y="648"/>
                    </a:lnTo>
                    <a:lnTo>
                      <a:pt x="967" y="667"/>
                    </a:lnTo>
                    <a:lnTo>
                      <a:pt x="967" y="686"/>
                    </a:lnTo>
                    <a:lnTo>
                      <a:pt x="967" y="705"/>
                    </a:lnTo>
                    <a:lnTo>
                      <a:pt x="972" y="707"/>
                    </a:lnTo>
                    <a:lnTo>
                      <a:pt x="976" y="728"/>
                    </a:lnTo>
                    <a:lnTo>
                      <a:pt x="979" y="747"/>
                    </a:lnTo>
                    <a:lnTo>
                      <a:pt x="983" y="766"/>
                    </a:lnTo>
                    <a:lnTo>
                      <a:pt x="986" y="785"/>
                    </a:lnTo>
                    <a:lnTo>
                      <a:pt x="991" y="807"/>
                    </a:lnTo>
                    <a:lnTo>
                      <a:pt x="995" y="825"/>
                    </a:lnTo>
                    <a:lnTo>
                      <a:pt x="998" y="844"/>
                    </a:lnTo>
                    <a:lnTo>
                      <a:pt x="1002" y="866"/>
                    </a:lnTo>
                    <a:lnTo>
                      <a:pt x="1009" y="873"/>
                    </a:lnTo>
                    <a:lnTo>
                      <a:pt x="1014" y="877"/>
                    </a:lnTo>
                    <a:lnTo>
                      <a:pt x="1009" y="885"/>
                    </a:lnTo>
                    <a:lnTo>
                      <a:pt x="1002" y="892"/>
                    </a:lnTo>
                    <a:lnTo>
                      <a:pt x="995" y="901"/>
                    </a:lnTo>
                    <a:lnTo>
                      <a:pt x="983" y="911"/>
                    </a:lnTo>
                    <a:lnTo>
                      <a:pt x="993" y="920"/>
                    </a:lnTo>
                    <a:lnTo>
                      <a:pt x="1005" y="929"/>
                    </a:lnTo>
                    <a:lnTo>
                      <a:pt x="1000" y="937"/>
                    </a:lnTo>
                    <a:lnTo>
                      <a:pt x="986" y="960"/>
                    </a:lnTo>
                    <a:lnTo>
                      <a:pt x="979" y="972"/>
                    </a:lnTo>
                    <a:lnTo>
                      <a:pt x="969" y="977"/>
                    </a:lnTo>
                    <a:lnTo>
                      <a:pt x="967" y="986"/>
                    </a:lnTo>
                    <a:lnTo>
                      <a:pt x="962" y="993"/>
                    </a:lnTo>
                    <a:lnTo>
                      <a:pt x="962" y="974"/>
                    </a:lnTo>
                    <a:lnTo>
                      <a:pt x="965" y="958"/>
                    </a:lnTo>
                    <a:lnTo>
                      <a:pt x="965" y="927"/>
                    </a:lnTo>
                    <a:lnTo>
                      <a:pt x="955" y="903"/>
                    </a:lnTo>
                    <a:lnTo>
                      <a:pt x="948" y="896"/>
                    </a:lnTo>
                    <a:lnTo>
                      <a:pt x="939" y="892"/>
                    </a:lnTo>
                    <a:lnTo>
                      <a:pt x="953" y="913"/>
                    </a:lnTo>
                    <a:lnTo>
                      <a:pt x="960" y="941"/>
                    </a:lnTo>
                    <a:lnTo>
                      <a:pt x="960" y="941"/>
                    </a:lnTo>
                    <a:lnTo>
                      <a:pt x="943" y="937"/>
                    </a:lnTo>
                    <a:lnTo>
                      <a:pt x="927" y="929"/>
                    </a:lnTo>
                    <a:lnTo>
                      <a:pt x="908" y="925"/>
                    </a:lnTo>
                    <a:lnTo>
                      <a:pt x="891" y="920"/>
                    </a:lnTo>
                    <a:lnTo>
                      <a:pt x="872" y="913"/>
                    </a:lnTo>
                    <a:lnTo>
                      <a:pt x="856" y="908"/>
                    </a:lnTo>
                    <a:lnTo>
                      <a:pt x="839" y="901"/>
                    </a:lnTo>
                    <a:lnTo>
                      <a:pt x="820" y="896"/>
                    </a:lnTo>
                    <a:lnTo>
                      <a:pt x="816" y="889"/>
                    </a:lnTo>
                    <a:lnTo>
                      <a:pt x="809" y="885"/>
                    </a:lnTo>
                    <a:lnTo>
                      <a:pt x="778" y="882"/>
                    </a:lnTo>
                    <a:lnTo>
                      <a:pt x="771" y="875"/>
                    </a:lnTo>
                    <a:lnTo>
                      <a:pt x="761" y="868"/>
                    </a:lnTo>
                    <a:lnTo>
                      <a:pt x="754" y="859"/>
                    </a:lnTo>
                    <a:lnTo>
                      <a:pt x="749" y="847"/>
                    </a:lnTo>
                    <a:lnTo>
                      <a:pt x="747" y="837"/>
                    </a:lnTo>
                    <a:lnTo>
                      <a:pt x="747" y="825"/>
                    </a:lnTo>
                    <a:lnTo>
                      <a:pt x="738" y="821"/>
                    </a:lnTo>
                    <a:lnTo>
                      <a:pt x="738" y="814"/>
                    </a:lnTo>
                    <a:lnTo>
                      <a:pt x="731" y="809"/>
                    </a:lnTo>
                    <a:lnTo>
                      <a:pt x="712" y="807"/>
                    </a:lnTo>
                    <a:lnTo>
                      <a:pt x="705" y="797"/>
                    </a:lnTo>
                    <a:lnTo>
                      <a:pt x="690" y="788"/>
                    </a:lnTo>
                    <a:lnTo>
                      <a:pt x="669" y="792"/>
                    </a:lnTo>
                    <a:lnTo>
                      <a:pt x="648" y="797"/>
                    </a:lnTo>
                    <a:lnTo>
                      <a:pt x="627" y="802"/>
                    </a:lnTo>
                    <a:lnTo>
                      <a:pt x="605" y="807"/>
                    </a:lnTo>
                    <a:lnTo>
                      <a:pt x="584" y="811"/>
                    </a:lnTo>
                    <a:lnTo>
                      <a:pt x="563" y="816"/>
                    </a:lnTo>
                    <a:lnTo>
                      <a:pt x="541" y="821"/>
                    </a:lnTo>
                    <a:lnTo>
                      <a:pt x="520" y="825"/>
                    </a:lnTo>
                    <a:lnTo>
                      <a:pt x="499" y="830"/>
                    </a:lnTo>
                    <a:lnTo>
                      <a:pt x="478" y="835"/>
                    </a:lnTo>
                    <a:lnTo>
                      <a:pt x="456" y="840"/>
                    </a:lnTo>
                    <a:lnTo>
                      <a:pt x="435" y="844"/>
                    </a:lnTo>
                    <a:lnTo>
                      <a:pt x="414" y="849"/>
                    </a:lnTo>
                    <a:lnTo>
                      <a:pt x="393" y="854"/>
                    </a:lnTo>
                    <a:lnTo>
                      <a:pt x="374" y="859"/>
                    </a:lnTo>
                    <a:lnTo>
                      <a:pt x="352" y="861"/>
                    </a:lnTo>
                    <a:lnTo>
                      <a:pt x="331" y="866"/>
                    </a:lnTo>
                    <a:lnTo>
                      <a:pt x="310" y="870"/>
                    </a:lnTo>
                    <a:lnTo>
                      <a:pt x="289" y="875"/>
                    </a:lnTo>
                    <a:lnTo>
                      <a:pt x="267" y="880"/>
                    </a:lnTo>
                    <a:lnTo>
                      <a:pt x="246" y="882"/>
                    </a:lnTo>
                    <a:lnTo>
                      <a:pt x="225" y="887"/>
                    </a:lnTo>
                    <a:lnTo>
                      <a:pt x="203" y="892"/>
                    </a:lnTo>
                    <a:lnTo>
                      <a:pt x="182" y="896"/>
                    </a:lnTo>
                    <a:lnTo>
                      <a:pt x="161" y="899"/>
                    </a:lnTo>
                    <a:lnTo>
                      <a:pt x="140" y="903"/>
                    </a:lnTo>
                    <a:lnTo>
                      <a:pt x="118" y="908"/>
                    </a:lnTo>
                    <a:lnTo>
                      <a:pt x="97" y="913"/>
                    </a:lnTo>
                    <a:lnTo>
                      <a:pt x="76" y="915"/>
                    </a:lnTo>
                    <a:lnTo>
                      <a:pt x="55" y="920"/>
                    </a:lnTo>
                    <a:lnTo>
                      <a:pt x="33" y="922"/>
                    </a:lnTo>
                    <a:lnTo>
                      <a:pt x="12" y="927"/>
                    </a:lnTo>
                    <a:lnTo>
                      <a:pt x="7" y="899"/>
                    </a:lnTo>
                    <a:lnTo>
                      <a:pt x="0" y="873"/>
                    </a:lnTo>
                    <a:lnTo>
                      <a:pt x="0" y="870"/>
                    </a:lnTo>
                    <a:lnTo>
                      <a:pt x="10" y="863"/>
                    </a:lnTo>
                    <a:lnTo>
                      <a:pt x="36" y="840"/>
                    </a:lnTo>
                    <a:lnTo>
                      <a:pt x="47" y="823"/>
                    </a:lnTo>
                    <a:lnTo>
                      <a:pt x="62" y="809"/>
                    </a:lnTo>
                    <a:lnTo>
                      <a:pt x="76" y="797"/>
                    </a:lnTo>
                    <a:lnTo>
                      <a:pt x="85" y="783"/>
                    </a:lnTo>
                    <a:lnTo>
                      <a:pt x="92" y="766"/>
                    </a:lnTo>
                    <a:lnTo>
                      <a:pt x="102" y="754"/>
                    </a:lnTo>
                    <a:lnTo>
                      <a:pt x="111" y="745"/>
                    </a:lnTo>
                    <a:lnTo>
                      <a:pt x="116" y="738"/>
                    </a:lnTo>
                    <a:lnTo>
                      <a:pt x="116" y="728"/>
                    </a:lnTo>
                    <a:lnTo>
                      <a:pt x="111" y="719"/>
                    </a:lnTo>
                    <a:lnTo>
                      <a:pt x="104" y="707"/>
                    </a:lnTo>
                    <a:lnTo>
                      <a:pt x="102" y="698"/>
                    </a:lnTo>
                    <a:lnTo>
                      <a:pt x="104" y="688"/>
                    </a:lnTo>
                    <a:lnTo>
                      <a:pt x="104" y="684"/>
                    </a:lnTo>
                    <a:lnTo>
                      <a:pt x="102" y="681"/>
                    </a:lnTo>
                    <a:lnTo>
                      <a:pt x="76" y="679"/>
                    </a:lnTo>
                    <a:lnTo>
                      <a:pt x="71" y="643"/>
                    </a:lnTo>
                    <a:lnTo>
                      <a:pt x="69" y="641"/>
                    </a:lnTo>
                    <a:lnTo>
                      <a:pt x="71" y="641"/>
                    </a:lnTo>
                    <a:lnTo>
                      <a:pt x="123" y="615"/>
                    </a:lnTo>
                    <a:lnTo>
                      <a:pt x="156" y="603"/>
                    </a:lnTo>
                    <a:lnTo>
                      <a:pt x="199" y="594"/>
                    </a:lnTo>
                    <a:lnTo>
                      <a:pt x="251" y="591"/>
                    </a:lnTo>
                    <a:lnTo>
                      <a:pt x="272" y="594"/>
                    </a:lnTo>
                    <a:lnTo>
                      <a:pt x="286" y="601"/>
                    </a:lnTo>
                    <a:lnTo>
                      <a:pt x="303" y="598"/>
                    </a:lnTo>
                    <a:lnTo>
                      <a:pt x="317" y="591"/>
                    </a:lnTo>
                    <a:lnTo>
                      <a:pt x="341" y="587"/>
                    </a:lnTo>
                    <a:lnTo>
                      <a:pt x="369" y="582"/>
                    </a:lnTo>
                    <a:lnTo>
                      <a:pt x="385" y="580"/>
                    </a:lnTo>
                    <a:lnTo>
                      <a:pt x="388" y="582"/>
                    </a:lnTo>
                    <a:lnTo>
                      <a:pt x="390" y="582"/>
                    </a:lnTo>
                    <a:lnTo>
                      <a:pt x="390" y="577"/>
                    </a:lnTo>
                    <a:lnTo>
                      <a:pt x="397" y="570"/>
                    </a:lnTo>
                    <a:lnTo>
                      <a:pt x="416" y="558"/>
                    </a:lnTo>
                    <a:lnTo>
                      <a:pt x="421" y="558"/>
                    </a:lnTo>
                    <a:lnTo>
                      <a:pt x="423" y="553"/>
                    </a:lnTo>
                    <a:lnTo>
                      <a:pt x="428" y="544"/>
                    </a:lnTo>
                    <a:lnTo>
                      <a:pt x="437" y="530"/>
                    </a:lnTo>
                    <a:lnTo>
                      <a:pt x="449" y="516"/>
                    </a:lnTo>
                    <a:lnTo>
                      <a:pt x="463" y="509"/>
                    </a:lnTo>
                    <a:lnTo>
                      <a:pt x="475" y="504"/>
                    </a:lnTo>
                    <a:lnTo>
                      <a:pt x="485" y="499"/>
                    </a:lnTo>
                    <a:lnTo>
                      <a:pt x="487" y="494"/>
                    </a:lnTo>
                    <a:lnTo>
                      <a:pt x="487" y="490"/>
                    </a:lnTo>
                    <a:lnTo>
                      <a:pt x="485" y="485"/>
                    </a:lnTo>
                    <a:lnTo>
                      <a:pt x="485" y="480"/>
                    </a:lnTo>
                    <a:lnTo>
                      <a:pt x="485" y="478"/>
                    </a:lnTo>
                    <a:lnTo>
                      <a:pt x="485" y="478"/>
                    </a:lnTo>
                    <a:lnTo>
                      <a:pt x="482" y="473"/>
                    </a:lnTo>
                    <a:lnTo>
                      <a:pt x="478" y="457"/>
                    </a:lnTo>
                    <a:lnTo>
                      <a:pt x="473" y="449"/>
                    </a:lnTo>
                    <a:lnTo>
                      <a:pt x="468" y="442"/>
                    </a:lnTo>
                    <a:lnTo>
                      <a:pt x="463" y="440"/>
                    </a:lnTo>
                    <a:lnTo>
                      <a:pt x="461" y="435"/>
                    </a:lnTo>
                    <a:lnTo>
                      <a:pt x="468" y="428"/>
                    </a:lnTo>
                    <a:lnTo>
                      <a:pt x="468" y="433"/>
                    </a:lnTo>
                    <a:lnTo>
                      <a:pt x="471" y="435"/>
                    </a:lnTo>
                    <a:lnTo>
                      <a:pt x="475" y="431"/>
                    </a:lnTo>
                    <a:lnTo>
                      <a:pt x="480" y="419"/>
                    </a:lnTo>
                    <a:lnTo>
                      <a:pt x="480" y="414"/>
                    </a:lnTo>
                    <a:lnTo>
                      <a:pt x="485" y="409"/>
                    </a:lnTo>
                    <a:lnTo>
                      <a:pt x="487" y="402"/>
                    </a:lnTo>
                    <a:lnTo>
                      <a:pt x="482" y="402"/>
                    </a:lnTo>
                    <a:lnTo>
                      <a:pt x="473" y="407"/>
                    </a:lnTo>
                    <a:lnTo>
                      <a:pt x="471" y="405"/>
                    </a:lnTo>
                    <a:lnTo>
                      <a:pt x="473" y="395"/>
                    </a:lnTo>
                    <a:lnTo>
                      <a:pt x="471" y="390"/>
                    </a:lnTo>
                    <a:lnTo>
                      <a:pt x="468" y="388"/>
                    </a:lnTo>
                    <a:lnTo>
                      <a:pt x="466" y="388"/>
                    </a:lnTo>
                    <a:lnTo>
                      <a:pt x="454" y="400"/>
                    </a:lnTo>
                    <a:lnTo>
                      <a:pt x="452" y="400"/>
                    </a:lnTo>
                    <a:lnTo>
                      <a:pt x="449" y="397"/>
                    </a:lnTo>
                    <a:lnTo>
                      <a:pt x="442" y="388"/>
                    </a:lnTo>
                    <a:lnTo>
                      <a:pt x="454" y="369"/>
                    </a:lnTo>
                    <a:lnTo>
                      <a:pt x="506" y="312"/>
                    </a:lnTo>
                    <a:lnTo>
                      <a:pt x="511" y="303"/>
                    </a:lnTo>
                    <a:lnTo>
                      <a:pt x="511" y="298"/>
                    </a:lnTo>
                    <a:lnTo>
                      <a:pt x="508" y="291"/>
                    </a:lnTo>
                    <a:lnTo>
                      <a:pt x="506" y="291"/>
                    </a:lnTo>
                    <a:lnTo>
                      <a:pt x="506" y="289"/>
                    </a:lnTo>
                    <a:lnTo>
                      <a:pt x="551" y="220"/>
                    </a:lnTo>
                    <a:lnTo>
                      <a:pt x="577" y="187"/>
                    </a:lnTo>
                    <a:lnTo>
                      <a:pt x="601" y="166"/>
                    </a:lnTo>
                    <a:lnTo>
                      <a:pt x="619" y="154"/>
                    </a:lnTo>
                    <a:lnTo>
                      <a:pt x="634" y="152"/>
                    </a:lnTo>
                    <a:lnTo>
                      <a:pt x="641" y="149"/>
                    </a:lnTo>
                    <a:lnTo>
                      <a:pt x="648" y="147"/>
                    </a:lnTo>
                    <a:lnTo>
                      <a:pt x="681" y="137"/>
                    </a:lnTo>
                    <a:lnTo>
                      <a:pt x="742" y="123"/>
                    </a:lnTo>
                    <a:lnTo>
                      <a:pt x="804" y="109"/>
                    </a:lnTo>
                    <a:lnTo>
                      <a:pt x="839" y="100"/>
                    </a:lnTo>
                    <a:lnTo>
                      <a:pt x="844" y="114"/>
                    </a:lnTo>
                    <a:lnTo>
                      <a:pt x="844" y="130"/>
                    </a:lnTo>
                    <a:lnTo>
                      <a:pt x="851" y="147"/>
                    </a:lnTo>
                    <a:lnTo>
                      <a:pt x="856" y="185"/>
                    </a:lnTo>
                    <a:lnTo>
                      <a:pt x="872" y="211"/>
                    </a:lnTo>
                    <a:lnTo>
                      <a:pt x="877" y="230"/>
                    </a:lnTo>
                    <a:lnTo>
                      <a:pt x="882" y="248"/>
                    </a:lnTo>
                    <a:lnTo>
                      <a:pt x="882" y="256"/>
                    </a:lnTo>
                    <a:lnTo>
                      <a:pt x="877" y="267"/>
                    </a:lnTo>
                    <a:lnTo>
                      <a:pt x="875" y="282"/>
                    </a:lnTo>
                    <a:lnTo>
                      <a:pt x="877" y="293"/>
                    </a:lnTo>
                    <a:lnTo>
                      <a:pt x="877" y="300"/>
                    </a:lnTo>
                    <a:lnTo>
                      <a:pt x="894" y="331"/>
                    </a:lnTo>
                    <a:lnTo>
                      <a:pt x="898" y="345"/>
                    </a:lnTo>
                    <a:lnTo>
                      <a:pt x="901" y="355"/>
                    </a:lnTo>
                    <a:lnTo>
                      <a:pt x="901" y="383"/>
                    </a:lnTo>
                    <a:lnTo>
                      <a:pt x="903" y="393"/>
                    </a:lnTo>
                    <a:lnTo>
                      <a:pt x="905" y="393"/>
                    </a:lnTo>
                    <a:lnTo>
                      <a:pt x="908" y="393"/>
                    </a:lnTo>
                    <a:lnTo>
                      <a:pt x="910" y="383"/>
                    </a:lnTo>
                    <a:lnTo>
                      <a:pt x="913" y="381"/>
                    </a:lnTo>
                    <a:lnTo>
                      <a:pt x="917" y="383"/>
                    </a:lnTo>
                    <a:lnTo>
                      <a:pt x="929" y="393"/>
                    </a:lnTo>
                    <a:lnTo>
                      <a:pt x="936" y="416"/>
                    </a:lnTo>
                    <a:lnTo>
                      <a:pt x="939" y="433"/>
                    </a:lnTo>
                    <a:lnTo>
                      <a:pt x="943" y="452"/>
                    </a:lnTo>
                    <a:lnTo>
                      <a:pt x="950" y="480"/>
                    </a:lnTo>
                    <a:lnTo>
                      <a:pt x="955" y="501"/>
                    </a:lnTo>
                    <a:lnTo>
                      <a:pt x="960" y="520"/>
                    </a:lnTo>
                    <a:lnTo>
                      <a:pt x="962" y="535"/>
                    </a:lnTo>
                    <a:lnTo>
                      <a:pt x="965" y="544"/>
                    </a:lnTo>
                    <a:lnTo>
                      <a:pt x="969" y="556"/>
                    </a:lnTo>
                    <a:close/>
                    <a:moveTo>
                      <a:pt x="468" y="345"/>
                    </a:moveTo>
                    <a:lnTo>
                      <a:pt x="466" y="348"/>
                    </a:lnTo>
                    <a:lnTo>
                      <a:pt x="463" y="345"/>
                    </a:lnTo>
                    <a:lnTo>
                      <a:pt x="463" y="343"/>
                    </a:lnTo>
                    <a:lnTo>
                      <a:pt x="466" y="341"/>
                    </a:lnTo>
                    <a:lnTo>
                      <a:pt x="473" y="338"/>
                    </a:lnTo>
                    <a:lnTo>
                      <a:pt x="473" y="341"/>
                    </a:lnTo>
                    <a:lnTo>
                      <a:pt x="468" y="345"/>
                    </a:lnTo>
                    <a:close/>
                    <a:moveTo>
                      <a:pt x="459" y="409"/>
                    </a:moveTo>
                    <a:lnTo>
                      <a:pt x="459" y="412"/>
                    </a:lnTo>
                    <a:lnTo>
                      <a:pt x="456" y="407"/>
                    </a:lnTo>
                    <a:lnTo>
                      <a:pt x="459" y="405"/>
                    </a:lnTo>
                    <a:lnTo>
                      <a:pt x="463" y="402"/>
                    </a:lnTo>
                    <a:lnTo>
                      <a:pt x="463" y="405"/>
                    </a:lnTo>
                    <a:lnTo>
                      <a:pt x="459" y="409"/>
                    </a:lnTo>
                    <a:close/>
                    <a:moveTo>
                      <a:pt x="99" y="693"/>
                    </a:moveTo>
                    <a:lnTo>
                      <a:pt x="97" y="700"/>
                    </a:lnTo>
                    <a:lnTo>
                      <a:pt x="92" y="700"/>
                    </a:lnTo>
                    <a:lnTo>
                      <a:pt x="88" y="700"/>
                    </a:lnTo>
                    <a:lnTo>
                      <a:pt x="85" y="695"/>
                    </a:lnTo>
                    <a:lnTo>
                      <a:pt x="85" y="688"/>
                    </a:lnTo>
                    <a:lnTo>
                      <a:pt x="90" y="686"/>
                    </a:lnTo>
                    <a:lnTo>
                      <a:pt x="99" y="686"/>
                    </a:lnTo>
                    <a:lnTo>
                      <a:pt x="102" y="688"/>
                    </a:lnTo>
                    <a:lnTo>
                      <a:pt x="99" y="693"/>
                    </a:lnTo>
                    <a:close/>
                    <a:moveTo>
                      <a:pt x="1177" y="887"/>
                    </a:moveTo>
                    <a:lnTo>
                      <a:pt x="1170" y="903"/>
                    </a:lnTo>
                    <a:lnTo>
                      <a:pt x="1180" y="901"/>
                    </a:lnTo>
                    <a:lnTo>
                      <a:pt x="1187" y="896"/>
                    </a:lnTo>
                    <a:lnTo>
                      <a:pt x="1194" y="887"/>
                    </a:lnTo>
                    <a:lnTo>
                      <a:pt x="1210" y="870"/>
                    </a:lnTo>
                    <a:lnTo>
                      <a:pt x="1225" y="861"/>
                    </a:lnTo>
                    <a:lnTo>
                      <a:pt x="1229" y="859"/>
                    </a:lnTo>
                    <a:lnTo>
                      <a:pt x="1239" y="866"/>
                    </a:lnTo>
                    <a:lnTo>
                      <a:pt x="1253" y="854"/>
                    </a:lnTo>
                    <a:lnTo>
                      <a:pt x="1267" y="847"/>
                    </a:lnTo>
                    <a:lnTo>
                      <a:pt x="1208" y="899"/>
                    </a:lnTo>
                    <a:lnTo>
                      <a:pt x="1196" y="906"/>
                    </a:lnTo>
                    <a:lnTo>
                      <a:pt x="1180" y="922"/>
                    </a:lnTo>
                    <a:lnTo>
                      <a:pt x="1161" y="934"/>
                    </a:lnTo>
                    <a:lnTo>
                      <a:pt x="1149" y="939"/>
                    </a:lnTo>
                    <a:lnTo>
                      <a:pt x="1090" y="981"/>
                    </a:lnTo>
                    <a:lnTo>
                      <a:pt x="1083" y="984"/>
                    </a:lnTo>
                    <a:lnTo>
                      <a:pt x="1078" y="984"/>
                    </a:lnTo>
                    <a:lnTo>
                      <a:pt x="1026" y="1010"/>
                    </a:lnTo>
                    <a:lnTo>
                      <a:pt x="1002" y="1017"/>
                    </a:lnTo>
                    <a:lnTo>
                      <a:pt x="983" y="1026"/>
                    </a:lnTo>
                    <a:lnTo>
                      <a:pt x="995" y="1012"/>
                    </a:lnTo>
                    <a:lnTo>
                      <a:pt x="995" y="1010"/>
                    </a:lnTo>
                    <a:lnTo>
                      <a:pt x="991" y="1007"/>
                    </a:lnTo>
                    <a:lnTo>
                      <a:pt x="983" y="1010"/>
                    </a:lnTo>
                    <a:lnTo>
                      <a:pt x="976" y="1022"/>
                    </a:lnTo>
                    <a:lnTo>
                      <a:pt x="965" y="1029"/>
                    </a:lnTo>
                    <a:lnTo>
                      <a:pt x="960" y="1019"/>
                    </a:lnTo>
                    <a:lnTo>
                      <a:pt x="962" y="1007"/>
                    </a:lnTo>
                    <a:lnTo>
                      <a:pt x="965" y="998"/>
                    </a:lnTo>
                    <a:lnTo>
                      <a:pt x="976" y="981"/>
                    </a:lnTo>
                    <a:lnTo>
                      <a:pt x="993" y="967"/>
                    </a:lnTo>
                    <a:lnTo>
                      <a:pt x="1000" y="958"/>
                    </a:lnTo>
                    <a:lnTo>
                      <a:pt x="1007" y="963"/>
                    </a:lnTo>
                    <a:lnTo>
                      <a:pt x="1007" y="953"/>
                    </a:lnTo>
                    <a:lnTo>
                      <a:pt x="1012" y="948"/>
                    </a:lnTo>
                    <a:lnTo>
                      <a:pt x="1017" y="944"/>
                    </a:lnTo>
                    <a:lnTo>
                      <a:pt x="1028" y="939"/>
                    </a:lnTo>
                    <a:lnTo>
                      <a:pt x="1036" y="937"/>
                    </a:lnTo>
                    <a:lnTo>
                      <a:pt x="1040" y="932"/>
                    </a:lnTo>
                    <a:lnTo>
                      <a:pt x="1045" y="929"/>
                    </a:lnTo>
                    <a:lnTo>
                      <a:pt x="1062" y="932"/>
                    </a:lnTo>
                    <a:lnTo>
                      <a:pt x="1076" y="927"/>
                    </a:lnTo>
                    <a:lnTo>
                      <a:pt x="1085" y="918"/>
                    </a:lnTo>
                    <a:lnTo>
                      <a:pt x="1097" y="913"/>
                    </a:lnTo>
                    <a:lnTo>
                      <a:pt x="1128" y="903"/>
                    </a:lnTo>
                    <a:lnTo>
                      <a:pt x="1158" y="892"/>
                    </a:lnTo>
                    <a:lnTo>
                      <a:pt x="1170" y="880"/>
                    </a:lnTo>
                    <a:lnTo>
                      <a:pt x="1192" y="854"/>
                    </a:lnTo>
                    <a:lnTo>
                      <a:pt x="1203" y="844"/>
                    </a:lnTo>
                    <a:lnTo>
                      <a:pt x="1187" y="873"/>
                    </a:lnTo>
                    <a:lnTo>
                      <a:pt x="1177" y="887"/>
                    </a:lnTo>
                    <a:close/>
                    <a:moveTo>
                      <a:pt x="941" y="1048"/>
                    </a:moveTo>
                    <a:lnTo>
                      <a:pt x="934" y="1050"/>
                    </a:lnTo>
                    <a:lnTo>
                      <a:pt x="936" y="1029"/>
                    </a:lnTo>
                    <a:lnTo>
                      <a:pt x="948" y="1017"/>
                    </a:lnTo>
                    <a:lnTo>
                      <a:pt x="953" y="1017"/>
                    </a:lnTo>
                    <a:lnTo>
                      <a:pt x="955" y="1024"/>
                    </a:lnTo>
                    <a:lnTo>
                      <a:pt x="955" y="1031"/>
                    </a:lnTo>
                    <a:lnTo>
                      <a:pt x="948" y="1043"/>
                    </a:lnTo>
                    <a:lnTo>
                      <a:pt x="941" y="104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20" name="Freeform 77">
                <a:extLst>
                  <a:ext uri="{FF2B5EF4-FFF2-40B4-BE49-F238E27FC236}">
                    <a16:creationId xmlns:a16="http://schemas.microsoft.com/office/drawing/2014/main" id="{0B7C9EAF-2E2F-D928-AB91-7167A1438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0" y="485"/>
                <a:ext cx="706" cy="792"/>
              </a:xfrm>
              <a:custGeom>
                <a:avLst/>
                <a:gdLst>
                  <a:gd name="T0" fmla="*/ 688 w 706"/>
                  <a:gd name="T1" fmla="*/ 300 h 792"/>
                  <a:gd name="T2" fmla="*/ 702 w 706"/>
                  <a:gd name="T3" fmla="*/ 340 h 792"/>
                  <a:gd name="T4" fmla="*/ 680 w 706"/>
                  <a:gd name="T5" fmla="*/ 477 h 792"/>
                  <a:gd name="T6" fmla="*/ 647 w 706"/>
                  <a:gd name="T7" fmla="*/ 541 h 792"/>
                  <a:gd name="T8" fmla="*/ 610 w 706"/>
                  <a:gd name="T9" fmla="*/ 567 h 792"/>
                  <a:gd name="T10" fmla="*/ 586 w 706"/>
                  <a:gd name="T11" fmla="*/ 584 h 792"/>
                  <a:gd name="T12" fmla="*/ 565 w 706"/>
                  <a:gd name="T13" fmla="*/ 603 h 792"/>
                  <a:gd name="T14" fmla="*/ 553 w 706"/>
                  <a:gd name="T15" fmla="*/ 636 h 792"/>
                  <a:gd name="T16" fmla="*/ 562 w 706"/>
                  <a:gd name="T17" fmla="*/ 664 h 792"/>
                  <a:gd name="T18" fmla="*/ 553 w 706"/>
                  <a:gd name="T19" fmla="*/ 669 h 792"/>
                  <a:gd name="T20" fmla="*/ 543 w 706"/>
                  <a:gd name="T21" fmla="*/ 676 h 792"/>
                  <a:gd name="T22" fmla="*/ 524 w 706"/>
                  <a:gd name="T23" fmla="*/ 657 h 792"/>
                  <a:gd name="T24" fmla="*/ 498 w 706"/>
                  <a:gd name="T25" fmla="*/ 711 h 792"/>
                  <a:gd name="T26" fmla="*/ 503 w 706"/>
                  <a:gd name="T27" fmla="*/ 745 h 792"/>
                  <a:gd name="T28" fmla="*/ 489 w 706"/>
                  <a:gd name="T29" fmla="*/ 775 h 792"/>
                  <a:gd name="T30" fmla="*/ 442 w 706"/>
                  <a:gd name="T31" fmla="*/ 789 h 792"/>
                  <a:gd name="T32" fmla="*/ 399 w 706"/>
                  <a:gd name="T33" fmla="*/ 756 h 792"/>
                  <a:gd name="T34" fmla="*/ 340 w 706"/>
                  <a:gd name="T35" fmla="*/ 763 h 792"/>
                  <a:gd name="T36" fmla="*/ 283 w 706"/>
                  <a:gd name="T37" fmla="*/ 759 h 792"/>
                  <a:gd name="T38" fmla="*/ 250 w 706"/>
                  <a:gd name="T39" fmla="*/ 768 h 792"/>
                  <a:gd name="T40" fmla="*/ 186 w 706"/>
                  <a:gd name="T41" fmla="*/ 749 h 792"/>
                  <a:gd name="T42" fmla="*/ 141 w 706"/>
                  <a:gd name="T43" fmla="*/ 702 h 792"/>
                  <a:gd name="T44" fmla="*/ 101 w 706"/>
                  <a:gd name="T45" fmla="*/ 700 h 792"/>
                  <a:gd name="T46" fmla="*/ 73 w 706"/>
                  <a:gd name="T47" fmla="*/ 695 h 792"/>
                  <a:gd name="T48" fmla="*/ 47 w 706"/>
                  <a:gd name="T49" fmla="*/ 567 h 792"/>
                  <a:gd name="T50" fmla="*/ 23 w 706"/>
                  <a:gd name="T51" fmla="*/ 362 h 792"/>
                  <a:gd name="T52" fmla="*/ 0 w 706"/>
                  <a:gd name="T53" fmla="*/ 158 h 792"/>
                  <a:gd name="T54" fmla="*/ 156 w 706"/>
                  <a:gd name="T55" fmla="*/ 132 h 792"/>
                  <a:gd name="T56" fmla="*/ 210 w 706"/>
                  <a:gd name="T57" fmla="*/ 123 h 792"/>
                  <a:gd name="T58" fmla="*/ 236 w 706"/>
                  <a:gd name="T59" fmla="*/ 130 h 792"/>
                  <a:gd name="T60" fmla="*/ 283 w 706"/>
                  <a:gd name="T61" fmla="*/ 151 h 792"/>
                  <a:gd name="T62" fmla="*/ 305 w 706"/>
                  <a:gd name="T63" fmla="*/ 149 h 792"/>
                  <a:gd name="T64" fmla="*/ 316 w 706"/>
                  <a:gd name="T65" fmla="*/ 146 h 792"/>
                  <a:gd name="T66" fmla="*/ 293 w 706"/>
                  <a:gd name="T67" fmla="*/ 168 h 792"/>
                  <a:gd name="T68" fmla="*/ 307 w 706"/>
                  <a:gd name="T69" fmla="*/ 172 h 792"/>
                  <a:gd name="T70" fmla="*/ 340 w 706"/>
                  <a:gd name="T71" fmla="*/ 165 h 792"/>
                  <a:gd name="T72" fmla="*/ 364 w 706"/>
                  <a:gd name="T73" fmla="*/ 170 h 792"/>
                  <a:gd name="T74" fmla="*/ 385 w 706"/>
                  <a:gd name="T75" fmla="*/ 163 h 792"/>
                  <a:gd name="T76" fmla="*/ 449 w 706"/>
                  <a:gd name="T77" fmla="*/ 137 h 792"/>
                  <a:gd name="T78" fmla="*/ 498 w 706"/>
                  <a:gd name="T79" fmla="*/ 120 h 792"/>
                  <a:gd name="T80" fmla="*/ 607 w 706"/>
                  <a:gd name="T81" fmla="*/ 28 h 792"/>
                  <a:gd name="T82" fmla="*/ 664 w 706"/>
                  <a:gd name="T83" fmla="*/ 40 h 792"/>
                  <a:gd name="T84" fmla="*/ 676 w 706"/>
                  <a:gd name="T85" fmla="*/ 104 h 792"/>
                  <a:gd name="T86" fmla="*/ 688 w 706"/>
                  <a:gd name="T87" fmla="*/ 170 h 792"/>
                  <a:gd name="T88" fmla="*/ 697 w 706"/>
                  <a:gd name="T89" fmla="*/ 234 h 7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06" h="792">
                    <a:moveTo>
                      <a:pt x="706" y="279"/>
                    </a:moveTo>
                    <a:lnTo>
                      <a:pt x="688" y="291"/>
                    </a:lnTo>
                    <a:lnTo>
                      <a:pt x="688" y="300"/>
                    </a:lnTo>
                    <a:lnTo>
                      <a:pt x="695" y="309"/>
                    </a:lnTo>
                    <a:lnTo>
                      <a:pt x="699" y="321"/>
                    </a:lnTo>
                    <a:lnTo>
                      <a:pt x="702" y="340"/>
                    </a:lnTo>
                    <a:lnTo>
                      <a:pt x="699" y="378"/>
                    </a:lnTo>
                    <a:lnTo>
                      <a:pt x="688" y="440"/>
                    </a:lnTo>
                    <a:lnTo>
                      <a:pt x="680" y="477"/>
                    </a:lnTo>
                    <a:lnTo>
                      <a:pt x="683" y="492"/>
                    </a:lnTo>
                    <a:lnTo>
                      <a:pt x="673" y="513"/>
                    </a:lnTo>
                    <a:lnTo>
                      <a:pt x="647" y="541"/>
                    </a:lnTo>
                    <a:lnTo>
                      <a:pt x="631" y="560"/>
                    </a:lnTo>
                    <a:lnTo>
                      <a:pt x="621" y="567"/>
                    </a:lnTo>
                    <a:lnTo>
                      <a:pt x="610" y="567"/>
                    </a:lnTo>
                    <a:lnTo>
                      <a:pt x="602" y="562"/>
                    </a:lnTo>
                    <a:lnTo>
                      <a:pt x="595" y="567"/>
                    </a:lnTo>
                    <a:lnTo>
                      <a:pt x="586" y="584"/>
                    </a:lnTo>
                    <a:lnTo>
                      <a:pt x="579" y="591"/>
                    </a:lnTo>
                    <a:lnTo>
                      <a:pt x="572" y="593"/>
                    </a:lnTo>
                    <a:lnTo>
                      <a:pt x="565" y="603"/>
                    </a:lnTo>
                    <a:lnTo>
                      <a:pt x="562" y="622"/>
                    </a:lnTo>
                    <a:lnTo>
                      <a:pt x="558" y="633"/>
                    </a:lnTo>
                    <a:lnTo>
                      <a:pt x="553" y="636"/>
                    </a:lnTo>
                    <a:lnTo>
                      <a:pt x="555" y="645"/>
                    </a:lnTo>
                    <a:lnTo>
                      <a:pt x="562" y="659"/>
                    </a:lnTo>
                    <a:lnTo>
                      <a:pt x="562" y="664"/>
                    </a:lnTo>
                    <a:lnTo>
                      <a:pt x="560" y="664"/>
                    </a:lnTo>
                    <a:lnTo>
                      <a:pt x="558" y="664"/>
                    </a:lnTo>
                    <a:lnTo>
                      <a:pt x="553" y="669"/>
                    </a:lnTo>
                    <a:lnTo>
                      <a:pt x="548" y="678"/>
                    </a:lnTo>
                    <a:lnTo>
                      <a:pt x="546" y="678"/>
                    </a:lnTo>
                    <a:lnTo>
                      <a:pt x="543" y="676"/>
                    </a:lnTo>
                    <a:lnTo>
                      <a:pt x="539" y="667"/>
                    </a:lnTo>
                    <a:lnTo>
                      <a:pt x="534" y="659"/>
                    </a:lnTo>
                    <a:lnTo>
                      <a:pt x="524" y="657"/>
                    </a:lnTo>
                    <a:lnTo>
                      <a:pt x="515" y="669"/>
                    </a:lnTo>
                    <a:lnTo>
                      <a:pt x="503" y="695"/>
                    </a:lnTo>
                    <a:lnTo>
                      <a:pt x="498" y="711"/>
                    </a:lnTo>
                    <a:lnTo>
                      <a:pt x="503" y="723"/>
                    </a:lnTo>
                    <a:lnTo>
                      <a:pt x="508" y="737"/>
                    </a:lnTo>
                    <a:lnTo>
                      <a:pt x="503" y="745"/>
                    </a:lnTo>
                    <a:lnTo>
                      <a:pt x="496" y="749"/>
                    </a:lnTo>
                    <a:lnTo>
                      <a:pt x="491" y="759"/>
                    </a:lnTo>
                    <a:lnTo>
                      <a:pt x="489" y="775"/>
                    </a:lnTo>
                    <a:lnTo>
                      <a:pt x="480" y="787"/>
                    </a:lnTo>
                    <a:lnTo>
                      <a:pt x="463" y="792"/>
                    </a:lnTo>
                    <a:lnTo>
                      <a:pt x="442" y="789"/>
                    </a:lnTo>
                    <a:lnTo>
                      <a:pt x="442" y="787"/>
                    </a:lnTo>
                    <a:lnTo>
                      <a:pt x="416" y="773"/>
                    </a:lnTo>
                    <a:lnTo>
                      <a:pt x="399" y="756"/>
                    </a:lnTo>
                    <a:lnTo>
                      <a:pt x="390" y="740"/>
                    </a:lnTo>
                    <a:lnTo>
                      <a:pt x="371" y="742"/>
                    </a:lnTo>
                    <a:lnTo>
                      <a:pt x="340" y="763"/>
                    </a:lnTo>
                    <a:lnTo>
                      <a:pt x="316" y="768"/>
                    </a:lnTo>
                    <a:lnTo>
                      <a:pt x="297" y="761"/>
                    </a:lnTo>
                    <a:lnTo>
                      <a:pt x="283" y="759"/>
                    </a:lnTo>
                    <a:lnTo>
                      <a:pt x="271" y="763"/>
                    </a:lnTo>
                    <a:lnTo>
                      <a:pt x="260" y="771"/>
                    </a:lnTo>
                    <a:lnTo>
                      <a:pt x="250" y="768"/>
                    </a:lnTo>
                    <a:lnTo>
                      <a:pt x="236" y="759"/>
                    </a:lnTo>
                    <a:lnTo>
                      <a:pt x="215" y="752"/>
                    </a:lnTo>
                    <a:lnTo>
                      <a:pt x="186" y="749"/>
                    </a:lnTo>
                    <a:lnTo>
                      <a:pt x="167" y="737"/>
                    </a:lnTo>
                    <a:lnTo>
                      <a:pt x="153" y="716"/>
                    </a:lnTo>
                    <a:lnTo>
                      <a:pt x="141" y="702"/>
                    </a:lnTo>
                    <a:lnTo>
                      <a:pt x="127" y="695"/>
                    </a:lnTo>
                    <a:lnTo>
                      <a:pt x="115" y="695"/>
                    </a:lnTo>
                    <a:lnTo>
                      <a:pt x="101" y="700"/>
                    </a:lnTo>
                    <a:lnTo>
                      <a:pt x="89" y="700"/>
                    </a:lnTo>
                    <a:lnTo>
                      <a:pt x="82" y="693"/>
                    </a:lnTo>
                    <a:lnTo>
                      <a:pt x="73" y="695"/>
                    </a:lnTo>
                    <a:lnTo>
                      <a:pt x="63" y="704"/>
                    </a:lnTo>
                    <a:lnTo>
                      <a:pt x="56" y="633"/>
                    </a:lnTo>
                    <a:lnTo>
                      <a:pt x="47" y="567"/>
                    </a:lnTo>
                    <a:lnTo>
                      <a:pt x="40" y="499"/>
                    </a:lnTo>
                    <a:lnTo>
                      <a:pt x="33" y="430"/>
                    </a:lnTo>
                    <a:lnTo>
                      <a:pt x="23" y="362"/>
                    </a:lnTo>
                    <a:lnTo>
                      <a:pt x="16" y="295"/>
                    </a:lnTo>
                    <a:lnTo>
                      <a:pt x="9" y="227"/>
                    </a:lnTo>
                    <a:lnTo>
                      <a:pt x="0" y="158"/>
                    </a:lnTo>
                    <a:lnTo>
                      <a:pt x="52" y="149"/>
                    </a:lnTo>
                    <a:lnTo>
                      <a:pt x="104" y="142"/>
                    </a:lnTo>
                    <a:lnTo>
                      <a:pt x="156" y="132"/>
                    </a:lnTo>
                    <a:lnTo>
                      <a:pt x="208" y="123"/>
                    </a:lnTo>
                    <a:lnTo>
                      <a:pt x="210" y="123"/>
                    </a:lnTo>
                    <a:lnTo>
                      <a:pt x="210" y="123"/>
                    </a:lnTo>
                    <a:lnTo>
                      <a:pt x="212" y="125"/>
                    </a:lnTo>
                    <a:lnTo>
                      <a:pt x="227" y="125"/>
                    </a:lnTo>
                    <a:lnTo>
                      <a:pt x="236" y="130"/>
                    </a:lnTo>
                    <a:lnTo>
                      <a:pt x="245" y="135"/>
                    </a:lnTo>
                    <a:lnTo>
                      <a:pt x="274" y="144"/>
                    </a:lnTo>
                    <a:lnTo>
                      <a:pt x="283" y="151"/>
                    </a:lnTo>
                    <a:lnTo>
                      <a:pt x="293" y="153"/>
                    </a:lnTo>
                    <a:lnTo>
                      <a:pt x="300" y="153"/>
                    </a:lnTo>
                    <a:lnTo>
                      <a:pt x="305" y="149"/>
                    </a:lnTo>
                    <a:lnTo>
                      <a:pt x="307" y="144"/>
                    </a:lnTo>
                    <a:lnTo>
                      <a:pt x="312" y="142"/>
                    </a:lnTo>
                    <a:lnTo>
                      <a:pt x="316" y="146"/>
                    </a:lnTo>
                    <a:lnTo>
                      <a:pt x="333" y="149"/>
                    </a:lnTo>
                    <a:lnTo>
                      <a:pt x="333" y="151"/>
                    </a:lnTo>
                    <a:lnTo>
                      <a:pt x="293" y="168"/>
                    </a:lnTo>
                    <a:lnTo>
                      <a:pt x="286" y="172"/>
                    </a:lnTo>
                    <a:lnTo>
                      <a:pt x="295" y="175"/>
                    </a:lnTo>
                    <a:lnTo>
                      <a:pt x="307" y="172"/>
                    </a:lnTo>
                    <a:lnTo>
                      <a:pt x="316" y="165"/>
                    </a:lnTo>
                    <a:lnTo>
                      <a:pt x="328" y="165"/>
                    </a:lnTo>
                    <a:lnTo>
                      <a:pt x="340" y="165"/>
                    </a:lnTo>
                    <a:lnTo>
                      <a:pt x="342" y="163"/>
                    </a:lnTo>
                    <a:lnTo>
                      <a:pt x="345" y="161"/>
                    </a:lnTo>
                    <a:lnTo>
                      <a:pt x="364" y="170"/>
                    </a:lnTo>
                    <a:lnTo>
                      <a:pt x="373" y="172"/>
                    </a:lnTo>
                    <a:lnTo>
                      <a:pt x="378" y="170"/>
                    </a:lnTo>
                    <a:lnTo>
                      <a:pt x="385" y="163"/>
                    </a:lnTo>
                    <a:lnTo>
                      <a:pt x="402" y="156"/>
                    </a:lnTo>
                    <a:lnTo>
                      <a:pt x="425" y="144"/>
                    </a:lnTo>
                    <a:lnTo>
                      <a:pt x="449" y="137"/>
                    </a:lnTo>
                    <a:lnTo>
                      <a:pt x="472" y="135"/>
                    </a:lnTo>
                    <a:lnTo>
                      <a:pt x="487" y="130"/>
                    </a:lnTo>
                    <a:lnTo>
                      <a:pt x="498" y="120"/>
                    </a:lnTo>
                    <a:lnTo>
                      <a:pt x="524" y="90"/>
                    </a:lnTo>
                    <a:lnTo>
                      <a:pt x="555" y="64"/>
                    </a:lnTo>
                    <a:lnTo>
                      <a:pt x="607" y="28"/>
                    </a:lnTo>
                    <a:lnTo>
                      <a:pt x="657" y="0"/>
                    </a:lnTo>
                    <a:lnTo>
                      <a:pt x="662" y="16"/>
                    </a:lnTo>
                    <a:lnTo>
                      <a:pt x="664" y="40"/>
                    </a:lnTo>
                    <a:lnTo>
                      <a:pt x="669" y="61"/>
                    </a:lnTo>
                    <a:lnTo>
                      <a:pt x="671" y="82"/>
                    </a:lnTo>
                    <a:lnTo>
                      <a:pt x="676" y="104"/>
                    </a:lnTo>
                    <a:lnTo>
                      <a:pt x="678" y="125"/>
                    </a:lnTo>
                    <a:lnTo>
                      <a:pt x="683" y="149"/>
                    </a:lnTo>
                    <a:lnTo>
                      <a:pt x="688" y="170"/>
                    </a:lnTo>
                    <a:lnTo>
                      <a:pt x="690" y="191"/>
                    </a:lnTo>
                    <a:lnTo>
                      <a:pt x="695" y="213"/>
                    </a:lnTo>
                    <a:lnTo>
                      <a:pt x="697" y="234"/>
                    </a:lnTo>
                    <a:lnTo>
                      <a:pt x="702" y="257"/>
                    </a:lnTo>
                    <a:lnTo>
                      <a:pt x="706" y="27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21" name="Freeform 78">
                <a:extLst>
                  <a:ext uri="{FF2B5EF4-FFF2-40B4-BE49-F238E27FC236}">
                    <a16:creationId xmlns:a16="http://schemas.microsoft.com/office/drawing/2014/main" id="{BD3340CC-DF6E-F296-9127-BB48399850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2" y="1695"/>
                <a:ext cx="1456" cy="750"/>
              </a:xfrm>
              <a:custGeom>
                <a:avLst/>
                <a:gdLst>
                  <a:gd name="T0" fmla="*/ 1432 w 1456"/>
                  <a:gd name="T1" fmla="*/ 237 h 750"/>
                  <a:gd name="T2" fmla="*/ 1451 w 1456"/>
                  <a:gd name="T3" fmla="*/ 353 h 750"/>
                  <a:gd name="T4" fmla="*/ 1454 w 1456"/>
                  <a:gd name="T5" fmla="*/ 452 h 750"/>
                  <a:gd name="T6" fmla="*/ 1454 w 1456"/>
                  <a:gd name="T7" fmla="*/ 542 h 750"/>
                  <a:gd name="T8" fmla="*/ 1454 w 1456"/>
                  <a:gd name="T9" fmla="*/ 634 h 750"/>
                  <a:gd name="T10" fmla="*/ 1454 w 1456"/>
                  <a:gd name="T11" fmla="*/ 726 h 750"/>
                  <a:gd name="T12" fmla="*/ 1385 w 1456"/>
                  <a:gd name="T13" fmla="*/ 724 h 750"/>
                  <a:gd name="T14" fmla="*/ 1319 w 1456"/>
                  <a:gd name="T15" fmla="*/ 686 h 750"/>
                  <a:gd name="T16" fmla="*/ 1269 w 1456"/>
                  <a:gd name="T17" fmla="*/ 700 h 750"/>
                  <a:gd name="T18" fmla="*/ 1253 w 1456"/>
                  <a:gd name="T19" fmla="*/ 691 h 750"/>
                  <a:gd name="T20" fmla="*/ 1196 w 1456"/>
                  <a:gd name="T21" fmla="*/ 703 h 750"/>
                  <a:gd name="T22" fmla="*/ 1130 w 1456"/>
                  <a:gd name="T23" fmla="*/ 738 h 750"/>
                  <a:gd name="T24" fmla="*/ 1083 w 1456"/>
                  <a:gd name="T25" fmla="*/ 710 h 750"/>
                  <a:gd name="T26" fmla="*/ 1073 w 1456"/>
                  <a:gd name="T27" fmla="*/ 696 h 750"/>
                  <a:gd name="T28" fmla="*/ 1038 w 1456"/>
                  <a:gd name="T29" fmla="*/ 700 h 750"/>
                  <a:gd name="T30" fmla="*/ 1014 w 1456"/>
                  <a:gd name="T31" fmla="*/ 688 h 750"/>
                  <a:gd name="T32" fmla="*/ 1000 w 1456"/>
                  <a:gd name="T33" fmla="*/ 712 h 750"/>
                  <a:gd name="T34" fmla="*/ 979 w 1456"/>
                  <a:gd name="T35" fmla="*/ 726 h 750"/>
                  <a:gd name="T36" fmla="*/ 976 w 1456"/>
                  <a:gd name="T37" fmla="*/ 698 h 750"/>
                  <a:gd name="T38" fmla="*/ 946 w 1456"/>
                  <a:gd name="T39" fmla="*/ 710 h 750"/>
                  <a:gd name="T40" fmla="*/ 910 w 1456"/>
                  <a:gd name="T41" fmla="*/ 693 h 750"/>
                  <a:gd name="T42" fmla="*/ 896 w 1456"/>
                  <a:gd name="T43" fmla="*/ 677 h 750"/>
                  <a:gd name="T44" fmla="*/ 856 w 1456"/>
                  <a:gd name="T45" fmla="*/ 700 h 750"/>
                  <a:gd name="T46" fmla="*/ 839 w 1456"/>
                  <a:gd name="T47" fmla="*/ 674 h 750"/>
                  <a:gd name="T48" fmla="*/ 799 w 1456"/>
                  <a:gd name="T49" fmla="*/ 643 h 750"/>
                  <a:gd name="T50" fmla="*/ 749 w 1456"/>
                  <a:gd name="T51" fmla="*/ 653 h 750"/>
                  <a:gd name="T52" fmla="*/ 667 w 1456"/>
                  <a:gd name="T53" fmla="*/ 625 h 750"/>
                  <a:gd name="T54" fmla="*/ 626 w 1456"/>
                  <a:gd name="T55" fmla="*/ 601 h 750"/>
                  <a:gd name="T56" fmla="*/ 598 w 1456"/>
                  <a:gd name="T57" fmla="*/ 570 h 750"/>
                  <a:gd name="T58" fmla="*/ 570 w 1456"/>
                  <a:gd name="T59" fmla="*/ 580 h 750"/>
                  <a:gd name="T60" fmla="*/ 501 w 1456"/>
                  <a:gd name="T61" fmla="*/ 542 h 750"/>
                  <a:gd name="T62" fmla="*/ 494 w 1456"/>
                  <a:gd name="T63" fmla="*/ 461 h 750"/>
                  <a:gd name="T64" fmla="*/ 496 w 1456"/>
                  <a:gd name="T65" fmla="*/ 362 h 750"/>
                  <a:gd name="T66" fmla="*/ 501 w 1456"/>
                  <a:gd name="T67" fmla="*/ 260 h 750"/>
                  <a:gd name="T68" fmla="*/ 506 w 1456"/>
                  <a:gd name="T69" fmla="*/ 161 h 750"/>
                  <a:gd name="T70" fmla="*/ 411 w 1456"/>
                  <a:gd name="T71" fmla="*/ 130 h 750"/>
                  <a:gd name="T72" fmla="*/ 284 w 1456"/>
                  <a:gd name="T73" fmla="*/ 123 h 750"/>
                  <a:gd name="T74" fmla="*/ 158 w 1456"/>
                  <a:gd name="T75" fmla="*/ 116 h 750"/>
                  <a:gd name="T76" fmla="*/ 31 w 1456"/>
                  <a:gd name="T77" fmla="*/ 107 h 750"/>
                  <a:gd name="T78" fmla="*/ 5 w 1456"/>
                  <a:gd name="T79" fmla="*/ 26 h 750"/>
                  <a:gd name="T80" fmla="*/ 132 w 1456"/>
                  <a:gd name="T81" fmla="*/ 10 h 750"/>
                  <a:gd name="T82" fmla="*/ 291 w 1456"/>
                  <a:gd name="T83" fmla="*/ 19 h 750"/>
                  <a:gd name="T84" fmla="*/ 444 w 1456"/>
                  <a:gd name="T85" fmla="*/ 26 h 750"/>
                  <a:gd name="T86" fmla="*/ 600 w 1456"/>
                  <a:gd name="T87" fmla="*/ 33 h 750"/>
                  <a:gd name="T88" fmla="*/ 756 w 1456"/>
                  <a:gd name="T89" fmla="*/ 41 h 750"/>
                  <a:gd name="T90" fmla="*/ 912 w 1456"/>
                  <a:gd name="T91" fmla="*/ 43 h 750"/>
                  <a:gd name="T92" fmla="*/ 1068 w 1456"/>
                  <a:gd name="T93" fmla="*/ 45 h 750"/>
                  <a:gd name="T94" fmla="*/ 1224 w 1456"/>
                  <a:gd name="T95" fmla="*/ 45 h 750"/>
                  <a:gd name="T96" fmla="*/ 1380 w 1456"/>
                  <a:gd name="T97" fmla="*/ 45 h 750"/>
                  <a:gd name="T98" fmla="*/ 1421 w 1456"/>
                  <a:gd name="T99" fmla="*/ 123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456" h="750">
                    <a:moveTo>
                      <a:pt x="1421" y="149"/>
                    </a:moveTo>
                    <a:lnTo>
                      <a:pt x="1425" y="178"/>
                    </a:lnTo>
                    <a:lnTo>
                      <a:pt x="1430" y="206"/>
                    </a:lnTo>
                    <a:lnTo>
                      <a:pt x="1432" y="237"/>
                    </a:lnTo>
                    <a:lnTo>
                      <a:pt x="1437" y="265"/>
                    </a:lnTo>
                    <a:lnTo>
                      <a:pt x="1442" y="296"/>
                    </a:lnTo>
                    <a:lnTo>
                      <a:pt x="1447" y="324"/>
                    </a:lnTo>
                    <a:lnTo>
                      <a:pt x="1451" y="353"/>
                    </a:lnTo>
                    <a:lnTo>
                      <a:pt x="1456" y="383"/>
                    </a:lnTo>
                    <a:lnTo>
                      <a:pt x="1456" y="405"/>
                    </a:lnTo>
                    <a:lnTo>
                      <a:pt x="1456" y="428"/>
                    </a:lnTo>
                    <a:lnTo>
                      <a:pt x="1454" y="452"/>
                    </a:lnTo>
                    <a:lnTo>
                      <a:pt x="1454" y="473"/>
                    </a:lnTo>
                    <a:lnTo>
                      <a:pt x="1454" y="497"/>
                    </a:lnTo>
                    <a:lnTo>
                      <a:pt x="1454" y="521"/>
                    </a:lnTo>
                    <a:lnTo>
                      <a:pt x="1454" y="542"/>
                    </a:lnTo>
                    <a:lnTo>
                      <a:pt x="1454" y="565"/>
                    </a:lnTo>
                    <a:lnTo>
                      <a:pt x="1454" y="589"/>
                    </a:lnTo>
                    <a:lnTo>
                      <a:pt x="1454" y="610"/>
                    </a:lnTo>
                    <a:lnTo>
                      <a:pt x="1454" y="634"/>
                    </a:lnTo>
                    <a:lnTo>
                      <a:pt x="1454" y="658"/>
                    </a:lnTo>
                    <a:lnTo>
                      <a:pt x="1454" y="681"/>
                    </a:lnTo>
                    <a:lnTo>
                      <a:pt x="1454" y="703"/>
                    </a:lnTo>
                    <a:lnTo>
                      <a:pt x="1454" y="726"/>
                    </a:lnTo>
                    <a:lnTo>
                      <a:pt x="1454" y="750"/>
                    </a:lnTo>
                    <a:lnTo>
                      <a:pt x="1414" y="738"/>
                    </a:lnTo>
                    <a:lnTo>
                      <a:pt x="1404" y="733"/>
                    </a:lnTo>
                    <a:lnTo>
                      <a:pt x="1385" y="724"/>
                    </a:lnTo>
                    <a:lnTo>
                      <a:pt x="1369" y="710"/>
                    </a:lnTo>
                    <a:lnTo>
                      <a:pt x="1336" y="691"/>
                    </a:lnTo>
                    <a:lnTo>
                      <a:pt x="1324" y="686"/>
                    </a:lnTo>
                    <a:lnTo>
                      <a:pt x="1319" y="686"/>
                    </a:lnTo>
                    <a:lnTo>
                      <a:pt x="1314" y="696"/>
                    </a:lnTo>
                    <a:lnTo>
                      <a:pt x="1295" y="703"/>
                    </a:lnTo>
                    <a:lnTo>
                      <a:pt x="1286" y="703"/>
                    </a:lnTo>
                    <a:lnTo>
                      <a:pt x="1269" y="700"/>
                    </a:lnTo>
                    <a:lnTo>
                      <a:pt x="1267" y="698"/>
                    </a:lnTo>
                    <a:lnTo>
                      <a:pt x="1265" y="693"/>
                    </a:lnTo>
                    <a:lnTo>
                      <a:pt x="1258" y="688"/>
                    </a:lnTo>
                    <a:lnTo>
                      <a:pt x="1253" y="691"/>
                    </a:lnTo>
                    <a:lnTo>
                      <a:pt x="1227" y="700"/>
                    </a:lnTo>
                    <a:lnTo>
                      <a:pt x="1224" y="705"/>
                    </a:lnTo>
                    <a:lnTo>
                      <a:pt x="1210" y="705"/>
                    </a:lnTo>
                    <a:lnTo>
                      <a:pt x="1196" y="703"/>
                    </a:lnTo>
                    <a:lnTo>
                      <a:pt x="1161" y="714"/>
                    </a:lnTo>
                    <a:lnTo>
                      <a:pt x="1149" y="724"/>
                    </a:lnTo>
                    <a:lnTo>
                      <a:pt x="1137" y="729"/>
                    </a:lnTo>
                    <a:lnTo>
                      <a:pt x="1130" y="738"/>
                    </a:lnTo>
                    <a:lnTo>
                      <a:pt x="1128" y="736"/>
                    </a:lnTo>
                    <a:lnTo>
                      <a:pt x="1113" y="724"/>
                    </a:lnTo>
                    <a:lnTo>
                      <a:pt x="1102" y="722"/>
                    </a:lnTo>
                    <a:lnTo>
                      <a:pt x="1083" y="710"/>
                    </a:lnTo>
                    <a:lnTo>
                      <a:pt x="1083" y="698"/>
                    </a:lnTo>
                    <a:lnTo>
                      <a:pt x="1080" y="696"/>
                    </a:lnTo>
                    <a:lnTo>
                      <a:pt x="1076" y="696"/>
                    </a:lnTo>
                    <a:lnTo>
                      <a:pt x="1073" y="696"/>
                    </a:lnTo>
                    <a:lnTo>
                      <a:pt x="1064" y="705"/>
                    </a:lnTo>
                    <a:lnTo>
                      <a:pt x="1059" y="707"/>
                    </a:lnTo>
                    <a:lnTo>
                      <a:pt x="1054" y="707"/>
                    </a:lnTo>
                    <a:lnTo>
                      <a:pt x="1038" y="700"/>
                    </a:lnTo>
                    <a:lnTo>
                      <a:pt x="1031" y="691"/>
                    </a:lnTo>
                    <a:lnTo>
                      <a:pt x="1026" y="686"/>
                    </a:lnTo>
                    <a:lnTo>
                      <a:pt x="1021" y="686"/>
                    </a:lnTo>
                    <a:lnTo>
                      <a:pt x="1014" y="688"/>
                    </a:lnTo>
                    <a:lnTo>
                      <a:pt x="1009" y="700"/>
                    </a:lnTo>
                    <a:lnTo>
                      <a:pt x="1007" y="705"/>
                    </a:lnTo>
                    <a:lnTo>
                      <a:pt x="1000" y="707"/>
                    </a:lnTo>
                    <a:lnTo>
                      <a:pt x="1000" y="712"/>
                    </a:lnTo>
                    <a:lnTo>
                      <a:pt x="993" y="729"/>
                    </a:lnTo>
                    <a:lnTo>
                      <a:pt x="988" y="731"/>
                    </a:lnTo>
                    <a:lnTo>
                      <a:pt x="983" y="731"/>
                    </a:lnTo>
                    <a:lnTo>
                      <a:pt x="979" y="726"/>
                    </a:lnTo>
                    <a:lnTo>
                      <a:pt x="976" y="722"/>
                    </a:lnTo>
                    <a:lnTo>
                      <a:pt x="974" y="717"/>
                    </a:lnTo>
                    <a:lnTo>
                      <a:pt x="979" y="703"/>
                    </a:lnTo>
                    <a:lnTo>
                      <a:pt x="976" y="698"/>
                    </a:lnTo>
                    <a:lnTo>
                      <a:pt x="972" y="698"/>
                    </a:lnTo>
                    <a:lnTo>
                      <a:pt x="964" y="703"/>
                    </a:lnTo>
                    <a:lnTo>
                      <a:pt x="957" y="703"/>
                    </a:lnTo>
                    <a:lnTo>
                      <a:pt x="946" y="710"/>
                    </a:lnTo>
                    <a:lnTo>
                      <a:pt x="941" y="710"/>
                    </a:lnTo>
                    <a:lnTo>
                      <a:pt x="934" y="710"/>
                    </a:lnTo>
                    <a:lnTo>
                      <a:pt x="927" y="698"/>
                    </a:lnTo>
                    <a:lnTo>
                      <a:pt x="910" y="693"/>
                    </a:lnTo>
                    <a:lnTo>
                      <a:pt x="905" y="681"/>
                    </a:lnTo>
                    <a:lnTo>
                      <a:pt x="901" y="677"/>
                    </a:lnTo>
                    <a:lnTo>
                      <a:pt x="898" y="677"/>
                    </a:lnTo>
                    <a:lnTo>
                      <a:pt x="896" y="677"/>
                    </a:lnTo>
                    <a:lnTo>
                      <a:pt x="889" y="681"/>
                    </a:lnTo>
                    <a:lnTo>
                      <a:pt x="870" y="696"/>
                    </a:lnTo>
                    <a:lnTo>
                      <a:pt x="863" y="700"/>
                    </a:lnTo>
                    <a:lnTo>
                      <a:pt x="856" y="700"/>
                    </a:lnTo>
                    <a:lnTo>
                      <a:pt x="849" y="700"/>
                    </a:lnTo>
                    <a:lnTo>
                      <a:pt x="844" y="696"/>
                    </a:lnTo>
                    <a:lnTo>
                      <a:pt x="844" y="679"/>
                    </a:lnTo>
                    <a:lnTo>
                      <a:pt x="839" y="674"/>
                    </a:lnTo>
                    <a:lnTo>
                      <a:pt x="823" y="665"/>
                    </a:lnTo>
                    <a:lnTo>
                      <a:pt x="820" y="655"/>
                    </a:lnTo>
                    <a:lnTo>
                      <a:pt x="818" y="641"/>
                    </a:lnTo>
                    <a:lnTo>
                      <a:pt x="799" y="643"/>
                    </a:lnTo>
                    <a:lnTo>
                      <a:pt x="773" y="641"/>
                    </a:lnTo>
                    <a:lnTo>
                      <a:pt x="761" y="653"/>
                    </a:lnTo>
                    <a:lnTo>
                      <a:pt x="756" y="655"/>
                    </a:lnTo>
                    <a:lnTo>
                      <a:pt x="749" y="653"/>
                    </a:lnTo>
                    <a:lnTo>
                      <a:pt x="730" y="636"/>
                    </a:lnTo>
                    <a:lnTo>
                      <a:pt x="709" y="639"/>
                    </a:lnTo>
                    <a:lnTo>
                      <a:pt x="695" y="636"/>
                    </a:lnTo>
                    <a:lnTo>
                      <a:pt x="667" y="625"/>
                    </a:lnTo>
                    <a:lnTo>
                      <a:pt x="643" y="622"/>
                    </a:lnTo>
                    <a:lnTo>
                      <a:pt x="634" y="620"/>
                    </a:lnTo>
                    <a:lnTo>
                      <a:pt x="629" y="617"/>
                    </a:lnTo>
                    <a:lnTo>
                      <a:pt x="626" y="601"/>
                    </a:lnTo>
                    <a:lnTo>
                      <a:pt x="619" y="584"/>
                    </a:lnTo>
                    <a:lnTo>
                      <a:pt x="615" y="582"/>
                    </a:lnTo>
                    <a:lnTo>
                      <a:pt x="600" y="570"/>
                    </a:lnTo>
                    <a:lnTo>
                      <a:pt x="598" y="570"/>
                    </a:lnTo>
                    <a:lnTo>
                      <a:pt x="596" y="573"/>
                    </a:lnTo>
                    <a:lnTo>
                      <a:pt x="591" y="584"/>
                    </a:lnTo>
                    <a:lnTo>
                      <a:pt x="586" y="584"/>
                    </a:lnTo>
                    <a:lnTo>
                      <a:pt x="570" y="580"/>
                    </a:lnTo>
                    <a:lnTo>
                      <a:pt x="553" y="582"/>
                    </a:lnTo>
                    <a:lnTo>
                      <a:pt x="544" y="577"/>
                    </a:lnTo>
                    <a:lnTo>
                      <a:pt x="513" y="549"/>
                    </a:lnTo>
                    <a:lnTo>
                      <a:pt x="501" y="542"/>
                    </a:lnTo>
                    <a:lnTo>
                      <a:pt x="489" y="537"/>
                    </a:lnTo>
                    <a:lnTo>
                      <a:pt x="492" y="513"/>
                    </a:lnTo>
                    <a:lnTo>
                      <a:pt x="492" y="487"/>
                    </a:lnTo>
                    <a:lnTo>
                      <a:pt x="494" y="461"/>
                    </a:lnTo>
                    <a:lnTo>
                      <a:pt x="494" y="438"/>
                    </a:lnTo>
                    <a:lnTo>
                      <a:pt x="496" y="412"/>
                    </a:lnTo>
                    <a:lnTo>
                      <a:pt x="496" y="388"/>
                    </a:lnTo>
                    <a:lnTo>
                      <a:pt x="496" y="362"/>
                    </a:lnTo>
                    <a:lnTo>
                      <a:pt x="499" y="336"/>
                    </a:lnTo>
                    <a:lnTo>
                      <a:pt x="499" y="312"/>
                    </a:lnTo>
                    <a:lnTo>
                      <a:pt x="501" y="286"/>
                    </a:lnTo>
                    <a:lnTo>
                      <a:pt x="501" y="260"/>
                    </a:lnTo>
                    <a:lnTo>
                      <a:pt x="503" y="237"/>
                    </a:lnTo>
                    <a:lnTo>
                      <a:pt x="503" y="211"/>
                    </a:lnTo>
                    <a:lnTo>
                      <a:pt x="506" y="185"/>
                    </a:lnTo>
                    <a:lnTo>
                      <a:pt x="506" y="161"/>
                    </a:lnTo>
                    <a:lnTo>
                      <a:pt x="508" y="135"/>
                    </a:lnTo>
                    <a:lnTo>
                      <a:pt x="475" y="135"/>
                    </a:lnTo>
                    <a:lnTo>
                      <a:pt x="444" y="133"/>
                    </a:lnTo>
                    <a:lnTo>
                      <a:pt x="411" y="130"/>
                    </a:lnTo>
                    <a:lnTo>
                      <a:pt x="381" y="130"/>
                    </a:lnTo>
                    <a:lnTo>
                      <a:pt x="347" y="128"/>
                    </a:lnTo>
                    <a:lnTo>
                      <a:pt x="317" y="126"/>
                    </a:lnTo>
                    <a:lnTo>
                      <a:pt x="284" y="123"/>
                    </a:lnTo>
                    <a:lnTo>
                      <a:pt x="253" y="123"/>
                    </a:lnTo>
                    <a:lnTo>
                      <a:pt x="222" y="121"/>
                    </a:lnTo>
                    <a:lnTo>
                      <a:pt x="189" y="119"/>
                    </a:lnTo>
                    <a:lnTo>
                      <a:pt x="158" y="116"/>
                    </a:lnTo>
                    <a:lnTo>
                      <a:pt x="125" y="114"/>
                    </a:lnTo>
                    <a:lnTo>
                      <a:pt x="95" y="111"/>
                    </a:lnTo>
                    <a:lnTo>
                      <a:pt x="61" y="109"/>
                    </a:lnTo>
                    <a:lnTo>
                      <a:pt x="31" y="107"/>
                    </a:lnTo>
                    <a:lnTo>
                      <a:pt x="0" y="104"/>
                    </a:lnTo>
                    <a:lnTo>
                      <a:pt x="0" y="78"/>
                    </a:lnTo>
                    <a:lnTo>
                      <a:pt x="2" y="52"/>
                    </a:lnTo>
                    <a:lnTo>
                      <a:pt x="5" y="26"/>
                    </a:lnTo>
                    <a:lnTo>
                      <a:pt x="7" y="0"/>
                    </a:lnTo>
                    <a:lnTo>
                      <a:pt x="50" y="3"/>
                    </a:lnTo>
                    <a:lnTo>
                      <a:pt x="90" y="5"/>
                    </a:lnTo>
                    <a:lnTo>
                      <a:pt x="132" y="10"/>
                    </a:lnTo>
                    <a:lnTo>
                      <a:pt x="173" y="12"/>
                    </a:lnTo>
                    <a:lnTo>
                      <a:pt x="213" y="15"/>
                    </a:lnTo>
                    <a:lnTo>
                      <a:pt x="251" y="17"/>
                    </a:lnTo>
                    <a:lnTo>
                      <a:pt x="291" y="19"/>
                    </a:lnTo>
                    <a:lnTo>
                      <a:pt x="329" y="22"/>
                    </a:lnTo>
                    <a:lnTo>
                      <a:pt x="369" y="24"/>
                    </a:lnTo>
                    <a:lnTo>
                      <a:pt x="407" y="26"/>
                    </a:lnTo>
                    <a:lnTo>
                      <a:pt x="444" y="26"/>
                    </a:lnTo>
                    <a:lnTo>
                      <a:pt x="485" y="29"/>
                    </a:lnTo>
                    <a:lnTo>
                      <a:pt x="522" y="31"/>
                    </a:lnTo>
                    <a:lnTo>
                      <a:pt x="563" y="33"/>
                    </a:lnTo>
                    <a:lnTo>
                      <a:pt x="600" y="33"/>
                    </a:lnTo>
                    <a:lnTo>
                      <a:pt x="641" y="36"/>
                    </a:lnTo>
                    <a:lnTo>
                      <a:pt x="678" y="38"/>
                    </a:lnTo>
                    <a:lnTo>
                      <a:pt x="719" y="38"/>
                    </a:lnTo>
                    <a:lnTo>
                      <a:pt x="756" y="41"/>
                    </a:lnTo>
                    <a:lnTo>
                      <a:pt x="797" y="41"/>
                    </a:lnTo>
                    <a:lnTo>
                      <a:pt x="834" y="41"/>
                    </a:lnTo>
                    <a:lnTo>
                      <a:pt x="875" y="43"/>
                    </a:lnTo>
                    <a:lnTo>
                      <a:pt x="912" y="43"/>
                    </a:lnTo>
                    <a:lnTo>
                      <a:pt x="953" y="43"/>
                    </a:lnTo>
                    <a:lnTo>
                      <a:pt x="990" y="45"/>
                    </a:lnTo>
                    <a:lnTo>
                      <a:pt x="1031" y="45"/>
                    </a:lnTo>
                    <a:lnTo>
                      <a:pt x="1068" y="45"/>
                    </a:lnTo>
                    <a:lnTo>
                      <a:pt x="1109" y="45"/>
                    </a:lnTo>
                    <a:lnTo>
                      <a:pt x="1146" y="45"/>
                    </a:lnTo>
                    <a:lnTo>
                      <a:pt x="1184" y="45"/>
                    </a:lnTo>
                    <a:lnTo>
                      <a:pt x="1224" y="45"/>
                    </a:lnTo>
                    <a:lnTo>
                      <a:pt x="1262" y="45"/>
                    </a:lnTo>
                    <a:lnTo>
                      <a:pt x="1302" y="45"/>
                    </a:lnTo>
                    <a:lnTo>
                      <a:pt x="1340" y="45"/>
                    </a:lnTo>
                    <a:lnTo>
                      <a:pt x="1380" y="45"/>
                    </a:lnTo>
                    <a:lnTo>
                      <a:pt x="1418" y="43"/>
                    </a:lnTo>
                    <a:lnTo>
                      <a:pt x="1421" y="69"/>
                    </a:lnTo>
                    <a:lnTo>
                      <a:pt x="1421" y="97"/>
                    </a:lnTo>
                    <a:lnTo>
                      <a:pt x="1421" y="123"/>
                    </a:lnTo>
                    <a:lnTo>
                      <a:pt x="1421" y="14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22" name="Freeform 79">
                <a:extLst>
                  <a:ext uri="{FF2B5EF4-FFF2-40B4-BE49-F238E27FC236}">
                    <a16:creationId xmlns:a16="http://schemas.microsoft.com/office/drawing/2014/main" id="{6DCF1D5F-8E77-B5CD-641D-EB76859CB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" y="-832"/>
                <a:ext cx="1356" cy="1142"/>
              </a:xfrm>
              <a:custGeom>
                <a:avLst/>
                <a:gdLst>
                  <a:gd name="T0" fmla="*/ 446 w 1356"/>
                  <a:gd name="T1" fmla="*/ 54 h 1142"/>
                  <a:gd name="T2" fmla="*/ 463 w 1356"/>
                  <a:gd name="T3" fmla="*/ 149 h 1142"/>
                  <a:gd name="T4" fmla="*/ 482 w 1356"/>
                  <a:gd name="T5" fmla="*/ 184 h 1142"/>
                  <a:gd name="T6" fmla="*/ 539 w 1356"/>
                  <a:gd name="T7" fmla="*/ 208 h 1142"/>
                  <a:gd name="T8" fmla="*/ 614 w 1356"/>
                  <a:gd name="T9" fmla="*/ 203 h 1142"/>
                  <a:gd name="T10" fmla="*/ 678 w 1356"/>
                  <a:gd name="T11" fmla="*/ 236 h 1142"/>
                  <a:gd name="T12" fmla="*/ 803 w 1356"/>
                  <a:gd name="T13" fmla="*/ 253 h 1142"/>
                  <a:gd name="T14" fmla="*/ 945 w 1356"/>
                  <a:gd name="T15" fmla="*/ 246 h 1142"/>
                  <a:gd name="T16" fmla="*/ 1009 w 1356"/>
                  <a:gd name="T17" fmla="*/ 248 h 1142"/>
                  <a:gd name="T18" fmla="*/ 1087 w 1356"/>
                  <a:gd name="T19" fmla="*/ 267 h 1142"/>
                  <a:gd name="T20" fmla="*/ 1200 w 1356"/>
                  <a:gd name="T21" fmla="*/ 295 h 1142"/>
                  <a:gd name="T22" fmla="*/ 1312 w 1356"/>
                  <a:gd name="T23" fmla="*/ 324 h 1142"/>
                  <a:gd name="T24" fmla="*/ 1342 w 1356"/>
                  <a:gd name="T25" fmla="*/ 373 h 1142"/>
                  <a:gd name="T26" fmla="*/ 1338 w 1356"/>
                  <a:gd name="T27" fmla="*/ 447 h 1142"/>
                  <a:gd name="T28" fmla="*/ 1267 w 1356"/>
                  <a:gd name="T29" fmla="*/ 551 h 1142"/>
                  <a:gd name="T30" fmla="*/ 1191 w 1356"/>
                  <a:gd name="T31" fmla="*/ 636 h 1142"/>
                  <a:gd name="T32" fmla="*/ 1210 w 1356"/>
                  <a:gd name="T33" fmla="*/ 674 h 1142"/>
                  <a:gd name="T34" fmla="*/ 1222 w 1356"/>
                  <a:gd name="T35" fmla="*/ 702 h 1142"/>
                  <a:gd name="T36" fmla="*/ 1210 w 1356"/>
                  <a:gd name="T37" fmla="*/ 726 h 1142"/>
                  <a:gd name="T38" fmla="*/ 1189 w 1356"/>
                  <a:gd name="T39" fmla="*/ 771 h 1142"/>
                  <a:gd name="T40" fmla="*/ 1156 w 1356"/>
                  <a:gd name="T41" fmla="*/ 912 h 1142"/>
                  <a:gd name="T42" fmla="*/ 1122 w 1356"/>
                  <a:gd name="T43" fmla="*/ 1050 h 1142"/>
                  <a:gd name="T44" fmla="*/ 1044 w 1356"/>
                  <a:gd name="T45" fmla="*/ 1128 h 1142"/>
                  <a:gd name="T46" fmla="*/ 874 w 1356"/>
                  <a:gd name="T47" fmla="*/ 1085 h 1142"/>
                  <a:gd name="T48" fmla="*/ 704 w 1356"/>
                  <a:gd name="T49" fmla="*/ 1042 h 1142"/>
                  <a:gd name="T50" fmla="*/ 567 w 1356"/>
                  <a:gd name="T51" fmla="*/ 1005 h 1142"/>
                  <a:gd name="T52" fmla="*/ 449 w 1356"/>
                  <a:gd name="T53" fmla="*/ 972 h 1142"/>
                  <a:gd name="T54" fmla="*/ 328 w 1356"/>
                  <a:gd name="T55" fmla="*/ 936 h 1142"/>
                  <a:gd name="T56" fmla="*/ 210 w 1356"/>
                  <a:gd name="T57" fmla="*/ 901 h 1142"/>
                  <a:gd name="T58" fmla="*/ 92 w 1356"/>
                  <a:gd name="T59" fmla="*/ 863 h 1142"/>
                  <a:gd name="T60" fmla="*/ 0 w 1356"/>
                  <a:gd name="T61" fmla="*/ 808 h 1142"/>
                  <a:gd name="T62" fmla="*/ 21 w 1356"/>
                  <a:gd name="T63" fmla="*/ 711 h 1142"/>
                  <a:gd name="T64" fmla="*/ 30 w 1356"/>
                  <a:gd name="T65" fmla="*/ 638 h 1142"/>
                  <a:gd name="T66" fmla="*/ 85 w 1356"/>
                  <a:gd name="T67" fmla="*/ 560 h 1142"/>
                  <a:gd name="T68" fmla="*/ 104 w 1356"/>
                  <a:gd name="T69" fmla="*/ 551 h 1142"/>
                  <a:gd name="T70" fmla="*/ 123 w 1356"/>
                  <a:gd name="T71" fmla="*/ 508 h 1142"/>
                  <a:gd name="T72" fmla="*/ 179 w 1356"/>
                  <a:gd name="T73" fmla="*/ 376 h 1142"/>
                  <a:gd name="T74" fmla="*/ 208 w 1356"/>
                  <a:gd name="T75" fmla="*/ 314 h 1142"/>
                  <a:gd name="T76" fmla="*/ 271 w 1356"/>
                  <a:gd name="T77" fmla="*/ 151 h 1142"/>
                  <a:gd name="T78" fmla="*/ 316 w 1356"/>
                  <a:gd name="T79" fmla="*/ 19 h 1142"/>
                  <a:gd name="T80" fmla="*/ 321 w 1356"/>
                  <a:gd name="T81" fmla="*/ 0 h 1142"/>
                  <a:gd name="T82" fmla="*/ 383 w 1356"/>
                  <a:gd name="T83" fmla="*/ 21 h 1142"/>
                  <a:gd name="T84" fmla="*/ 406 w 1356"/>
                  <a:gd name="T85" fmla="*/ 45 h 1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56" h="1142">
                    <a:moveTo>
                      <a:pt x="420" y="47"/>
                    </a:moveTo>
                    <a:lnTo>
                      <a:pt x="437" y="47"/>
                    </a:lnTo>
                    <a:lnTo>
                      <a:pt x="446" y="54"/>
                    </a:lnTo>
                    <a:lnTo>
                      <a:pt x="458" y="68"/>
                    </a:lnTo>
                    <a:lnTo>
                      <a:pt x="463" y="99"/>
                    </a:lnTo>
                    <a:lnTo>
                      <a:pt x="463" y="149"/>
                    </a:lnTo>
                    <a:lnTo>
                      <a:pt x="461" y="165"/>
                    </a:lnTo>
                    <a:lnTo>
                      <a:pt x="468" y="179"/>
                    </a:lnTo>
                    <a:lnTo>
                      <a:pt x="482" y="184"/>
                    </a:lnTo>
                    <a:lnTo>
                      <a:pt x="529" y="205"/>
                    </a:lnTo>
                    <a:lnTo>
                      <a:pt x="539" y="208"/>
                    </a:lnTo>
                    <a:lnTo>
                      <a:pt x="539" y="208"/>
                    </a:lnTo>
                    <a:lnTo>
                      <a:pt x="548" y="208"/>
                    </a:lnTo>
                    <a:lnTo>
                      <a:pt x="581" y="198"/>
                    </a:lnTo>
                    <a:lnTo>
                      <a:pt x="614" y="203"/>
                    </a:lnTo>
                    <a:lnTo>
                      <a:pt x="652" y="215"/>
                    </a:lnTo>
                    <a:lnTo>
                      <a:pt x="673" y="224"/>
                    </a:lnTo>
                    <a:lnTo>
                      <a:pt x="678" y="236"/>
                    </a:lnTo>
                    <a:lnTo>
                      <a:pt x="699" y="243"/>
                    </a:lnTo>
                    <a:lnTo>
                      <a:pt x="749" y="246"/>
                    </a:lnTo>
                    <a:lnTo>
                      <a:pt x="803" y="253"/>
                    </a:lnTo>
                    <a:lnTo>
                      <a:pt x="832" y="253"/>
                    </a:lnTo>
                    <a:lnTo>
                      <a:pt x="869" y="246"/>
                    </a:lnTo>
                    <a:lnTo>
                      <a:pt x="945" y="246"/>
                    </a:lnTo>
                    <a:lnTo>
                      <a:pt x="983" y="253"/>
                    </a:lnTo>
                    <a:lnTo>
                      <a:pt x="1002" y="250"/>
                    </a:lnTo>
                    <a:lnTo>
                      <a:pt x="1009" y="248"/>
                    </a:lnTo>
                    <a:lnTo>
                      <a:pt x="1011" y="248"/>
                    </a:lnTo>
                    <a:lnTo>
                      <a:pt x="1049" y="257"/>
                    </a:lnTo>
                    <a:lnTo>
                      <a:pt x="1087" y="267"/>
                    </a:lnTo>
                    <a:lnTo>
                      <a:pt x="1125" y="276"/>
                    </a:lnTo>
                    <a:lnTo>
                      <a:pt x="1163" y="286"/>
                    </a:lnTo>
                    <a:lnTo>
                      <a:pt x="1200" y="295"/>
                    </a:lnTo>
                    <a:lnTo>
                      <a:pt x="1238" y="305"/>
                    </a:lnTo>
                    <a:lnTo>
                      <a:pt x="1276" y="314"/>
                    </a:lnTo>
                    <a:lnTo>
                      <a:pt x="1312" y="324"/>
                    </a:lnTo>
                    <a:lnTo>
                      <a:pt x="1314" y="333"/>
                    </a:lnTo>
                    <a:lnTo>
                      <a:pt x="1326" y="354"/>
                    </a:lnTo>
                    <a:lnTo>
                      <a:pt x="1342" y="373"/>
                    </a:lnTo>
                    <a:lnTo>
                      <a:pt x="1354" y="392"/>
                    </a:lnTo>
                    <a:lnTo>
                      <a:pt x="1356" y="411"/>
                    </a:lnTo>
                    <a:lnTo>
                      <a:pt x="1338" y="447"/>
                    </a:lnTo>
                    <a:lnTo>
                      <a:pt x="1295" y="499"/>
                    </a:lnTo>
                    <a:lnTo>
                      <a:pt x="1271" y="534"/>
                    </a:lnTo>
                    <a:lnTo>
                      <a:pt x="1267" y="551"/>
                    </a:lnTo>
                    <a:lnTo>
                      <a:pt x="1245" y="574"/>
                    </a:lnTo>
                    <a:lnTo>
                      <a:pt x="1212" y="607"/>
                    </a:lnTo>
                    <a:lnTo>
                      <a:pt x="1191" y="636"/>
                    </a:lnTo>
                    <a:lnTo>
                      <a:pt x="1189" y="655"/>
                    </a:lnTo>
                    <a:lnTo>
                      <a:pt x="1193" y="666"/>
                    </a:lnTo>
                    <a:lnTo>
                      <a:pt x="1210" y="674"/>
                    </a:lnTo>
                    <a:lnTo>
                      <a:pt x="1219" y="683"/>
                    </a:lnTo>
                    <a:lnTo>
                      <a:pt x="1224" y="693"/>
                    </a:lnTo>
                    <a:lnTo>
                      <a:pt x="1222" y="702"/>
                    </a:lnTo>
                    <a:lnTo>
                      <a:pt x="1215" y="709"/>
                    </a:lnTo>
                    <a:lnTo>
                      <a:pt x="1210" y="716"/>
                    </a:lnTo>
                    <a:lnTo>
                      <a:pt x="1210" y="726"/>
                    </a:lnTo>
                    <a:lnTo>
                      <a:pt x="1205" y="740"/>
                    </a:lnTo>
                    <a:lnTo>
                      <a:pt x="1189" y="768"/>
                    </a:lnTo>
                    <a:lnTo>
                      <a:pt x="1189" y="771"/>
                    </a:lnTo>
                    <a:lnTo>
                      <a:pt x="1177" y="820"/>
                    </a:lnTo>
                    <a:lnTo>
                      <a:pt x="1165" y="867"/>
                    </a:lnTo>
                    <a:lnTo>
                      <a:pt x="1156" y="912"/>
                    </a:lnTo>
                    <a:lnTo>
                      <a:pt x="1144" y="957"/>
                    </a:lnTo>
                    <a:lnTo>
                      <a:pt x="1134" y="1005"/>
                    </a:lnTo>
                    <a:lnTo>
                      <a:pt x="1122" y="1050"/>
                    </a:lnTo>
                    <a:lnTo>
                      <a:pt x="1113" y="1094"/>
                    </a:lnTo>
                    <a:lnTo>
                      <a:pt x="1101" y="1142"/>
                    </a:lnTo>
                    <a:lnTo>
                      <a:pt x="1044" y="1128"/>
                    </a:lnTo>
                    <a:lnTo>
                      <a:pt x="988" y="1113"/>
                    </a:lnTo>
                    <a:lnTo>
                      <a:pt x="931" y="1099"/>
                    </a:lnTo>
                    <a:lnTo>
                      <a:pt x="874" y="1085"/>
                    </a:lnTo>
                    <a:lnTo>
                      <a:pt x="817" y="1071"/>
                    </a:lnTo>
                    <a:lnTo>
                      <a:pt x="761" y="1057"/>
                    </a:lnTo>
                    <a:lnTo>
                      <a:pt x="704" y="1042"/>
                    </a:lnTo>
                    <a:lnTo>
                      <a:pt x="647" y="1026"/>
                    </a:lnTo>
                    <a:lnTo>
                      <a:pt x="607" y="1016"/>
                    </a:lnTo>
                    <a:lnTo>
                      <a:pt x="567" y="1005"/>
                    </a:lnTo>
                    <a:lnTo>
                      <a:pt x="527" y="993"/>
                    </a:lnTo>
                    <a:lnTo>
                      <a:pt x="487" y="981"/>
                    </a:lnTo>
                    <a:lnTo>
                      <a:pt x="449" y="972"/>
                    </a:lnTo>
                    <a:lnTo>
                      <a:pt x="409" y="960"/>
                    </a:lnTo>
                    <a:lnTo>
                      <a:pt x="368" y="948"/>
                    </a:lnTo>
                    <a:lnTo>
                      <a:pt x="328" y="936"/>
                    </a:lnTo>
                    <a:lnTo>
                      <a:pt x="288" y="924"/>
                    </a:lnTo>
                    <a:lnTo>
                      <a:pt x="250" y="912"/>
                    </a:lnTo>
                    <a:lnTo>
                      <a:pt x="210" y="901"/>
                    </a:lnTo>
                    <a:lnTo>
                      <a:pt x="170" y="889"/>
                    </a:lnTo>
                    <a:lnTo>
                      <a:pt x="130" y="877"/>
                    </a:lnTo>
                    <a:lnTo>
                      <a:pt x="92" y="863"/>
                    </a:lnTo>
                    <a:lnTo>
                      <a:pt x="52" y="851"/>
                    </a:lnTo>
                    <a:lnTo>
                      <a:pt x="11" y="839"/>
                    </a:lnTo>
                    <a:lnTo>
                      <a:pt x="0" y="808"/>
                    </a:lnTo>
                    <a:lnTo>
                      <a:pt x="4" y="768"/>
                    </a:lnTo>
                    <a:lnTo>
                      <a:pt x="7" y="752"/>
                    </a:lnTo>
                    <a:lnTo>
                      <a:pt x="21" y="711"/>
                    </a:lnTo>
                    <a:lnTo>
                      <a:pt x="21" y="693"/>
                    </a:lnTo>
                    <a:lnTo>
                      <a:pt x="16" y="659"/>
                    </a:lnTo>
                    <a:lnTo>
                      <a:pt x="30" y="638"/>
                    </a:lnTo>
                    <a:lnTo>
                      <a:pt x="42" y="624"/>
                    </a:lnTo>
                    <a:lnTo>
                      <a:pt x="80" y="562"/>
                    </a:lnTo>
                    <a:lnTo>
                      <a:pt x="85" y="560"/>
                    </a:lnTo>
                    <a:lnTo>
                      <a:pt x="92" y="562"/>
                    </a:lnTo>
                    <a:lnTo>
                      <a:pt x="106" y="553"/>
                    </a:lnTo>
                    <a:lnTo>
                      <a:pt x="104" y="551"/>
                    </a:lnTo>
                    <a:lnTo>
                      <a:pt x="92" y="553"/>
                    </a:lnTo>
                    <a:lnTo>
                      <a:pt x="108" y="529"/>
                    </a:lnTo>
                    <a:lnTo>
                      <a:pt x="123" y="508"/>
                    </a:lnTo>
                    <a:lnTo>
                      <a:pt x="132" y="503"/>
                    </a:lnTo>
                    <a:lnTo>
                      <a:pt x="158" y="430"/>
                    </a:lnTo>
                    <a:lnTo>
                      <a:pt x="179" y="376"/>
                    </a:lnTo>
                    <a:lnTo>
                      <a:pt x="193" y="359"/>
                    </a:lnTo>
                    <a:lnTo>
                      <a:pt x="196" y="340"/>
                    </a:lnTo>
                    <a:lnTo>
                      <a:pt x="208" y="314"/>
                    </a:lnTo>
                    <a:lnTo>
                      <a:pt x="215" y="288"/>
                    </a:lnTo>
                    <a:lnTo>
                      <a:pt x="269" y="168"/>
                    </a:lnTo>
                    <a:lnTo>
                      <a:pt x="271" y="151"/>
                    </a:lnTo>
                    <a:lnTo>
                      <a:pt x="283" y="132"/>
                    </a:lnTo>
                    <a:lnTo>
                      <a:pt x="297" y="78"/>
                    </a:lnTo>
                    <a:lnTo>
                      <a:pt x="316" y="19"/>
                    </a:lnTo>
                    <a:lnTo>
                      <a:pt x="316" y="9"/>
                    </a:lnTo>
                    <a:lnTo>
                      <a:pt x="316" y="0"/>
                    </a:lnTo>
                    <a:lnTo>
                      <a:pt x="321" y="0"/>
                    </a:lnTo>
                    <a:lnTo>
                      <a:pt x="326" y="12"/>
                    </a:lnTo>
                    <a:lnTo>
                      <a:pt x="359" y="21"/>
                    </a:lnTo>
                    <a:lnTo>
                      <a:pt x="383" y="21"/>
                    </a:lnTo>
                    <a:lnTo>
                      <a:pt x="390" y="26"/>
                    </a:lnTo>
                    <a:lnTo>
                      <a:pt x="394" y="40"/>
                    </a:lnTo>
                    <a:lnTo>
                      <a:pt x="406" y="45"/>
                    </a:lnTo>
                    <a:lnTo>
                      <a:pt x="420" y="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23" name="Freeform 80">
                <a:extLst>
                  <a:ext uri="{FF2B5EF4-FFF2-40B4-BE49-F238E27FC236}">
                    <a16:creationId xmlns:a16="http://schemas.microsoft.com/office/drawing/2014/main" id="{73F65348-78B7-F83D-2026-312BF81E3E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7" y="322"/>
                <a:ext cx="981" cy="633"/>
              </a:xfrm>
              <a:custGeom>
                <a:avLst/>
                <a:gdLst>
                  <a:gd name="T0" fmla="*/ 912 w 981"/>
                  <a:gd name="T1" fmla="*/ 125 h 633"/>
                  <a:gd name="T2" fmla="*/ 891 w 981"/>
                  <a:gd name="T3" fmla="*/ 184 h 633"/>
                  <a:gd name="T4" fmla="*/ 891 w 981"/>
                  <a:gd name="T5" fmla="*/ 219 h 633"/>
                  <a:gd name="T6" fmla="*/ 881 w 981"/>
                  <a:gd name="T7" fmla="*/ 245 h 633"/>
                  <a:gd name="T8" fmla="*/ 889 w 981"/>
                  <a:gd name="T9" fmla="*/ 283 h 633"/>
                  <a:gd name="T10" fmla="*/ 919 w 981"/>
                  <a:gd name="T11" fmla="*/ 312 h 633"/>
                  <a:gd name="T12" fmla="*/ 957 w 981"/>
                  <a:gd name="T13" fmla="*/ 378 h 633"/>
                  <a:gd name="T14" fmla="*/ 924 w 981"/>
                  <a:gd name="T15" fmla="*/ 425 h 633"/>
                  <a:gd name="T16" fmla="*/ 889 w 981"/>
                  <a:gd name="T17" fmla="*/ 451 h 633"/>
                  <a:gd name="T18" fmla="*/ 846 w 981"/>
                  <a:gd name="T19" fmla="*/ 458 h 633"/>
                  <a:gd name="T20" fmla="*/ 799 w 981"/>
                  <a:gd name="T21" fmla="*/ 491 h 633"/>
                  <a:gd name="T22" fmla="*/ 688 w 981"/>
                  <a:gd name="T23" fmla="*/ 515 h 633"/>
                  <a:gd name="T24" fmla="*/ 579 w 981"/>
                  <a:gd name="T25" fmla="*/ 539 h 633"/>
                  <a:gd name="T26" fmla="*/ 468 w 981"/>
                  <a:gd name="T27" fmla="*/ 560 h 633"/>
                  <a:gd name="T28" fmla="*/ 359 w 981"/>
                  <a:gd name="T29" fmla="*/ 581 h 633"/>
                  <a:gd name="T30" fmla="*/ 248 w 981"/>
                  <a:gd name="T31" fmla="*/ 603 h 633"/>
                  <a:gd name="T32" fmla="*/ 187 w 981"/>
                  <a:gd name="T33" fmla="*/ 614 h 633"/>
                  <a:gd name="T34" fmla="*/ 123 w 981"/>
                  <a:gd name="T35" fmla="*/ 626 h 633"/>
                  <a:gd name="T36" fmla="*/ 78 w 981"/>
                  <a:gd name="T37" fmla="*/ 610 h 633"/>
                  <a:gd name="T38" fmla="*/ 66 w 981"/>
                  <a:gd name="T39" fmla="*/ 536 h 633"/>
                  <a:gd name="T40" fmla="*/ 52 w 981"/>
                  <a:gd name="T41" fmla="*/ 465 h 633"/>
                  <a:gd name="T42" fmla="*/ 40 w 981"/>
                  <a:gd name="T43" fmla="*/ 397 h 633"/>
                  <a:gd name="T44" fmla="*/ 31 w 981"/>
                  <a:gd name="T45" fmla="*/ 333 h 633"/>
                  <a:gd name="T46" fmla="*/ 19 w 981"/>
                  <a:gd name="T47" fmla="*/ 267 h 633"/>
                  <a:gd name="T48" fmla="*/ 7 w 981"/>
                  <a:gd name="T49" fmla="*/ 203 h 633"/>
                  <a:gd name="T50" fmla="*/ 28 w 981"/>
                  <a:gd name="T51" fmla="*/ 146 h 633"/>
                  <a:gd name="T52" fmla="*/ 57 w 981"/>
                  <a:gd name="T53" fmla="*/ 123 h 633"/>
                  <a:gd name="T54" fmla="*/ 106 w 981"/>
                  <a:gd name="T55" fmla="*/ 85 h 633"/>
                  <a:gd name="T56" fmla="*/ 139 w 981"/>
                  <a:gd name="T57" fmla="*/ 137 h 633"/>
                  <a:gd name="T58" fmla="*/ 203 w 981"/>
                  <a:gd name="T59" fmla="*/ 125 h 633"/>
                  <a:gd name="T60" fmla="*/ 267 w 981"/>
                  <a:gd name="T61" fmla="*/ 113 h 633"/>
                  <a:gd name="T62" fmla="*/ 331 w 981"/>
                  <a:gd name="T63" fmla="*/ 99 h 633"/>
                  <a:gd name="T64" fmla="*/ 395 w 981"/>
                  <a:gd name="T65" fmla="*/ 87 h 633"/>
                  <a:gd name="T66" fmla="*/ 458 w 981"/>
                  <a:gd name="T67" fmla="*/ 75 h 633"/>
                  <a:gd name="T68" fmla="*/ 520 w 981"/>
                  <a:gd name="T69" fmla="*/ 61 h 633"/>
                  <a:gd name="T70" fmla="*/ 584 w 981"/>
                  <a:gd name="T71" fmla="*/ 47 h 633"/>
                  <a:gd name="T72" fmla="*/ 647 w 981"/>
                  <a:gd name="T73" fmla="*/ 35 h 633"/>
                  <a:gd name="T74" fmla="*/ 711 w 981"/>
                  <a:gd name="T75" fmla="*/ 21 h 633"/>
                  <a:gd name="T76" fmla="*/ 775 w 981"/>
                  <a:gd name="T77" fmla="*/ 7 h 633"/>
                  <a:gd name="T78" fmla="*/ 818 w 981"/>
                  <a:gd name="T79" fmla="*/ 19 h 633"/>
                  <a:gd name="T80" fmla="*/ 844 w 981"/>
                  <a:gd name="T81" fmla="*/ 33 h 633"/>
                  <a:gd name="T82" fmla="*/ 855 w 981"/>
                  <a:gd name="T83" fmla="*/ 59 h 633"/>
                  <a:gd name="T84" fmla="*/ 877 w 981"/>
                  <a:gd name="T85" fmla="*/ 87 h 633"/>
                  <a:gd name="T86" fmla="*/ 922 w 981"/>
                  <a:gd name="T87" fmla="*/ 101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81" h="633">
                    <a:moveTo>
                      <a:pt x="926" y="108"/>
                    </a:moveTo>
                    <a:lnTo>
                      <a:pt x="917" y="118"/>
                    </a:lnTo>
                    <a:lnTo>
                      <a:pt x="912" y="125"/>
                    </a:lnTo>
                    <a:lnTo>
                      <a:pt x="910" y="132"/>
                    </a:lnTo>
                    <a:lnTo>
                      <a:pt x="903" y="158"/>
                    </a:lnTo>
                    <a:lnTo>
                      <a:pt x="891" y="184"/>
                    </a:lnTo>
                    <a:lnTo>
                      <a:pt x="879" y="198"/>
                    </a:lnTo>
                    <a:lnTo>
                      <a:pt x="879" y="203"/>
                    </a:lnTo>
                    <a:lnTo>
                      <a:pt x="891" y="219"/>
                    </a:lnTo>
                    <a:lnTo>
                      <a:pt x="893" y="224"/>
                    </a:lnTo>
                    <a:lnTo>
                      <a:pt x="889" y="238"/>
                    </a:lnTo>
                    <a:lnTo>
                      <a:pt x="881" y="245"/>
                    </a:lnTo>
                    <a:lnTo>
                      <a:pt x="881" y="253"/>
                    </a:lnTo>
                    <a:lnTo>
                      <a:pt x="881" y="264"/>
                    </a:lnTo>
                    <a:lnTo>
                      <a:pt x="889" y="283"/>
                    </a:lnTo>
                    <a:lnTo>
                      <a:pt x="891" y="286"/>
                    </a:lnTo>
                    <a:lnTo>
                      <a:pt x="905" y="290"/>
                    </a:lnTo>
                    <a:lnTo>
                      <a:pt x="919" y="312"/>
                    </a:lnTo>
                    <a:lnTo>
                      <a:pt x="929" y="314"/>
                    </a:lnTo>
                    <a:lnTo>
                      <a:pt x="981" y="357"/>
                    </a:lnTo>
                    <a:lnTo>
                      <a:pt x="957" y="378"/>
                    </a:lnTo>
                    <a:lnTo>
                      <a:pt x="941" y="394"/>
                    </a:lnTo>
                    <a:lnTo>
                      <a:pt x="936" y="404"/>
                    </a:lnTo>
                    <a:lnTo>
                      <a:pt x="924" y="425"/>
                    </a:lnTo>
                    <a:lnTo>
                      <a:pt x="900" y="437"/>
                    </a:lnTo>
                    <a:lnTo>
                      <a:pt x="891" y="446"/>
                    </a:lnTo>
                    <a:lnTo>
                      <a:pt x="889" y="451"/>
                    </a:lnTo>
                    <a:lnTo>
                      <a:pt x="872" y="449"/>
                    </a:lnTo>
                    <a:lnTo>
                      <a:pt x="853" y="454"/>
                    </a:lnTo>
                    <a:lnTo>
                      <a:pt x="846" y="458"/>
                    </a:lnTo>
                    <a:lnTo>
                      <a:pt x="844" y="463"/>
                    </a:lnTo>
                    <a:lnTo>
                      <a:pt x="834" y="482"/>
                    </a:lnTo>
                    <a:lnTo>
                      <a:pt x="799" y="491"/>
                    </a:lnTo>
                    <a:lnTo>
                      <a:pt x="761" y="498"/>
                    </a:lnTo>
                    <a:lnTo>
                      <a:pt x="725" y="508"/>
                    </a:lnTo>
                    <a:lnTo>
                      <a:pt x="688" y="515"/>
                    </a:lnTo>
                    <a:lnTo>
                      <a:pt x="652" y="522"/>
                    </a:lnTo>
                    <a:lnTo>
                      <a:pt x="614" y="532"/>
                    </a:lnTo>
                    <a:lnTo>
                      <a:pt x="579" y="539"/>
                    </a:lnTo>
                    <a:lnTo>
                      <a:pt x="541" y="546"/>
                    </a:lnTo>
                    <a:lnTo>
                      <a:pt x="506" y="553"/>
                    </a:lnTo>
                    <a:lnTo>
                      <a:pt x="468" y="560"/>
                    </a:lnTo>
                    <a:lnTo>
                      <a:pt x="432" y="567"/>
                    </a:lnTo>
                    <a:lnTo>
                      <a:pt x="395" y="574"/>
                    </a:lnTo>
                    <a:lnTo>
                      <a:pt x="359" y="581"/>
                    </a:lnTo>
                    <a:lnTo>
                      <a:pt x="321" y="588"/>
                    </a:lnTo>
                    <a:lnTo>
                      <a:pt x="286" y="595"/>
                    </a:lnTo>
                    <a:lnTo>
                      <a:pt x="248" y="603"/>
                    </a:lnTo>
                    <a:lnTo>
                      <a:pt x="227" y="607"/>
                    </a:lnTo>
                    <a:lnTo>
                      <a:pt x="205" y="610"/>
                    </a:lnTo>
                    <a:lnTo>
                      <a:pt x="187" y="614"/>
                    </a:lnTo>
                    <a:lnTo>
                      <a:pt x="165" y="619"/>
                    </a:lnTo>
                    <a:lnTo>
                      <a:pt x="144" y="621"/>
                    </a:lnTo>
                    <a:lnTo>
                      <a:pt x="123" y="626"/>
                    </a:lnTo>
                    <a:lnTo>
                      <a:pt x="101" y="629"/>
                    </a:lnTo>
                    <a:lnTo>
                      <a:pt x="83" y="633"/>
                    </a:lnTo>
                    <a:lnTo>
                      <a:pt x="78" y="610"/>
                    </a:lnTo>
                    <a:lnTo>
                      <a:pt x="73" y="586"/>
                    </a:lnTo>
                    <a:lnTo>
                      <a:pt x="68" y="560"/>
                    </a:lnTo>
                    <a:lnTo>
                      <a:pt x="66" y="536"/>
                    </a:lnTo>
                    <a:lnTo>
                      <a:pt x="61" y="513"/>
                    </a:lnTo>
                    <a:lnTo>
                      <a:pt x="57" y="489"/>
                    </a:lnTo>
                    <a:lnTo>
                      <a:pt x="52" y="465"/>
                    </a:lnTo>
                    <a:lnTo>
                      <a:pt x="49" y="442"/>
                    </a:lnTo>
                    <a:lnTo>
                      <a:pt x="45" y="420"/>
                    </a:lnTo>
                    <a:lnTo>
                      <a:pt x="40" y="397"/>
                    </a:lnTo>
                    <a:lnTo>
                      <a:pt x="38" y="376"/>
                    </a:lnTo>
                    <a:lnTo>
                      <a:pt x="33" y="354"/>
                    </a:lnTo>
                    <a:lnTo>
                      <a:pt x="31" y="333"/>
                    </a:lnTo>
                    <a:lnTo>
                      <a:pt x="26" y="312"/>
                    </a:lnTo>
                    <a:lnTo>
                      <a:pt x="21" y="288"/>
                    </a:lnTo>
                    <a:lnTo>
                      <a:pt x="19" y="267"/>
                    </a:lnTo>
                    <a:lnTo>
                      <a:pt x="14" y="245"/>
                    </a:lnTo>
                    <a:lnTo>
                      <a:pt x="12" y="224"/>
                    </a:lnTo>
                    <a:lnTo>
                      <a:pt x="7" y="203"/>
                    </a:lnTo>
                    <a:lnTo>
                      <a:pt x="5" y="179"/>
                    </a:lnTo>
                    <a:lnTo>
                      <a:pt x="0" y="163"/>
                    </a:lnTo>
                    <a:lnTo>
                      <a:pt x="28" y="146"/>
                    </a:lnTo>
                    <a:lnTo>
                      <a:pt x="40" y="137"/>
                    </a:lnTo>
                    <a:lnTo>
                      <a:pt x="49" y="130"/>
                    </a:lnTo>
                    <a:lnTo>
                      <a:pt x="57" y="123"/>
                    </a:lnTo>
                    <a:lnTo>
                      <a:pt x="64" y="118"/>
                    </a:lnTo>
                    <a:lnTo>
                      <a:pt x="106" y="82"/>
                    </a:lnTo>
                    <a:lnTo>
                      <a:pt x="106" y="85"/>
                    </a:lnTo>
                    <a:lnTo>
                      <a:pt x="113" y="113"/>
                    </a:lnTo>
                    <a:lnTo>
                      <a:pt x="118" y="139"/>
                    </a:lnTo>
                    <a:lnTo>
                      <a:pt x="139" y="137"/>
                    </a:lnTo>
                    <a:lnTo>
                      <a:pt x="161" y="132"/>
                    </a:lnTo>
                    <a:lnTo>
                      <a:pt x="182" y="127"/>
                    </a:lnTo>
                    <a:lnTo>
                      <a:pt x="203" y="125"/>
                    </a:lnTo>
                    <a:lnTo>
                      <a:pt x="224" y="120"/>
                    </a:lnTo>
                    <a:lnTo>
                      <a:pt x="246" y="115"/>
                    </a:lnTo>
                    <a:lnTo>
                      <a:pt x="267" y="113"/>
                    </a:lnTo>
                    <a:lnTo>
                      <a:pt x="288" y="108"/>
                    </a:lnTo>
                    <a:lnTo>
                      <a:pt x="309" y="104"/>
                    </a:lnTo>
                    <a:lnTo>
                      <a:pt x="331" y="99"/>
                    </a:lnTo>
                    <a:lnTo>
                      <a:pt x="352" y="97"/>
                    </a:lnTo>
                    <a:lnTo>
                      <a:pt x="373" y="92"/>
                    </a:lnTo>
                    <a:lnTo>
                      <a:pt x="395" y="87"/>
                    </a:lnTo>
                    <a:lnTo>
                      <a:pt x="416" y="82"/>
                    </a:lnTo>
                    <a:lnTo>
                      <a:pt x="437" y="78"/>
                    </a:lnTo>
                    <a:lnTo>
                      <a:pt x="458" y="75"/>
                    </a:lnTo>
                    <a:lnTo>
                      <a:pt x="477" y="71"/>
                    </a:lnTo>
                    <a:lnTo>
                      <a:pt x="499" y="66"/>
                    </a:lnTo>
                    <a:lnTo>
                      <a:pt x="520" y="61"/>
                    </a:lnTo>
                    <a:lnTo>
                      <a:pt x="541" y="56"/>
                    </a:lnTo>
                    <a:lnTo>
                      <a:pt x="562" y="52"/>
                    </a:lnTo>
                    <a:lnTo>
                      <a:pt x="584" y="47"/>
                    </a:lnTo>
                    <a:lnTo>
                      <a:pt x="605" y="42"/>
                    </a:lnTo>
                    <a:lnTo>
                      <a:pt x="626" y="37"/>
                    </a:lnTo>
                    <a:lnTo>
                      <a:pt x="647" y="35"/>
                    </a:lnTo>
                    <a:lnTo>
                      <a:pt x="669" y="30"/>
                    </a:lnTo>
                    <a:lnTo>
                      <a:pt x="690" y="26"/>
                    </a:lnTo>
                    <a:lnTo>
                      <a:pt x="711" y="21"/>
                    </a:lnTo>
                    <a:lnTo>
                      <a:pt x="733" y="16"/>
                    </a:lnTo>
                    <a:lnTo>
                      <a:pt x="754" y="11"/>
                    </a:lnTo>
                    <a:lnTo>
                      <a:pt x="775" y="7"/>
                    </a:lnTo>
                    <a:lnTo>
                      <a:pt x="796" y="0"/>
                    </a:lnTo>
                    <a:lnTo>
                      <a:pt x="811" y="9"/>
                    </a:lnTo>
                    <a:lnTo>
                      <a:pt x="818" y="19"/>
                    </a:lnTo>
                    <a:lnTo>
                      <a:pt x="837" y="23"/>
                    </a:lnTo>
                    <a:lnTo>
                      <a:pt x="844" y="26"/>
                    </a:lnTo>
                    <a:lnTo>
                      <a:pt x="844" y="33"/>
                    </a:lnTo>
                    <a:lnTo>
                      <a:pt x="853" y="37"/>
                    </a:lnTo>
                    <a:lnTo>
                      <a:pt x="853" y="49"/>
                    </a:lnTo>
                    <a:lnTo>
                      <a:pt x="855" y="59"/>
                    </a:lnTo>
                    <a:lnTo>
                      <a:pt x="860" y="71"/>
                    </a:lnTo>
                    <a:lnTo>
                      <a:pt x="867" y="80"/>
                    </a:lnTo>
                    <a:lnTo>
                      <a:pt x="877" y="87"/>
                    </a:lnTo>
                    <a:lnTo>
                      <a:pt x="884" y="94"/>
                    </a:lnTo>
                    <a:lnTo>
                      <a:pt x="915" y="97"/>
                    </a:lnTo>
                    <a:lnTo>
                      <a:pt x="922" y="101"/>
                    </a:lnTo>
                    <a:lnTo>
                      <a:pt x="926" y="10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24" name="Freeform 81">
                <a:extLst>
                  <a:ext uri="{FF2B5EF4-FFF2-40B4-BE49-F238E27FC236}">
                    <a16:creationId xmlns:a16="http://schemas.microsoft.com/office/drawing/2014/main" id="{81DF724F-2CA1-F301-1A36-92886C4A04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62" y="166"/>
                <a:ext cx="114" cy="158"/>
              </a:xfrm>
              <a:custGeom>
                <a:avLst/>
                <a:gdLst>
                  <a:gd name="T0" fmla="*/ 104 w 114"/>
                  <a:gd name="T1" fmla="*/ 56 h 158"/>
                  <a:gd name="T2" fmla="*/ 100 w 114"/>
                  <a:gd name="T3" fmla="*/ 63 h 158"/>
                  <a:gd name="T4" fmla="*/ 90 w 114"/>
                  <a:gd name="T5" fmla="*/ 56 h 158"/>
                  <a:gd name="T6" fmla="*/ 85 w 114"/>
                  <a:gd name="T7" fmla="*/ 49 h 158"/>
                  <a:gd name="T8" fmla="*/ 81 w 114"/>
                  <a:gd name="T9" fmla="*/ 44 h 158"/>
                  <a:gd name="T10" fmla="*/ 76 w 114"/>
                  <a:gd name="T11" fmla="*/ 44 h 158"/>
                  <a:gd name="T12" fmla="*/ 83 w 114"/>
                  <a:gd name="T13" fmla="*/ 63 h 158"/>
                  <a:gd name="T14" fmla="*/ 78 w 114"/>
                  <a:gd name="T15" fmla="*/ 80 h 158"/>
                  <a:gd name="T16" fmla="*/ 85 w 114"/>
                  <a:gd name="T17" fmla="*/ 115 h 158"/>
                  <a:gd name="T18" fmla="*/ 78 w 114"/>
                  <a:gd name="T19" fmla="*/ 134 h 158"/>
                  <a:gd name="T20" fmla="*/ 43 w 114"/>
                  <a:gd name="T21" fmla="*/ 156 h 158"/>
                  <a:gd name="T22" fmla="*/ 31 w 114"/>
                  <a:gd name="T23" fmla="*/ 158 h 158"/>
                  <a:gd name="T24" fmla="*/ 31 w 114"/>
                  <a:gd name="T25" fmla="*/ 144 h 158"/>
                  <a:gd name="T26" fmla="*/ 33 w 114"/>
                  <a:gd name="T27" fmla="*/ 139 h 158"/>
                  <a:gd name="T28" fmla="*/ 31 w 114"/>
                  <a:gd name="T29" fmla="*/ 125 h 158"/>
                  <a:gd name="T30" fmla="*/ 29 w 114"/>
                  <a:gd name="T31" fmla="*/ 118 h 158"/>
                  <a:gd name="T32" fmla="*/ 24 w 114"/>
                  <a:gd name="T33" fmla="*/ 104 h 158"/>
                  <a:gd name="T34" fmla="*/ 19 w 114"/>
                  <a:gd name="T35" fmla="*/ 87 h 158"/>
                  <a:gd name="T36" fmla="*/ 15 w 114"/>
                  <a:gd name="T37" fmla="*/ 70 h 158"/>
                  <a:gd name="T38" fmla="*/ 12 w 114"/>
                  <a:gd name="T39" fmla="*/ 54 h 158"/>
                  <a:gd name="T40" fmla="*/ 7 w 114"/>
                  <a:gd name="T41" fmla="*/ 44 h 158"/>
                  <a:gd name="T42" fmla="*/ 3 w 114"/>
                  <a:gd name="T43" fmla="*/ 28 h 158"/>
                  <a:gd name="T44" fmla="*/ 0 w 114"/>
                  <a:gd name="T45" fmla="*/ 18 h 158"/>
                  <a:gd name="T46" fmla="*/ 12 w 114"/>
                  <a:gd name="T47" fmla="*/ 14 h 158"/>
                  <a:gd name="T48" fmla="*/ 29 w 114"/>
                  <a:gd name="T49" fmla="*/ 9 h 158"/>
                  <a:gd name="T50" fmla="*/ 43 w 114"/>
                  <a:gd name="T51" fmla="*/ 7 h 158"/>
                  <a:gd name="T52" fmla="*/ 52 w 114"/>
                  <a:gd name="T53" fmla="*/ 2 h 158"/>
                  <a:gd name="T54" fmla="*/ 64 w 114"/>
                  <a:gd name="T55" fmla="*/ 0 h 158"/>
                  <a:gd name="T56" fmla="*/ 67 w 114"/>
                  <a:gd name="T57" fmla="*/ 9 h 158"/>
                  <a:gd name="T58" fmla="*/ 71 w 114"/>
                  <a:gd name="T59" fmla="*/ 23 h 158"/>
                  <a:gd name="T60" fmla="*/ 78 w 114"/>
                  <a:gd name="T61" fmla="*/ 23 h 158"/>
                  <a:gd name="T62" fmla="*/ 81 w 114"/>
                  <a:gd name="T63" fmla="*/ 35 h 158"/>
                  <a:gd name="T64" fmla="*/ 83 w 114"/>
                  <a:gd name="T65" fmla="*/ 42 h 158"/>
                  <a:gd name="T66" fmla="*/ 90 w 114"/>
                  <a:gd name="T67" fmla="*/ 44 h 158"/>
                  <a:gd name="T68" fmla="*/ 97 w 114"/>
                  <a:gd name="T69" fmla="*/ 49 h 158"/>
                  <a:gd name="T70" fmla="*/ 104 w 114"/>
                  <a:gd name="T71" fmla="*/ 56 h 158"/>
                  <a:gd name="T72" fmla="*/ 114 w 114"/>
                  <a:gd name="T73" fmla="*/ 99 h 158"/>
                  <a:gd name="T74" fmla="*/ 109 w 114"/>
                  <a:gd name="T75" fmla="*/ 108 h 158"/>
                  <a:gd name="T76" fmla="*/ 100 w 114"/>
                  <a:gd name="T77" fmla="*/ 108 h 158"/>
                  <a:gd name="T78" fmla="*/ 102 w 114"/>
                  <a:gd name="T79" fmla="*/ 101 h 158"/>
                  <a:gd name="T80" fmla="*/ 100 w 114"/>
                  <a:gd name="T81" fmla="*/ 89 h 158"/>
                  <a:gd name="T82" fmla="*/ 102 w 114"/>
                  <a:gd name="T83" fmla="*/ 75 h 158"/>
                  <a:gd name="T84" fmla="*/ 102 w 114"/>
                  <a:gd name="T85" fmla="*/ 70 h 158"/>
                  <a:gd name="T86" fmla="*/ 107 w 114"/>
                  <a:gd name="T87" fmla="*/ 66 h 158"/>
                  <a:gd name="T88" fmla="*/ 114 w 114"/>
                  <a:gd name="T89" fmla="*/ 99 h 158"/>
                  <a:gd name="T90" fmla="*/ 97 w 114"/>
                  <a:gd name="T91" fmla="*/ 106 h 158"/>
                  <a:gd name="T92" fmla="*/ 93 w 114"/>
                  <a:gd name="T93" fmla="*/ 111 h 158"/>
                  <a:gd name="T94" fmla="*/ 88 w 114"/>
                  <a:gd name="T95" fmla="*/ 101 h 158"/>
                  <a:gd name="T96" fmla="*/ 88 w 114"/>
                  <a:gd name="T97" fmla="*/ 89 h 158"/>
                  <a:gd name="T98" fmla="*/ 93 w 114"/>
                  <a:gd name="T99" fmla="*/ 89 h 158"/>
                  <a:gd name="T100" fmla="*/ 95 w 114"/>
                  <a:gd name="T101" fmla="*/ 94 h 158"/>
                  <a:gd name="T102" fmla="*/ 97 w 114"/>
                  <a:gd name="T103" fmla="*/ 106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4" h="158">
                    <a:moveTo>
                      <a:pt x="104" y="56"/>
                    </a:moveTo>
                    <a:lnTo>
                      <a:pt x="100" y="63"/>
                    </a:lnTo>
                    <a:lnTo>
                      <a:pt x="90" y="56"/>
                    </a:lnTo>
                    <a:lnTo>
                      <a:pt x="85" y="49"/>
                    </a:lnTo>
                    <a:lnTo>
                      <a:pt x="81" y="44"/>
                    </a:lnTo>
                    <a:lnTo>
                      <a:pt x="76" y="44"/>
                    </a:lnTo>
                    <a:lnTo>
                      <a:pt x="83" y="63"/>
                    </a:lnTo>
                    <a:lnTo>
                      <a:pt x="78" y="80"/>
                    </a:lnTo>
                    <a:lnTo>
                      <a:pt x="85" y="115"/>
                    </a:lnTo>
                    <a:lnTo>
                      <a:pt x="78" y="134"/>
                    </a:lnTo>
                    <a:lnTo>
                      <a:pt x="43" y="156"/>
                    </a:lnTo>
                    <a:lnTo>
                      <a:pt x="31" y="158"/>
                    </a:lnTo>
                    <a:lnTo>
                      <a:pt x="31" y="144"/>
                    </a:lnTo>
                    <a:lnTo>
                      <a:pt x="33" y="139"/>
                    </a:lnTo>
                    <a:lnTo>
                      <a:pt x="31" y="125"/>
                    </a:lnTo>
                    <a:lnTo>
                      <a:pt x="29" y="118"/>
                    </a:lnTo>
                    <a:lnTo>
                      <a:pt x="24" y="104"/>
                    </a:lnTo>
                    <a:lnTo>
                      <a:pt x="19" y="87"/>
                    </a:lnTo>
                    <a:lnTo>
                      <a:pt x="15" y="70"/>
                    </a:lnTo>
                    <a:lnTo>
                      <a:pt x="12" y="54"/>
                    </a:lnTo>
                    <a:lnTo>
                      <a:pt x="7" y="44"/>
                    </a:lnTo>
                    <a:lnTo>
                      <a:pt x="3" y="28"/>
                    </a:lnTo>
                    <a:lnTo>
                      <a:pt x="0" y="18"/>
                    </a:lnTo>
                    <a:lnTo>
                      <a:pt x="12" y="14"/>
                    </a:lnTo>
                    <a:lnTo>
                      <a:pt x="29" y="9"/>
                    </a:lnTo>
                    <a:lnTo>
                      <a:pt x="43" y="7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7" y="9"/>
                    </a:lnTo>
                    <a:lnTo>
                      <a:pt x="71" y="23"/>
                    </a:lnTo>
                    <a:lnTo>
                      <a:pt x="78" y="23"/>
                    </a:lnTo>
                    <a:lnTo>
                      <a:pt x="81" y="35"/>
                    </a:lnTo>
                    <a:lnTo>
                      <a:pt x="83" y="42"/>
                    </a:lnTo>
                    <a:lnTo>
                      <a:pt x="90" y="44"/>
                    </a:lnTo>
                    <a:lnTo>
                      <a:pt x="97" y="49"/>
                    </a:lnTo>
                    <a:lnTo>
                      <a:pt x="104" y="56"/>
                    </a:lnTo>
                    <a:close/>
                    <a:moveTo>
                      <a:pt x="114" y="99"/>
                    </a:moveTo>
                    <a:lnTo>
                      <a:pt x="109" y="108"/>
                    </a:lnTo>
                    <a:lnTo>
                      <a:pt x="100" y="108"/>
                    </a:lnTo>
                    <a:lnTo>
                      <a:pt x="102" y="101"/>
                    </a:lnTo>
                    <a:lnTo>
                      <a:pt x="100" y="89"/>
                    </a:lnTo>
                    <a:lnTo>
                      <a:pt x="102" y="75"/>
                    </a:lnTo>
                    <a:lnTo>
                      <a:pt x="102" y="70"/>
                    </a:lnTo>
                    <a:lnTo>
                      <a:pt x="107" y="66"/>
                    </a:lnTo>
                    <a:lnTo>
                      <a:pt x="114" y="99"/>
                    </a:lnTo>
                    <a:close/>
                    <a:moveTo>
                      <a:pt x="97" y="106"/>
                    </a:moveTo>
                    <a:lnTo>
                      <a:pt x="93" y="111"/>
                    </a:lnTo>
                    <a:lnTo>
                      <a:pt x="88" y="101"/>
                    </a:lnTo>
                    <a:lnTo>
                      <a:pt x="88" y="89"/>
                    </a:lnTo>
                    <a:lnTo>
                      <a:pt x="93" y="89"/>
                    </a:lnTo>
                    <a:lnTo>
                      <a:pt x="95" y="94"/>
                    </a:lnTo>
                    <a:lnTo>
                      <a:pt x="97" y="10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25" name="Freeform 82">
                <a:extLst>
                  <a:ext uri="{FF2B5EF4-FFF2-40B4-BE49-F238E27FC236}">
                    <a16:creationId xmlns:a16="http://schemas.microsoft.com/office/drawing/2014/main" id="{D5563577-CB5A-9907-37CB-411EFD6187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0" y="1918"/>
                <a:ext cx="856" cy="643"/>
              </a:xfrm>
              <a:custGeom>
                <a:avLst/>
                <a:gdLst>
                  <a:gd name="T0" fmla="*/ 813 w 856"/>
                  <a:gd name="T1" fmla="*/ 227 h 643"/>
                  <a:gd name="T2" fmla="*/ 770 w 856"/>
                  <a:gd name="T3" fmla="*/ 338 h 643"/>
                  <a:gd name="T4" fmla="*/ 759 w 856"/>
                  <a:gd name="T5" fmla="*/ 307 h 643"/>
                  <a:gd name="T6" fmla="*/ 761 w 856"/>
                  <a:gd name="T7" fmla="*/ 364 h 643"/>
                  <a:gd name="T8" fmla="*/ 711 w 856"/>
                  <a:gd name="T9" fmla="*/ 402 h 643"/>
                  <a:gd name="T10" fmla="*/ 681 w 856"/>
                  <a:gd name="T11" fmla="*/ 454 h 643"/>
                  <a:gd name="T12" fmla="*/ 662 w 856"/>
                  <a:gd name="T13" fmla="*/ 482 h 643"/>
                  <a:gd name="T14" fmla="*/ 622 w 856"/>
                  <a:gd name="T15" fmla="*/ 506 h 643"/>
                  <a:gd name="T16" fmla="*/ 593 w 856"/>
                  <a:gd name="T17" fmla="*/ 529 h 643"/>
                  <a:gd name="T18" fmla="*/ 546 w 856"/>
                  <a:gd name="T19" fmla="*/ 536 h 643"/>
                  <a:gd name="T20" fmla="*/ 577 w 856"/>
                  <a:gd name="T21" fmla="*/ 565 h 643"/>
                  <a:gd name="T22" fmla="*/ 558 w 856"/>
                  <a:gd name="T23" fmla="*/ 581 h 643"/>
                  <a:gd name="T24" fmla="*/ 541 w 856"/>
                  <a:gd name="T25" fmla="*/ 565 h 643"/>
                  <a:gd name="T26" fmla="*/ 518 w 856"/>
                  <a:gd name="T27" fmla="*/ 555 h 643"/>
                  <a:gd name="T28" fmla="*/ 536 w 856"/>
                  <a:gd name="T29" fmla="*/ 591 h 643"/>
                  <a:gd name="T30" fmla="*/ 536 w 856"/>
                  <a:gd name="T31" fmla="*/ 617 h 643"/>
                  <a:gd name="T32" fmla="*/ 518 w 856"/>
                  <a:gd name="T33" fmla="*/ 636 h 643"/>
                  <a:gd name="T34" fmla="*/ 468 w 856"/>
                  <a:gd name="T35" fmla="*/ 619 h 643"/>
                  <a:gd name="T36" fmla="*/ 428 w 856"/>
                  <a:gd name="T37" fmla="*/ 546 h 643"/>
                  <a:gd name="T38" fmla="*/ 380 w 856"/>
                  <a:gd name="T39" fmla="*/ 473 h 643"/>
                  <a:gd name="T40" fmla="*/ 321 w 856"/>
                  <a:gd name="T41" fmla="*/ 428 h 643"/>
                  <a:gd name="T42" fmla="*/ 293 w 856"/>
                  <a:gd name="T43" fmla="*/ 399 h 643"/>
                  <a:gd name="T44" fmla="*/ 269 w 856"/>
                  <a:gd name="T45" fmla="*/ 364 h 643"/>
                  <a:gd name="T46" fmla="*/ 201 w 856"/>
                  <a:gd name="T47" fmla="*/ 309 h 643"/>
                  <a:gd name="T48" fmla="*/ 104 w 856"/>
                  <a:gd name="T49" fmla="*/ 210 h 643"/>
                  <a:gd name="T50" fmla="*/ 87 w 856"/>
                  <a:gd name="T51" fmla="*/ 191 h 643"/>
                  <a:gd name="T52" fmla="*/ 35 w 856"/>
                  <a:gd name="T53" fmla="*/ 170 h 643"/>
                  <a:gd name="T54" fmla="*/ 5 w 856"/>
                  <a:gd name="T55" fmla="*/ 130 h 643"/>
                  <a:gd name="T56" fmla="*/ 33 w 856"/>
                  <a:gd name="T57" fmla="*/ 85 h 643"/>
                  <a:gd name="T58" fmla="*/ 87 w 856"/>
                  <a:gd name="T59" fmla="*/ 59 h 643"/>
                  <a:gd name="T60" fmla="*/ 139 w 856"/>
                  <a:gd name="T61" fmla="*/ 33 h 643"/>
                  <a:gd name="T62" fmla="*/ 184 w 856"/>
                  <a:gd name="T63" fmla="*/ 21 h 643"/>
                  <a:gd name="T64" fmla="*/ 265 w 856"/>
                  <a:gd name="T65" fmla="*/ 11 h 643"/>
                  <a:gd name="T66" fmla="*/ 347 w 856"/>
                  <a:gd name="T67" fmla="*/ 2 h 643"/>
                  <a:gd name="T68" fmla="*/ 383 w 856"/>
                  <a:gd name="T69" fmla="*/ 4 h 643"/>
                  <a:gd name="T70" fmla="*/ 402 w 856"/>
                  <a:gd name="T71" fmla="*/ 4 h 643"/>
                  <a:gd name="T72" fmla="*/ 435 w 856"/>
                  <a:gd name="T73" fmla="*/ 42 h 643"/>
                  <a:gd name="T74" fmla="*/ 487 w 856"/>
                  <a:gd name="T75" fmla="*/ 52 h 643"/>
                  <a:gd name="T76" fmla="*/ 560 w 856"/>
                  <a:gd name="T77" fmla="*/ 42 h 643"/>
                  <a:gd name="T78" fmla="*/ 631 w 856"/>
                  <a:gd name="T79" fmla="*/ 30 h 643"/>
                  <a:gd name="T80" fmla="*/ 714 w 856"/>
                  <a:gd name="T81" fmla="*/ 89 h 643"/>
                  <a:gd name="T82" fmla="*/ 796 w 856"/>
                  <a:gd name="T83" fmla="*/ 146 h 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56" h="643">
                    <a:moveTo>
                      <a:pt x="856" y="186"/>
                    </a:moveTo>
                    <a:lnTo>
                      <a:pt x="853" y="189"/>
                    </a:lnTo>
                    <a:lnTo>
                      <a:pt x="813" y="227"/>
                    </a:lnTo>
                    <a:lnTo>
                      <a:pt x="801" y="243"/>
                    </a:lnTo>
                    <a:lnTo>
                      <a:pt x="775" y="302"/>
                    </a:lnTo>
                    <a:lnTo>
                      <a:pt x="770" y="338"/>
                    </a:lnTo>
                    <a:lnTo>
                      <a:pt x="761" y="326"/>
                    </a:lnTo>
                    <a:lnTo>
                      <a:pt x="761" y="314"/>
                    </a:lnTo>
                    <a:lnTo>
                      <a:pt x="759" y="307"/>
                    </a:lnTo>
                    <a:lnTo>
                      <a:pt x="754" y="326"/>
                    </a:lnTo>
                    <a:lnTo>
                      <a:pt x="766" y="352"/>
                    </a:lnTo>
                    <a:lnTo>
                      <a:pt x="761" y="364"/>
                    </a:lnTo>
                    <a:lnTo>
                      <a:pt x="740" y="387"/>
                    </a:lnTo>
                    <a:lnTo>
                      <a:pt x="726" y="394"/>
                    </a:lnTo>
                    <a:lnTo>
                      <a:pt x="711" y="402"/>
                    </a:lnTo>
                    <a:lnTo>
                      <a:pt x="709" y="423"/>
                    </a:lnTo>
                    <a:lnTo>
                      <a:pt x="692" y="444"/>
                    </a:lnTo>
                    <a:lnTo>
                      <a:pt x="681" y="454"/>
                    </a:lnTo>
                    <a:lnTo>
                      <a:pt x="657" y="454"/>
                    </a:lnTo>
                    <a:lnTo>
                      <a:pt x="669" y="468"/>
                    </a:lnTo>
                    <a:lnTo>
                      <a:pt x="662" y="482"/>
                    </a:lnTo>
                    <a:lnTo>
                      <a:pt x="650" y="494"/>
                    </a:lnTo>
                    <a:lnTo>
                      <a:pt x="633" y="503"/>
                    </a:lnTo>
                    <a:lnTo>
                      <a:pt x="622" y="506"/>
                    </a:lnTo>
                    <a:lnTo>
                      <a:pt x="614" y="510"/>
                    </a:lnTo>
                    <a:lnTo>
                      <a:pt x="610" y="520"/>
                    </a:lnTo>
                    <a:lnTo>
                      <a:pt x="593" y="529"/>
                    </a:lnTo>
                    <a:lnTo>
                      <a:pt x="577" y="529"/>
                    </a:lnTo>
                    <a:lnTo>
                      <a:pt x="555" y="529"/>
                    </a:lnTo>
                    <a:lnTo>
                      <a:pt x="546" y="536"/>
                    </a:lnTo>
                    <a:lnTo>
                      <a:pt x="565" y="541"/>
                    </a:lnTo>
                    <a:lnTo>
                      <a:pt x="577" y="551"/>
                    </a:lnTo>
                    <a:lnTo>
                      <a:pt x="577" y="565"/>
                    </a:lnTo>
                    <a:lnTo>
                      <a:pt x="574" y="572"/>
                    </a:lnTo>
                    <a:lnTo>
                      <a:pt x="562" y="581"/>
                    </a:lnTo>
                    <a:lnTo>
                      <a:pt x="558" y="581"/>
                    </a:lnTo>
                    <a:lnTo>
                      <a:pt x="553" y="574"/>
                    </a:lnTo>
                    <a:lnTo>
                      <a:pt x="548" y="560"/>
                    </a:lnTo>
                    <a:lnTo>
                      <a:pt x="541" y="565"/>
                    </a:lnTo>
                    <a:lnTo>
                      <a:pt x="544" y="572"/>
                    </a:lnTo>
                    <a:lnTo>
                      <a:pt x="539" y="574"/>
                    </a:lnTo>
                    <a:lnTo>
                      <a:pt x="518" y="555"/>
                    </a:lnTo>
                    <a:lnTo>
                      <a:pt x="522" y="572"/>
                    </a:lnTo>
                    <a:lnTo>
                      <a:pt x="529" y="584"/>
                    </a:lnTo>
                    <a:lnTo>
                      <a:pt x="536" y="591"/>
                    </a:lnTo>
                    <a:lnTo>
                      <a:pt x="544" y="593"/>
                    </a:lnTo>
                    <a:lnTo>
                      <a:pt x="546" y="600"/>
                    </a:lnTo>
                    <a:lnTo>
                      <a:pt x="536" y="617"/>
                    </a:lnTo>
                    <a:lnTo>
                      <a:pt x="532" y="621"/>
                    </a:lnTo>
                    <a:lnTo>
                      <a:pt x="522" y="626"/>
                    </a:lnTo>
                    <a:lnTo>
                      <a:pt x="518" y="636"/>
                    </a:lnTo>
                    <a:lnTo>
                      <a:pt x="520" y="643"/>
                    </a:lnTo>
                    <a:lnTo>
                      <a:pt x="482" y="633"/>
                    </a:lnTo>
                    <a:lnTo>
                      <a:pt x="468" y="619"/>
                    </a:lnTo>
                    <a:lnTo>
                      <a:pt x="466" y="600"/>
                    </a:lnTo>
                    <a:lnTo>
                      <a:pt x="456" y="579"/>
                    </a:lnTo>
                    <a:lnTo>
                      <a:pt x="428" y="546"/>
                    </a:lnTo>
                    <a:lnTo>
                      <a:pt x="411" y="539"/>
                    </a:lnTo>
                    <a:lnTo>
                      <a:pt x="397" y="515"/>
                    </a:lnTo>
                    <a:lnTo>
                      <a:pt x="380" y="473"/>
                    </a:lnTo>
                    <a:lnTo>
                      <a:pt x="359" y="447"/>
                    </a:lnTo>
                    <a:lnTo>
                      <a:pt x="338" y="439"/>
                    </a:lnTo>
                    <a:lnTo>
                      <a:pt x="321" y="428"/>
                    </a:lnTo>
                    <a:lnTo>
                      <a:pt x="312" y="411"/>
                    </a:lnTo>
                    <a:lnTo>
                      <a:pt x="302" y="402"/>
                    </a:lnTo>
                    <a:lnTo>
                      <a:pt x="293" y="399"/>
                    </a:lnTo>
                    <a:lnTo>
                      <a:pt x="288" y="390"/>
                    </a:lnTo>
                    <a:lnTo>
                      <a:pt x="286" y="378"/>
                    </a:lnTo>
                    <a:lnTo>
                      <a:pt x="269" y="364"/>
                    </a:lnTo>
                    <a:lnTo>
                      <a:pt x="232" y="340"/>
                    </a:lnTo>
                    <a:lnTo>
                      <a:pt x="220" y="324"/>
                    </a:lnTo>
                    <a:lnTo>
                      <a:pt x="201" y="309"/>
                    </a:lnTo>
                    <a:lnTo>
                      <a:pt x="154" y="276"/>
                    </a:lnTo>
                    <a:lnTo>
                      <a:pt x="154" y="276"/>
                    </a:lnTo>
                    <a:lnTo>
                      <a:pt x="104" y="210"/>
                    </a:lnTo>
                    <a:lnTo>
                      <a:pt x="104" y="210"/>
                    </a:lnTo>
                    <a:lnTo>
                      <a:pt x="94" y="196"/>
                    </a:lnTo>
                    <a:lnTo>
                      <a:pt x="87" y="191"/>
                    </a:lnTo>
                    <a:lnTo>
                      <a:pt x="73" y="191"/>
                    </a:lnTo>
                    <a:lnTo>
                      <a:pt x="59" y="186"/>
                    </a:lnTo>
                    <a:lnTo>
                      <a:pt x="35" y="170"/>
                    </a:lnTo>
                    <a:lnTo>
                      <a:pt x="35" y="170"/>
                    </a:lnTo>
                    <a:lnTo>
                      <a:pt x="0" y="151"/>
                    </a:lnTo>
                    <a:lnTo>
                      <a:pt x="5" y="130"/>
                    </a:lnTo>
                    <a:lnTo>
                      <a:pt x="26" y="101"/>
                    </a:lnTo>
                    <a:lnTo>
                      <a:pt x="31" y="85"/>
                    </a:lnTo>
                    <a:lnTo>
                      <a:pt x="33" y="85"/>
                    </a:lnTo>
                    <a:lnTo>
                      <a:pt x="35" y="85"/>
                    </a:lnTo>
                    <a:lnTo>
                      <a:pt x="61" y="73"/>
                    </a:lnTo>
                    <a:lnTo>
                      <a:pt x="87" y="59"/>
                    </a:lnTo>
                    <a:lnTo>
                      <a:pt x="94" y="59"/>
                    </a:lnTo>
                    <a:lnTo>
                      <a:pt x="109" y="47"/>
                    </a:lnTo>
                    <a:lnTo>
                      <a:pt x="139" y="33"/>
                    </a:lnTo>
                    <a:lnTo>
                      <a:pt x="149" y="23"/>
                    </a:lnTo>
                    <a:lnTo>
                      <a:pt x="156" y="23"/>
                    </a:lnTo>
                    <a:lnTo>
                      <a:pt x="184" y="21"/>
                    </a:lnTo>
                    <a:lnTo>
                      <a:pt x="210" y="19"/>
                    </a:lnTo>
                    <a:lnTo>
                      <a:pt x="239" y="16"/>
                    </a:lnTo>
                    <a:lnTo>
                      <a:pt x="265" y="11"/>
                    </a:lnTo>
                    <a:lnTo>
                      <a:pt x="293" y="9"/>
                    </a:lnTo>
                    <a:lnTo>
                      <a:pt x="319" y="7"/>
                    </a:lnTo>
                    <a:lnTo>
                      <a:pt x="347" y="2"/>
                    </a:lnTo>
                    <a:lnTo>
                      <a:pt x="373" y="0"/>
                    </a:lnTo>
                    <a:lnTo>
                      <a:pt x="380" y="0"/>
                    </a:lnTo>
                    <a:lnTo>
                      <a:pt x="383" y="4"/>
                    </a:lnTo>
                    <a:lnTo>
                      <a:pt x="383" y="11"/>
                    </a:lnTo>
                    <a:lnTo>
                      <a:pt x="385" y="16"/>
                    </a:lnTo>
                    <a:lnTo>
                      <a:pt x="402" y="4"/>
                    </a:lnTo>
                    <a:lnTo>
                      <a:pt x="414" y="14"/>
                    </a:lnTo>
                    <a:lnTo>
                      <a:pt x="432" y="30"/>
                    </a:lnTo>
                    <a:lnTo>
                      <a:pt x="435" y="42"/>
                    </a:lnTo>
                    <a:lnTo>
                      <a:pt x="437" y="59"/>
                    </a:lnTo>
                    <a:lnTo>
                      <a:pt x="461" y="56"/>
                    </a:lnTo>
                    <a:lnTo>
                      <a:pt x="487" y="52"/>
                    </a:lnTo>
                    <a:lnTo>
                      <a:pt x="510" y="49"/>
                    </a:lnTo>
                    <a:lnTo>
                      <a:pt x="534" y="45"/>
                    </a:lnTo>
                    <a:lnTo>
                      <a:pt x="560" y="42"/>
                    </a:lnTo>
                    <a:lnTo>
                      <a:pt x="584" y="37"/>
                    </a:lnTo>
                    <a:lnTo>
                      <a:pt x="607" y="35"/>
                    </a:lnTo>
                    <a:lnTo>
                      <a:pt x="631" y="30"/>
                    </a:lnTo>
                    <a:lnTo>
                      <a:pt x="659" y="52"/>
                    </a:lnTo>
                    <a:lnTo>
                      <a:pt x="688" y="71"/>
                    </a:lnTo>
                    <a:lnTo>
                      <a:pt x="714" y="89"/>
                    </a:lnTo>
                    <a:lnTo>
                      <a:pt x="742" y="108"/>
                    </a:lnTo>
                    <a:lnTo>
                      <a:pt x="770" y="127"/>
                    </a:lnTo>
                    <a:lnTo>
                      <a:pt x="796" y="146"/>
                    </a:lnTo>
                    <a:lnTo>
                      <a:pt x="825" y="167"/>
                    </a:lnTo>
                    <a:lnTo>
                      <a:pt x="856" y="18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26" name="Freeform 83">
                <a:extLst>
                  <a:ext uri="{FF2B5EF4-FFF2-40B4-BE49-F238E27FC236}">
                    <a16:creationId xmlns:a16="http://schemas.microsoft.com/office/drawing/2014/main" id="{57DCC062-5074-6D6F-AAAC-1B9F4CA368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8" y="-196"/>
                <a:ext cx="1172" cy="778"/>
              </a:xfrm>
              <a:custGeom>
                <a:avLst/>
                <a:gdLst>
                  <a:gd name="T0" fmla="*/ 1153 w 1172"/>
                  <a:gd name="T1" fmla="*/ 73 h 778"/>
                  <a:gd name="T2" fmla="*/ 1141 w 1172"/>
                  <a:gd name="T3" fmla="*/ 92 h 778"/>
                  <a:gd name="T4" fmla="*/ 1113 w 1172"/>
                  <a:gd name="T5" fmla="*/ 118 h 778"/>
                  <a:gd name="T6" fmla="*/ 1120 w 1172"/>
                  <a:gd name="T7" fmla="*/ 135 h 778"/>
                  <a:gd name="T8" fmla="*/ 1137 w 1172"/>
                  <a:gd name="T9" fmla="*/ 161 h 778"/>
                  <a:gd name="T10" fmla="*/ 1172 w 1172"/>
                  <a:gd name="T11" fmla="*/ 189 h 778"/>
                  <a:gd name="T12" fmla="*/ 1172 w 1172"/>
                  <a:gd name="T13" fmla="*/ 283 h 778"/>
                  <a:gd name="T14" fmla="*/ 1172 w 1172"/>
                  <a:gd name="T15" fmla="*/ 378 h 778"/>
                  <a:gd name="T16" fmla="*/ 1172 w 1172"/>
                  <a:gd name="T17" fmla="*/ 475 h 778"/>
                  <a:gd name="T18" fmla="*/ 1170 w 1172"/>
                  <a:gd name="T19" fmla="*/ 570 h 778"/>
                  <a:gd name="T20" fmla="*/ 1151 w 1172"/>
                  <a:gd name="T21" fmla="*/ 581 h 778"/>
                  <a:gd name="T22" fmla="*/ 1158 w 1172"/>
                  <a:gd name="T23" fmla="*/ 603 h 778"/>
                  <a:gd name="T24" fmla="*/ 1153 w 1172"/>
                  <a:gd name="T25" fmla="*/ 615 h 778"/>
                  <a:gd name="T26" fmla="*/ 1156 w 1172"/>
                  <a:gd name="T27" fmla="*/ 626 h 778"/>
                  <a:gd name="T28" fmla="*/ 1167 w 1172"/>
                  <a:gd name="T29" fmla="*/ 638 h 778"/>
                  <a:gd name="T30" fmla="*/ 1170 w 1172"/>
                  <a:gd name="T31" fmla="*/ 652 h 778"/>
                  <a:gd name="T32" fmla="*/ 1160 w 1172"/>
                  <a:gd name="T33" fmla="*/ 681 h 778"/>
                  <a:gd name="T34" fmla="*/ 1144 w 1172"/>
                  <a:gd name="T35" fmla="*/ 719 h 778"/>
                  <a:gd name="T36" fmla="*/ 1144 w 1172"/>
                  <a:gd name="T37" fmla="*/ 730 h 778"/>
                  <a:gd name="T38" fmla="*/ 1158 w 1172"/>
                  <a:gd name="T39" fmla="*/ 752 h 778"/>
                  <a:gd name="T40" fmla="*/ 1165 w 1172"/>
                  <a:gd name="T41" fmla="*/ 778 h 778"/>
                  <a:gd name="T42" fmla="*/ 1141 w 1172"/>
                  <a:gd name="T43" fmla="*/ 766 h 778"/>
                  <a:gd name="T44" fmla="*/ 1115 w 1172"/>
                  <a:gd name="T45" fmla="*/ 737 h 778"/>
                  <a:gd name="T46" fmla="*/ 1059 w 1172"/>
                  <a:gd name="T47" fmla="*/ 714 h 778"/>
                  <a:gd name="T48" fmla="*/ 1021 w 1172"/>
                  <a:gd name="T49" fmla="*/ 697 h 778"/>
                  <a:gd name="T50" fmla="*/ 948 w 1172"/>
                  <a:gd name="T51" fmla="*/ 704 h 778"/>
                  <a:gd name="T52" fmla="*/ 907 w 1172"/>
                  <a:gd name="T53" fmla="*/ 702 h 778"/>
                  <a:gd name="T54" fmla="*/ 801 w 1172"/>
                  <a:gd name="T55" fmla="*/ 667 h 778"/>
                  <a:gd name="T56" fmla="*/ 695 w 1172"/>
                  <a:gd name="T57" fmla="*/ 664 h 778"/>
                  <a:gd name="T58" fmla="*/ 588 w 1172"/>
                  <a:gd name="T59" fmla="*/ 659 h 778"/>
                  <a:gd name="T60" fmla="*/ 479 w 1172"/>
                  <a:gd name="T61" fmla="*/ 655 h 778"/>
                  <a:gd name="T62" fmla="*/ 373 w 1172"/>
                  <a:gd name="T63" fmla="*/ 648 h 778"/>
                  <a:gd name="T64" fmla="*/ 267 w 1172"/>
                  <a:gd name="T65" fmla="*/ 641 h 778"/>
                  <a:gd name="T66" fmla="*/ 160 w 1172"/>
                  <a:gd name="T67" fmla="*/ 633 h 778"/>
                  <a:gd name="T68" fmla="*/ 54 w 1172"/>
                  <a:gd name="T69" fmla="*/ 624 h 778"/>
                  <a:gd name="T70" fmla="*/ 4 w 1172"/>
                  <a:gd name="T71" fmla="*/ 567 h 778"/>
                  <a:gd name="T72" fmla="*/ 14 w 1172"/>
                  <a:gd name="T73" fmla="*/ 461 h 778"/>
                  <a:gd name="T74" fmla="*/ 23 w 1172"/>
                  <a:gd name="T75" fmla="*/ 357 h 778"/>
                  <a:gd name="T76" fmla="*/ 30 w 1172"/>
                  <a:gd name="T77" fmla="*/ 250 h 778"/>
                  <a:gd name="T78" fmla="*/ 37 w 1172"/>
                  <a:gd name="T79" fmla="*/ 198 h 778"/>
                  <a:gd name="T80" fmla="*/ 40 w 1172"/>
                  <a:gd name="T81" fmla="*/ 198 h 778"/>
                  <a:gd name="T82" fmla="*/ 40 w 1172"/>
                  <a:gd name="T83" fmla="*/ 198 h 778"/>
                  <a:gd name="T84" fmla="*/ 40 w 1172"/>
                  <a:gd name="T85" fmla="*/ 196 h 778"/>
                  <a:gd name="T86" fmla="*/ 45 w 1172"/>
                  <a:gd name="T87" fmla="*/ 146 h 778"/>
                  <a:gd name="T88" fmla="*/ 54 w 1172"/>
                  <a:gd name="T89" fmla="*/ 49 h 778"/>
                  <a:gd name="T90" fmla="*/ 92 w 1172"/>
                  <a:gd name="T91" fmla="*/ 2 h 778"/>
                  <a:gd name="T92" fmla="*/ 160 w 1172"/>
                  <a:gd name="T93" fmla="*/ 9 h 778"/>
                  <a:gd name="T94" fmla="*/ 229 w 1172"/>
                  <a:gd name="T95" fmla="*/ 14 h 778"/>
                  <a:gd name="T96" fmla="*/ 297 w 1172"/>
                  <a:gd name="T97" fmla="*/ 19 h 778"/>
                  <a:gd name="T98" fmla="*/ 366 w 1172"/>
                  <a:gd name="T99" fmla="*/ 23 h 778"/>
                  <a:gd name="T100" fmla="*/ 435 w 1172"/>
                  <a:gd name="T101" fmla="*/ 28 h 778"/>
                  <a:gd name="T102" fmla="*/ 503 w 1172"/>
                  <a:gd name="T103" fmla="*/ 33 h 778"/>
                  <a:gd name="T104" fmla="*/ 572 w 1172"/>
                  <a:gd name="T105" fmla="*/ 35 h 778"/>
                  <a:gd name="T106" fmla="*/ 643 w 1172"/>
                  <a:gd name="T107" fmla="*/ 40 h 778"/>
                  <a:gd name="T108" fmla="*/ 711 w 1172"/>
                  <a:gd name="T109" fmla="*/ 42 h 778"/>
                  <a:gd name="T110" fmla="*/ 780 w 1172"/>
                  <a:gd name="T111" fmla="*/ 45 h 778"/>
                  <a:gd name="T112" fmla="*/ 848 w 1172"/>
                  <a:gd name="T113" fmla="*/ 47 h 778"/>
                  <a:gd name="T114" fmla="*/ 917 w 1172"/>
                  <a:gd name="T115" fmla="*/ 49 h 778"/>
                  <a:gd name="T116" fmla="*/ 985 w 1172"/>
                  <a:gd name="T117" fmla="*/ 49 h 778"/>
                  <a:gd name="T118" fmla="*/ 1054 w 1172"/>
                  <a:gd name="T119" fmla="*/ 52 h 778"/>
                  <a:gd name="T120" fmla="*/ 1122 w 1172"/>
                  <a:gd name="T121" fmla="*/ 52 h 7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72" h="778">
                    <a:moveTo>
                      <a:pt x="1158" y="52"/>
                    </a:moveTo>
                    <a:lnTo>
                      <a:pt x="1153" y="73"/>
                    </a:lnTo>
                    <a:lnTo>
                      <a:pt x="1148" y="83"/>
                    </a:lnTo>
                    <a:lnTo>
                      <a:pt x="1141" y="92"/>
                    </a:lnTo>
                    <a:lnTo>
                      <a:pt x="1120" y="113"/>
                    </a:lnTo>
                    <a:lnTo>
                      <a:pt x="1113" y="118"/>
                    </a:lnTo>
                    <a:lnTo>
                      <a:pt x="1115" y="125"/>
                    </a:lnTo>
                    <a:lnTo>
                      <a:pt x="1120" y="135"/>
                    </a:lnTo>
                    <a:lnTo>
                      <a:pt x="1130" y="153"/>
                    </a:lnTo>
                    <a:lnTo>
                      <a:pt x="1137" y="161"/>
                    </a:lnTo>
                    <a:lnTo>
                      <a:pt x="1160" y="172"/>
                    </a:lnTo>
                    <a:lnTo>
                      <a:pt x="1172" y="189"/>
                    </a:lnTo>
                    <a:lnTo>
                      <a:pt x="1172" y="236"/>
                    </a:lnTo>
                    <a:lnTo>
                      <a:pt x="1172" y="283"/>
                    </a:lnTo>
                    <a:lnTo>
                      <a:pt x="1172" y="331"/>
                    </a:lnTo>
                    <a:lnTo>
                      <a:pt x="1172" y="378"/>
                    </a:lnTo>
                    <a:lnTo>
                      <a:pt x="1172" y="425"/>
                    </a:lnTo>
                    <a:lnTo>
                      <a:pt x="1172" y="475"/>
                    </a:lnTo>
                    <a:lnTo>
                      <a:pt x="1170" y="522"/>
                    </a:lnTo>
                    <a:lnTo>
                      <a:pt x="1170" y="570"/>
                    </a:lnTo>
                    <a:lnTo>
                      <a:pt x="1148" y="570"/>
                    </a:lnTo>
                    <a:lnTo>
                      <a:pt x="1151" y="581"/>
                    </a:lnTo>
                    <a:lnTo>
                      <a:pt x="1158" y="596"/>
                    </a:lnTo>
                    <a:lnTo>
                      <a:pt x="1158" y="603"/>
                    </a:lnTo>
                    <a:lnTo>
                      <a:pt x="1156" y="610"/>
                    </a:lnTo>
                    <a:lnTo>
                      <a:pt x="1153" y="615"/>
                    </a:lnTo>
                    <a:lnTo>
                      <a:pt x="1153" y="624"/>
                    </a:lnTo>
                    <a:lnTo>
                      <a:pt x="1156" y="626"/>
                    </a:lnTo>
                    <a:lnTo>
                      <a:pt x="1165" y="631"/>
                    </a:lnTo>
                    <a:lnTo>
                      <a:pt x="1167" y="638"/>
                    </a:lnTo>
                    <a:lnTo>
                      <a:pt x="1170" y="648"/>
                    </a:lnTo>
                    <a:lnTo>
                      <a:pt x="1170" y="652"/>
                    </a:lnTo>
                    <a:lnTo>
                      <a:pt x="1163" y="664"/>
                    </a:lnTo>
                    <a:lnTo>
                      <a:pt x="1160" y="681"/>
                    </a:lnTo>
                    <a:lnTo>
                      <a:pt x="1153" y="704"/>
                    </a:lnTo>
                    <a:lnTo>
                      <a:pt x="1144" y="719"/>
                    </a:lnTo>
                    <a:lnTo>
                      <a:pt x="1144" y="726"/>
                    </a:lnTo>
                    <a:lnTo>
                      <a:pt x="1144" y="730"/>
                    </a:lnTo>
                    <a:lnTo>
                      <a:pt x="1156" y="747"/>
                    </a:lnTo>
                    <a:lnTo>
                      <a:pt x="1158" y="752"/>
                    </a:lnTo>
                    <a:lnTo>
                      <a:pt x="1160" y="761"/>
                    </a:lnTo>
                    <a:lnTo>
                      <a:pt x="1165" y="778"/>
                    </a:lnTo>
                    <a:lnTo>
                      <a:pt x="1153" y="775"/>
                    </a:lnTo>
                    <a:lnTo>
                      <a:pt x="1141" y="766"/>
                    </a:lnTo>
                    <a:lnTo>
                      <a:pt x="1134" y="752"/>
                    </a:lnTo>
                    <a:lnTo>
                      <a:pt x="1115" y="737"/>
                    </a:lnTo>
                    <a:lnTo>
                      <a:pt x="1082" y="723"/>
                    </a:lnTo>
                    <a:lnTo>
                      <a:pt x="1059" y="714"/>
                    </a:lnTo>
                    <a:lnTo>
                      <a:pt x="1049" y="702"/>
                    </a:lnTo>
                    <a:lnTo>
                      <a:pt x="1021" y="697"/>
                    </a:lnTo>
                    <a:lnTo>
                      <a:pt x="976" y="700"/>
                    </a:lnTo>
                    <a:lnTo>
                      <a:pt x="948" y="704"/>
                    </a:lnTo>
                    <a:lnTo>
                      <a:pt x="936" y="711"/>
                    </a:lnTo>
                    <a:lnTo>
                      <a:pt x="907" y="702"/>
                    </a:lnTo>
                    <a:lnTo>
                      <a:pt x="862" y="669"/>
                    </a:lnTo>
                    <a:lnTo>
                      <a:pt x="801" y="667"/>
                    </a:lnTo>
                    <a:lnTo>
                      <a:pt x="749" y="667"/>
                    </a:lnTo>
                    <a:lnTo>
                      <a:pt x="695" y="664"/>
                    </a:lnTo>
                    <a:lnTo>
                      <a:pt x="640" y="662"/>
                    </a:lnTo>
                    <a:lnTo>
                      <a:pt x="588" y="659"/>
                    </a:lnTo>
                    <a:lnTo>
                      <a:pt x="534" y="657"/>
                    </a:lnTo>
                    <a:lnTo>
                      <a:pt x="479" y="655"/>
                    </a:lnTo>
                    <a:lnTo>
                      <a:pt x="427" y="650"/>
                    </a:lnTo>
                    <a:lnTo>
                      <a:pt x="373" y="648"/>
                    </a:lnTo>
                    <a:lnTo>
                      <a:pt x="321" y="645"/>
                    </a:lnTo>
                    <a:lnTo>
                      <a:pt x="267" y="641"/>
                    </a:lnTo>
                    <a:lnTo>
                      <a:pt x="212" y="636"/>
                    </a:lnTo>
                    <a:lnTo>
                      <a:pt x="160" y="633"/>
                    </a:lnTo>
                    <a:lnTo>
                      <a:pt x="106" y="629"/>
                    </a:lnTo>
                    <a:lnTo>
                      <a:pt x="54" y="624"/>
                    </a:lnTo>
                    <a:lnTo>
                      <a:pt x="0" y="619"/>
                    </a:lnTo>
                    <a:lnTo>
                      <a:pt x="4" y="567"/>
                    </a:lnTo>
                    <a:lnTo>
                      <a:pt x="9" y="515"/>
                    </a:lnTo>
                    <a:lnTo>
                      <a:pt x="14" y="461"/>
                    </a:lnTo>
                    <a:lnTo>
                      <a:pt x="19" y="409"/>
                    </a:lnTo>
                    <a:lnTo>
                      <a:pt x="23" y="357"/>
                    </a:lnTo>
                    <a:lnTo>
                      <a:pt x="26" y="305"/>
                    </a:lnTo>
                    <a:lnTo>
                      <a:pt x="30" y="250"/>
                    </a:lnTo>
                    <a:lnTo>
                      <a:pt x="35" y="198"/>
                    </a:lnTo>
                    <a:lnTo>
                      <a:pt x="37" y="198"/>
                    </a:lnTo>
                    <a:lnTo>
                      <a:pt x="37" y="198"/>
                    </a:lnTo>
                    <a:lnTo>
                      <a:pt x="40" y="198"/>
                    </a:lnTo>
                    <a:lnTo>
                      <a:pt x="40" y="198"/>
                    </a:lnTo>
                    <a:lnTo>
                      <a:pt x="40" y="198"/>
                    </a:lnTo>
                    <a:lnTo>
                      <a:pt x="40" y="198"/>
                    </a:lnTo>
                    <a:lnTo>
                      <a:pt x="40" y="196"/>
                    </a:lnTo>
                    <a:lnTo>
                      <a:pt x="40" y="196"/>
                    </a:lnTo>
                    <a:lnTo>
                      <a:pt x="45" y="146"/>
                    </a:lnTo>
                    <a:lnTo>
                      <a:pt x="49" y="99"/>
                    </a:lnTo>
                    <a:lnTo>
                      <a:pt x="54" y="49"/>
                    </a:lnTo>
                    <a:lnTo>
                      <a:pt x="56" y="0"/>
                    </a:lnTo>
                    <a:lnTo>
                      <a:pt x="92" y="2"/>
                    </a:lnTo>
                    <a:lnTo>
                      <a:pt x="125" y="7"/>
                    </a:lnTo>
                    <a:lnTo>
                      <a:pt x="160" y="9"/>
                    </a:lnTo>
                    <a:lnTo>
                      <a:pt x="193" y="12"/>
                    </a:lnTo>
                    <a:lnTo>
                      <a:pt x="229" y="14"/>
                    </a:lnTo>
                    <a:lnTo>
                      <a:pt x="264" y="16"/>
                    </a:lnTo>
                    <a:lnTo>
                      <a:pt x="297" y="19"/>
                    </a:lnTo>
                    <a:lnTo>
                      <a:pt x="333" y="21"/>
                    </a:lnTo>
                    <a:lnTo>
                      <a:pt x="366" y="23"/>
                    </a:lnTo>
                    <a:lnTo>
                      <a:pt x="401" y="26"/>
                    </a:lnTo>
                    <a:lnTo>
                      <a:pt x="435" y="28"/>
                    </a:lnTo>
                    <a:lnTo>
                      <a:pt x="470" y="30"/>
                    </a:lnTo>
                    <a:lnTo>
                      <a:pt x="503" y="33"/>
                    </a:lnTo>
                    <a:lnTo>
                      <a:pt x="539" y="35"/>
                    </a:lnTo>
                    <a:lnTo>
                      <a:pt x="572" y="35"/>
                    </a:lnTo>
                    <a:lnTo>
                      <a:pt x="607" y="38"/>
                    </a:lnTo>
                    <a:lnTo>
                      <a:pt x="643" y="40"/>
                    </a:lnTo>
                    <a:lnTo>
                      <a:pt x="676" y="40"/>
                    </a:lnTo>
                    <a:lnTo>
                      <a:pt x="711" y="42"/>
                    </a:lnTo>
                    <a:lnTo>
                      <a:pt x="744" y="42"/>
                    </a:lnTo>
                    <a:lnTo>
                      <a:pt x="780" y="45"/>
                    </a:lnTo>
                    <a:lnTo>
                      <a:pt x="813" y="45"/>
                    </a:lnTo>
                    <a:lnTo>
                      <a:pt x="848" y="47"/>
                    </a:lnTo>
                    <a:lnTo>
                      <a:pt x="881" y="47"/>
                    </a:lnTo>
                    <a:lnTo>
                      <a:pt x="917" y="49"/>
                    </a:lnTo>
                    <a:lnTo>
                      <a:pt x="952" y="49"/>
                    </a:lnTo>
                    <a:lnTo>
                      <a:pt x="985" y="49"/>
                    </a:lnTo>
                    <a:lnTo>
                      <a:pt x="1021" y="52"/>
                    </a:lnTo>
                    <a:lnTo>
                      <a:pt x="1054" y="52"/>
                    </a:lnTo>
                    <a:lnTo>
                      <a:pt x="1089" y="52"/>
                    </a:lnTo>
                    <a:lnTo>
                      <a:pt x="1122" y="52"/>
                    </a:lnTo>
                    <a:lnTo>
                      <a:pt x="1158" y="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27" name="Freeform 84">
                <a:extLst>
                  <a:ext uri="{FF2B5EF4-FFF2-40B4-BE49-F238E27FC236}">
                    <a16:creationId xmlns:a16="http://schemas.microsoft.com/office/drawing/2014/main" id="{96E0269A-590D-77CD-D384-A84AFB7048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7" y="1632"/>
                <a:ext cx="1432" cy="498"/>
              </a:xfrm>
              <a:custGeom>
                <a:avLst/>
                <a:gdLst>
                  <a:gd name="T0" fmla="*/ 1215 w 1432"/>
                  <a:gd name="T1" fmla="*/ 35 h 498"/>
                  <a:gd name="T2" fmla="*/ 1347 w 1432"/>
                  <a:gd name="T3" fmla="*/ 14 h 498"/>
                  <a:gd name="T4" fmla="*/ 1409 w 1432"/>
                  <a:gd name="T5" fmla="*/ 2 h 498"/>
                  <a:gd name="T6" fmla="*/ 1427 w 1432"/>
                  <a:gd name="T7" fmla="*/ 28 h 498"/>
                  <a:gd name="T8" fmla="*/ 1416 w 1432"/>
                  <a:gd name="T9" fmla="*/ 56 h 498"/>
                  <a:gd name="T10" fmla="*/ 1383 w 1432"/>
                  <a:gd name="T11" fmla="*/ 111 h 498"/>
                  <a:gd name="T12" fmla="*/ 1340 w 1432"/>
                  <a:gd name="T13" fmla="*/ 115 h 498"/>
                  <a:gd name="T14" fmla="*/ 1307 w 1432"/>
                  <a:gd name="T15" fmla="*/ 153 h 498"/>
                  <a:gd name="T16" fmla="*/ 1295 w 1432"/>
                  <a:gd name="T17" fmla="*/ 153 h 498"/>
                  <a:gd name="T18" fmla="*/ 1283 w 1432"/>
                  <a:gd name="T19" fmla="*/ 141 h 498"/>
                  <a:gd name="T20" fmla="*/ 1260 w 1432"/>
                  <a:gd name="T21" fmla="*/ 167 h 498"/>
                  <a:gd name="T22" fmla="*/ 1243 w 1432"/>
                  <a:gd name="T23" fmla="*/ 184 h 498"/>
                  <a:gd name="T24" fmla="*/ 1212 w 1432"/>
                  <a:gd name="T25" fmla="*/ 210 h 498"/>
                  <a:gd name="T26" fmla="*/ 1115 w 1432"/>
                  <a:gd name="T27" fmla="*/ 269 h 498"/>
                  <a:gd name="T28" fmla="*/ 1070 w 1432"/>
                  <a:gd name="T29" fmla="*/ 307 h 498"/>
                  <a:gd name="T30" fmla="*/ 1037 w 1432"/>
                  <a:gd name="T31" fmla="*/ 342 h 498"/>
                  <a:gd name="T32" fmla="*/ 1028 w 1432"/>
                  <a:gd name="T33" fmla="*/ 401 h 498"/>
                  <a:gd name="T34" fmla="*/ 860 w 1432"/>
                  <a:gd name="T35" fmla="*/ 420 h 498"/>
                  <a:gd name="T36" fmla="*/ 749 w 1432"/>
                  <a:gd name="T37" fmla="*/ 432 h 498"/>
                  <a:gd name="T38" fmla="*/ 666 w 1432"/>
                  <a:gd name="T39" fmla="*/ 439 h 498"/>
                  <a:gd name="T40" fmla="*/ 584 w 1432"/>
                  <a:gd name="T41" fmla="*/ 449 h 498"/>
                  <a:gd name="T42" fmla="*/ 501 w 1432"/>
                  <a:gd name="T43" fmla="*/ 456 h 498"/>
                  <a:gd name="T44" fmla="*/ 418 w 1432"/>
                  <a:gd name="T45" fmla="*/ 463 h 498"/>
                  <a:gd name="T46" fmla="*/ 359 w 1432"/>
                  <a:gd name="T47" fmla="*/ 465 h 498"/>
                  <a:gd name="T48" fmla="*/ 319 w 1432"/>
                  <a:gd name="T49" fmla="*/ 475 h 498"/>
                  <a:gd name="T50" fmla="*/ 182 w 1432"/>
                  <a:gd name="T51" fmla="*/ 487 h 498"/>
                  <a:gd name="T52" fmla="*/ 42 w 1432"/>
                  <a:gd name="T53" fmla="*/ 496 h 498"/>
                  <a:gd name="T54" fmla="*/ 4 w 1432"/>
                  <a:gd name="T55" fmla="*/ 489 h 498"/>
                  <a:gd name="T56" fmla="*/ 26 w 1432"/>
                  <a:gd name="T57" fmla="*/ 430 h 498"/>
                  <a:gd name="T58" fmla="*/ 54 w 1432"/>
                  <a:gd name="T59" fmla="*/ 371 h 498"/>
                  <a:gd name="T60" fmla="*/ 75 w 1432"/>
                  <a:gd name="T61" fmla="*/ 323 h 498"/>
                  <a:gd name="T62" fmla="*/ 78 w 1432"/>
                  <a:gd name="T63" fmla="*/ 312 h 498"/>
                  <a:gd name="T64" fmla="*/ 82 w 1432"/>
                  <a:gd name="T65" fmla="*/ 302 h 498"/>
                  <a:gd name="T66" fmla="*/ 90 w 1432"/>
                  <a:gd name="T67" fmla="*/ 293 h 498"/>
                  <a:gd name="T68" fmla="*/ 87 w 1432"/>
                  <a:gd name="T69" fmla="*/ 276 h 498"/>
                  <a:gd name="T70" fmla="*/ 87 w 1432"/>
                  <a:gd name="T71" fmla="*/ 236 h 498"/>
                  <a:gd name="T72" fmla="*/ 101 w 1432"/>
                  <a:gd name="T73" fmla="*/ 227 h 498"/>
                  <a:gd name="T74" fmla="*/ 97 w 1432"/>
                  <a:gd name="T75" fmla="*/ 212 h 498"/>
                  <a:gd name="T76" fmla="*/ 108 w 1432"/>
                  <a:gd name="T77" fmla="*/ 191 h 498"/>
                  <a:gd name="T78" fmla="*/ 116 w 1432"/>
                  <a:gd name="T79" fmla="*/ 174 h 498"/>
                  <a:gd name="T80" fmla="*/ 123 w 1432"/>
                  <a:gd name="T81" fmla="*/ 174 h 498"/>
                  <a:gd name="T82" fmla="*/ 215 w 1432"/>
                  <a:gd name="T83" fmla="*/ 167 h 498"/>
                  <a:gd name="T84" fmla="*/ 302 w 1432"/>
                  <a:gd name="T85" fmla="*/ 160 h 498"/>
                  <a:gd name="T86" fmla="*/ 359 w 1432"/>
                  <a:gd name="T87" fmla="*/ 156 h 498"/>
                  <a:gd name="T88" fmla="*/ 350 w 1432"/>
                  <a:gd name="T89" fmla="*/ 115 h 498"/>
                  <a:gd name="T90" fmla="*/ 392 w 1432"/>
                  <a:gd name="T91" fmla="*/ 122 h 498"/>
                  <a:gd name="T92" fmla="*/ 560 w 1432"/>
                  <a:gd name="T93" fmla="*/ 101 h 498"/>
                  <a:gd name="T94" fmla="*/ 732 w 1432"/>
                  <a:gd name="T95" fmla="*/ 87 h 498"/>
                  <a:gd name="T96" fmla="*/ 910 w 1432"/>
                  <a:gd name="T97" fmla="*/ 73 h 498"/>
                  <a:gd name="T98" fmla="*/ 1085 w 1432"/>
                  <a:gd name="T99" fmla="*/ 56 h 498"/>
                  <a:gd name="T100" fmla="*/ 1089 w 1432"/>
                  <a:gd name="T101" fmla="*/ 54 h 498"/>
                  <a:gd name="T102" fmla="*/ 1092 w 1432"/>
                  <a:gd name="T103" fmla="*/ 52 h 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32" h="498">
                    <a:moveTo>
                      <a:pt x="1094" y="49"/>
                    </a:moveTo>
                    <a:lnTo>
                      <a:pt x="1134" y="44"/>
                    </a:lnTo>
                    <a:lnTo>
                      <a:pt x="1215" y="35"/>
                    </a:lnTo>
                    <a:lnTo>
                      <a:pt x="1271" y="26"/>
                    </a:lnTo>
                    <a:lnTo>
                      <a:pt x="1319" y="18"/>
                    </a:lnTo>
                    <a:lnTo>
                      <a:pt x="1347" y="14"/>
                    </a:lnTo>
                    <a:lnTo>
                      <a:pt x="1383" y="9"/>
                    </a:lnTo>
                    <a:lnTo>
                      <a:pt x="1390" y="4"/>
                    </a:lnTo>
                    <a:lnTo>
                      <a:pt x="1409" y="2"/>
                    </a:lnTo>
                    <a:lnTo>
                      <a:pt x="1432" y="0"/>
                    </a:lnTo>
                    <a:lnTo>
                      <a:pt x="1427" y="16"/>
                    </a:lnTo>
                    <a:lnTo>
                      <a:pt x="1427" y="28"/>
                    </a:lnTo>
                    <a:lnTo>
                      <a:pt x="1425" y="44"/>
                    </a:lnTo>
                    <a:lnTo>
                      <a:pt x="1427" y="54"/>
                    </a:lnTo>
                    <a:lnTo>
                      <a:pt x="1416" y="56"/>
                    </a:lnTo>
                    <a:lnTo>
                      <a:pt x="1409" y="61"/>
                    </a:lnTo>
                    <a:lnTo>
                      <a:pt x="1399" y="68"/>
                    </a:lnTo>
                    <a:lnTo>
                      <a:pt x="1383" y="111"/>
                    </a:lnTo>
                    <a:lnTo>
                      <a:pt x="1373" y="115"/>
                    </a:lnTo>
                    <a:lnTo>
                      <a:pt x="1359" y="108"/>
                    </a:lnTo>
                    <a:lnTo>
                      <a:pt x="1340" y="115"/>
                    </a:lnTo>
                    <a:lnTo>
                      <a:pt x="1328" y="125"/>
                    </a:lnTo>
                    <a:lnTo>
                      <a:pt x="1314" y="146"/>
                    </a:lnTo>
                    <a:lnTo>
                      <a:pt x="1307" y="153"/>
                    </a:lnTo>
                    <a:lnTo>
                      <a:pt x="1302" y="156"/>
                    </a:lnTo>
                    <a:lnTo>
                      <a:pt x="1297" y="156"/>
                    </a:lnTo>
                    <a:lnTo>
                      <a:pt x="1295" y="153"/>
                    </a:lnTo>
                    <a:lnTo>
                      <a:pt x="1293" y="144"/>
                    </a:lnTo>
                    <a:lnTo>
                      <a:pt x="1290" y="141"/>
                    </a:lnTo>
                    <a:lnTo>
                      <a:pt x="1283" y="141"/>
                    </a:lnTo>
                    <a:lnTo>
                      <a:pt x="1276" y="146"/>
                    </a:lnTo>
                    <a:lnTo>
                      <a:pt x="1267" y="153"/>
                    </a:lnTo>
                    <a:lnTo>
                      <a:pt x="1260" y="167"/>
                    </a:lnTo>
                    <a:lnTo>
                      <a:pt x="1245" y="167"/>
                    </a:lnTo>
                    <a:lnTo>
                      <a:pt x="1243" y="170"/>
                    </a:lnTo>
                    <a:lnTo>
                      <a:pt x="1243" y="184"/>
                    </a:lnTo>
                    <a:lnTo>
                      <a:pt x="1238" y="193"/>
                    </a:lnTo>
                    <a:lnTo>
                      <a:pt x="1234" y="200"/>
                    </a:lnTo>
                    <a:lnTo>
                      <a:pt x="1212" y="210"/>
                    </a:lnTo>
                    <a:lnTo>
                      <a:pt x="1186" y="234"/>
                    </a:lnTo>
                    <a:lnTo>
                      <a:pt x="1151" y="260"/>
                    </a:lnTo>
                    <a:lnTo>
                      <a:pt x="1115" y="269"/>
                    </a:lnTo>
                    <a:lnTo>
                      <a:pt x="1101" y="276"/>
                    </a:lnTo>
                    <a:lnTo>
                      <a:pt x="1092" y="281"/>
                    </a:lnTo>
                    <a:lnTo>
                      <a:pt x="1070" y="307"/>
                    </a:lnTo>
                    <a:lnTo>
                      <a:pt x="1066" y="333"/>
                    </a:lnTo>
                    <a:lnTo>
                      <a:pt x="1054" y="340"/>
                    </a:lnTo>
                    <a:lnTo>
                      <a:pt x="1037" y="342"/>
                    </a:lnTo>
                    <a:lnTo>
                      <a:pt x="1033" y="347"/>
                    </a:lnTo>
                    <a:lnTo>
                      <a:pt x="1028" y="357"/>
                    </a:lnTo>
                    <a:lnTo>
                      <a:pt x="1028" y="401"/>
                    </a:lnTo>
                    <a:lnTo>
                      <a:pt x="974" y="409"/>
                    </a:lnTo>
                    <a:lnTo>
                      <a:pt x="917" y="416"/>
                    </a:lnTo>
                    <a:lnTo>
                      <a:pt x="860" y="420"/>
                    </a:lnTo>
                    <a:lnTo>
                      <a:pt x="806" y="427"/>
                    </a:lnTo>
                    <a:lnTo>
                      <a:pt x="777" y="430"/>
                    </a:lnTo>
                    <a:lnTo>
                      <a:pt x="749" y="432"/>
                    </a:lnTo>
                    <a:lnTo>
                      <a:pt x="721" y="435"/>
                    </a:lnTo>
                    <a:lnTo>
                      <a:pt x="695" y="437"/>
                    </a:lnTo>
                    <a:lnTo>
                      <a:pt x="666" y="439"/>
                    </a:lnTo>
                    <a:lnTo>
                      <a:pt x="638" y="444"/>
                    </a:lnTo>
                    <a:lnTo>
                      <a:pt x="612" y="446"/>
                    </a:lnTo>
                    <a:lnTo>
                      <a:pt x="584" y="449"/>
                    </a:lnTo>
                    <a:lnTo>
                      <a:pt x="555" y="451"/>
                    </a:lnTo>
                    <a:lnTo>
                      <a:pt x="527" y="453"/>
                    </a:lnTo>
                    <a:lnTo>
                      <a:pt x="501" y="456"/>
                    </a:lnTo>
                    <a:lnTo>
                      <a:pt x="472" y="458"/>
                    </a:lnTo>
                    <a:lnTo>
                      <a:pt x="444" y="461"/>
                    </a:lnTo>
                    <a:lnTo>
                      <a:pt x="418" y="463"/>
                    </a:lnTo>
                    <a:lnTo>
                      <a:pt x="390" y="463"/>
                    </a:lnTo>
                    <a:lnTo>
                      <a:pt x="361" y="465"/>
                    </a:lnTo>
                    <a:lnTo>
                      <a:pt x="359" y="465"/>
                    </a:lnTo>
                    <a:lnTo>
                      <a:pt x="361" y="468"/>
                    </a:lnTo>
                    <a:lnTo>
                      <a:pt x="366" y="472"/>
                    </a:lnTo>
                    <a:lnTo>
                      <a:pt x="319" y="475"/>
                    </a:lnTo>
                    <a:lnTo>
                      <a:pt x="272" y="480"/>
                    </a:lnTo>
                    <a:lnTo>
                      <a:pt x="227" y="482"/>
                    </a:lnTo>
                    <a:lnTo>
                      <a:pt x="182" y="487"/>
                    </a:lnTo>
                    <a:lnTo>
                      <a:pt x="134" y="489"/>
                    </a:lnTo>
                    <a:lnTo>
                      <a:pt x="90" y="491"/>
                    </a:lnTo>
                    <a:lnTo>
                      <a:pt x="42" y="496"/>
                    </a:lnTo>
                    <a:lnTo>
                      <a:pt x="0" y="498"/>
                    </a:lnTo>
                    <a:lnTo>
                      <a:pt x="0" y="498"/>
                    </a:lnTo>
                    <a:lnTo>
                      <a:pt x="4" y="489"/>
                    </a:lnTo>
                    <a:lnTo>
                      <a:pt x="23" y="472"/>
                    </a:lnTo>
                    <a:lnTo>
                      <a:pt x="30" y="453"/>
                    </a:lnTo>
                    <a:lnTo>
                      <a:pt x="26" y="430"/>
                    </a:lnTo>
                    <a:lnTo>
                      <a:pt x="33" y="409"/>
                    </a:lnTo>
                    <a:lnTo>
                      <a:pt x="49" y="390"/>
                    </a:lnTo>
                    <a:lnTo>
                      <a:pt x="54" y="371"/>
                    </a:lnTo>
                    <a:lnTo>
                      <a:pt x="49" y="352"/>
                    </a:lnTo>
                    <a:lnTo>
                      <a:pt x="56" y="335"/>
                    </a:lnTo>
                    <a:lnTo>
                      <a:pt x="75" y="323"/>
                    </a:lnTo>
                    <a:lnTo>
                      <a:pt x="78" y="319"/>
                    </a:lnTo>
                    <a:lnTo>
                      <a:pt x="78" y="314"/>
                    </a:lnTo>
                    <a:lnTo>
                      <a:pt x="78" y="312"/>
                    </a:lnTo>
                    <a:lnTo>
                      <a:pt x="78" y="309"/>
                    </a:lnTo>
                    <a:lnTo>
                      <a:pt x="78" y="305"/>
                    </a:lnTo>
                    <a:lnTo>
                      <a:pt x="82" y="302"/>
                    </a:lnTo>
                    <a:lnTo>
                      <a:pt x="87" y="302"/>
                    </a:lnTo>
                    <a:lnTo>
                      <a:pt x="90" y="297"/>
                    </a:lnTo>
                    <a:lnTo>
                      <a:pt x="90" y="293"/>
                    </a:lnTo>
                    <a:lnTo>
                      <a:pt x="85" y="286"/>
                    </a:lnTo>
                    <a:lnTo>
                      <a:pt x="87" y="281"/>
                    </a:lnTo>
                    <a:lnTo>
                      <a:pt x="87" y="276"/>
                    </a:lnTo>
                    <a:lnTo>
                      <a:pt x="94" y="260"/>
                    </a:lnTo>
                    <a:lnTo>
                      <a:pt x="97" y="245"/>
                    </a:lnTo>
                    <a:lnTo>
                      <a:pt x="87" y="236"/>
                    </a:lnTo>
                    <a:lnTo>
                      <a:pt x="92" y="229"/>
                    </a:lnTo>
                    <a:lnTo>
                      <a:pt x="97" y="227"/>
                    </a:lnTo>
                    <a:lnTo>
                      <a:pt x="101" y="227"/>
                    </a:lnTo>
                    <a:lnTo>
                      <a:pt x="104" y="224"/>
                    </a:lnTo>
                    <a:lnTo>
                      <a:pt x="104" y="219"/>
                    </a:lnTo>
                    <a:lnTo>
                      <a:pt x="97" y="212"/>
                    </a:lnTo>
                    <a:lnTo>
                      <a:pt x="99" y="208"/>
                    </a:lnTo>
                    <a:lnTo>
                      <a:pt x="106" y="200"/>
                    </a:lnTo>
                    <a:lnTo>
                      <a:pt x="108" y="191"/>
                    </a:lnTo>
                    <a:lnTo>
                      <a:pt x="104" y="174"/>
                    </a:lnTo>
                    <a:lnTo>
                      <a:pt x="116" y="174"/>
                    </a:lnTo>
                    <a:lnTo>
                      <a:pt x="116" y="174"/>
                    </a:lnTo>
                    <a:lnTo>
                      <a:pt x="118" y="177"/>
                    </a:lnTo>
                    <a:lnTo>
                      <a:pt x="123" y="174"/>
                    </a:lnTo>
                    <a:lnTo>
                      <a:pt x="123" y="174"/>
                    </a:lnTo>
                    <a:lnTo>
                      <a:pt x="156" y="172"/>
                    </a:lnTo>
                    <a:lnTo>
                      <a:pt x="184" y="170"/>
                    </a:lnTo>
                    <a:lnTo>
                      <a:pt x="215" y="167"/>
                    </a:lnTo>
                    <a:lnTo>
                      <a:pt x="243" y="165"/>
                    </a:lnTo>
                    <a:lnTo>
                      <a:pt x="272" y="163"/>
                    </a:lnTo>
                    <a:lnTo>
                      <a:pt x="302" y="160"/>
                    </a:lnTo>
                    <a:lnTo>
                      <a:pt x="331" y="158"/>
                    </a:lnTo>
                    <a:lnTo>
                      <a:pt x="357" y="156"/>
                    </a:lnTo>
                    <a:lnTo>
                      <a:pt x="359" y="156"/>
                    </a:lnTo>
                    <a:lnTo>
                      <a:pt x="357" y="137"/>
                    </a:lnTo>
                    <a:lnTo>
                      <a:pt x="347" y="115"/>
                    </a:lnTo>
                    <a:lnTo>
                      <a:pt x="350" y="115"/>
                    </a:lnTo>
                    <a:lnTo>
                      <a:pt x="371" y="115"/>
                    </a:lnTo>
                    <a:lnTo>
                      <a:pt x="387" y="115"/>
                    </a:lnTo>
                    <a:lnTo>
                      <a:pt x="392" y="122"/>
                    </a:lnTo>
                    <a:lnTo>
                      <a:pt x="449" y="115"/>
                    </a:lnTo>
                    <a:lnTo>
                      <a:pt x="503" y="108"/>
                    </a:lnTo>
                    <a:lnTo>
                      <a:pt x="560" y="101"/>
                    </a:lnTo>
                    <a:lnTo>
                      <a:pt x="617" y="94"/>
                    </a:lnTo>
                    <a:lnTo>
                      <a:pt x="676" y="92"/>
                    </a:lnTo>
                    <a:lnTo>
                      <a:pt x="732" y="87"/>
                    </a:lnTo>
                    <a:lnTo>
                      <a:pt x="792" y="82"/>
                    </a:lnTo>
                    <a:lnTo>
                      <a:pt x="851" y="78"/>
                    </a:lnTo>
                    <a:lnTo>
                      <a:pt x="910" y="73"/>
                    </a:lnTo>
                    <a:lnTo>
                      <a:pt x="969" y="66"/>
                    </a:lnTo>
                    <a:lnTo>
                      <a:pt x="1026" y="61"/>
                    </a:lnTo>
                    <a:lnTo>
                      <a:pt x="1085" y="56"/>
                    </a:lnTo>
                    <a:lnTo>
                      <a:pt x="1087" y="54"/>
                    </a:lnTo>
                    <a:lnTo>
                      <a:pt x="1087" y="54"/>
                    </a:lnTo>
                    <a:lnTo>
                      <a:pt x="1089" y="54"/>
                    </a:lnTo>
                    <a:lnTo>
                      <a:pt x="1089" y="52"/>
                    </a:lnTo>
                    <a:lnTo>
                      <a:pt x="1092" y="52"/>
                    </a:lnTo>
                    <a:lnTo>
                      <a:pt x="1092" y="52"/>
                    </a:lnTo>
                    <a:lnTo>
                      <a:pt x="1094" y="52"/>
                    </a:lnTo>
                    <a:lnTo>
                      <a:pt x="1094" y="4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28" name="Freeform 86">
                <a:extLst>
                  <a:ext uri="{FF2B5EF4-FFF2-40B4-BE49-F238E27FC236}">
                    <a16:creationId xmlns:a16="http://schemas.microsoft.com/office/drawing/2014/main" id="{27BDD856-8CA0-4602-F261-645FD60DAA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92" y="1799"/>
                <a:ext cx="2366" cy="2301"/>
              </a:xfrm>
              <a:custGeom>
                <a:avLst/>
                <a:gdLst>
                  <a:gd name="T0" fmla="*/ 2226 w 2366"/>
                  <a:gd name="T1" fmla="*/ 658 h 2301"/>
                  <a:gd name="T2" fmla="*/ 2264 w 2366"/>
                  <a:gd name="T3" fmla="*/ 804 h 2301"/>
                  <a:gd name="T4" fmla="*/ 2295 w 2366"/>
                  <a:gd name="T5" fmla="*/ 1017 h 2301"/>
                  <a:gd name="T6" fmla="*/ 2340 w 2366"/>
                  <a:gd name="T7" fmla="*/ 1133 h 2301"/>
                  <a:gd name="T8" fmla="*/ 2359 w 2366"/>
                  <a:gd name="T9" fmla="*/ 1239 h 2301"/>
                  <a:gd name="T10" fmla="*/ 2340 w 2366"/>
                  <a:gd name="T11" fmla="*/ 1391 h 2301"/>
                  <a:gd name="T12" fmla="*/ 2181 w 2366"/>
                  <a:gd name="T13" fmla="*/ 1528 h 2301"/>
                  <a:gd name="T14" fmla="*/ 2151 w 2366"/>
                  <a:gd name="T15" fmla="*/ 1471 h 2301"/>
                  <a:gd name="T16" fmla="*/ 2125 w 2366"/>
                  <a:gd name="T17" fmla="*/ 1552 h 2301"/>
                  <a:gd name="T18" fmla="*/ 1945 w 2366"/>
                  <a:gd name="T19" fmla="*/ 1710 h 2301"/>
                  <a:gd name="T20" fmla="*/ 1846 w 2366"/>
                  <a:gd name="T21" fmla="*/ 1705 h 2301"/>
                  <a:gd name="T22" fmla="*/ 1817 w 2366"/>
                  <a:gd name="T23" fmla="*/ 1741 h 2301"/>
                  <a:gd name="T24" fmla="*/ 1763 w 2366"/>
                  <a:gd name="T25" fmla="*/ 1797 h 2301"/>
                  <a:gd name="T26" fmla="*/ 1697 w 2366"/>
                  <a:gd name="T27" fmla="*/ 1814 h 2301"/>
                  <a:gd name="T28" fmla="*/ 1650 w 2366"/>
                  <a:gd name="T29" fmla="*/ 1873 h 2301"/>
                  <a:gd name="T30" fmla="*/ 1579 w 2366"/>
                  <a:gd name="T31" fmla="*/ 1958 h 2301"/>
                  <a:gd name="T32" fmla="*/ 1628 w 2366"/>
                  <a:gd name="T33" fmla="*/ 2110 h 2301"/>
                  <a:gd name="T34" fmla="*/ 1668 w 2366"/>
                  <a:gd name="T35" fmla="*/ 2284 h 2301"/>
                  <a:gd name="T36" fmla="*/ 1512 w 2366"/>
                  <a:gd name="T37" fmla="*/ 2256 h 2301"/>
                  <a:gd name="T38" fmla="*/ 1333 w 2366"/>
                  <a:gd name="T39" fmla="*/ 2178 h 2301"/>
                  <a:gd name="T40" fmla="*/ 1255 w 2366"/>
                  <a:gd name="T41" fmla="*/ 2034 h 2301"/>
                  <a:gd name="T42" fmla="*/ 1248 w 2366"/>
                  <a:gd name="T43" fmla="*/ 1930 h 2301"/>
                  <a:gd name="T44" fmla="*/ 1099 w 2366"/>
                  <a:gd name="T45" fmla="*/ 1734 h 2301"/>
                  <a:gd name="T46" fmla="*/ 999 w 2366"/>
                  <a:gd name="T47" fmla="*/ 1540 h 2301"/>
                  <a:gd name="T48" fmla="*/ 891 w 2366"/>
                  <a:gd name="T49" fmla="*/ 1433 h 2301"/>
                  <a:gd name="T50" fmla="*/ 744 w 2366"/>
                  <a:gd name="T51" fmla="*/ 1407 h 2301"/>
                  <a:gd name="T52" fmla="*/ 631 w 2366"/>
                  <a:gd name="T53" fmla="*/ 1537 h 2301"/>
                  <a:gd name="T54" fmla="*/ 453 w 2366"/>
                  <a:gd name="T55" fmla="*/ 1507 h 2301"/>
                  <a:gd name="T56" fmla="*/ 314 w 2366"/>
                  <a:gd name="T57" fmla="*/ 1346 h 2301"/>
                  <a:gd name="T58" fmla="*/ 134 w 2366"/>
                  <a:gd name="T59" fmla="*/ 1060 h 2301"/>
                  <a:gd name="T60" fmla="*/ 11 w 2366"/>
                  <a:gd name="T61" fmla="*/ 923 h 2301"/>
                  <a:gd name="T62" fmla="*/ 241 w 2366"/>
                  <a:gd name="T63" fmla="*/ 908 h 2301"/>
                  <a:gd name="T64" fmla="*/ 565 w 2366"/>
                  <a:gd name="T65" fmla="*/ 939 h 2301"/>
                  <a:gd name="T66" fmla="*/ 673 w 2366"/>
                  <a:gd name="T67" fmla="*/ 592 h 2301"/>
                  <a:gd name="T68" fmla="*/ 713 w 2366"/>
                  <a:gd name="T69" fmla="*/ 119 h 2301"/>
                  <a:gd name="T70" fmla="*/ 888 w 2366"/>
                  <a:gd name="T71" fmla="*/ 12 h 2301"/>
                  <a:gd name="T72" fmla="*/ 1141 w 2366"/>
                  <a:gd name="T73" fmla="*/ 26 h 2301"/>
                  <a:gd name="T74" fmla="*/ 1231 w 2366"/>
                  <a:gd name="T75" fmla="*/ 159 h 2301"/>
                  <a:gd name="T76" fmla="*/ 1224 w 2366"/>
                  <a:gd name="T77" fmla="*/ 360 h 2301"/>
                  <a:gd name="T78" fmla="*/ 1300 w 2366"/>
                  <a:gd name="T79" fmla="*/ 476 h 2301"/>
                  <a:gd name="T80" fmla="*/ 1359 w 2366"/>
                  <a:gd name="T81" fmla="*/ 497 h 2301"/>
                  <a:gd name="T82" fmla="*/ 1479 w 2366"/>
                  <a:gd name="T83" fmla="*/ 549 h 2301"/>
                  <a:gd name="T84" fmla="*/ 1572 w 2366"/>
                  <a:gd name="T85" fmla="*/ 570 h 2301"/>
                  <a:gd name="T86" fmla="*/ 1626 w 2366"/>
                  <a:gd name="T87" fmla="*/ 573 h 2301"/>
                  <a:gd name="T88" fmla="*/ 1678 w 2366"/>
                  <a:gd name="T89" fmla="*/ 606 h 2301"/>
                  <a:gd name="T90" fmla="*/ 1711 w 2366"/>
                  <a:gd name="T91" fmla="*/ 625 h 2301"/>
                  <a:gd name="T92" fmla="*/ 1744 w 2366"/>
                  <a:gd name="T93" fmla="*/ 587 h 2301"/>
                  <a:gd name="T94" fmla="*/ 1803 w 2366"/>
                  <a:gd name="T95" fmla="*/ 594 h 2301"/>
                  <a:gd name="T96" fmla="*/ 1862 w 2366"/>
                  <a:gd name="T97" fmla="*/ 634 h 2301"/>
                  <a:gd name="T98" fmla="*/ 1983 w 2366"/>
                  <a:gd name="T99" fmla="*/ 589 h 2301"/>
                  <a:gd name="T100" fmla="*/ 2051 w 2366"/>
                  <a:gd name="T101" fmla="*/ 582 h 2301"/>
                  <a:gd name="T102" fmla="*/ 2096 w 2366"/>
                  <a:gd name="T103" fmla="*/ 1599 h 2301"/>
                  <a:gd name="T104" fmla="*/ 1765 w 2366"/>
                  <a:gd name="T105" fmla="*/ 1814 h 2301"/>
                  <a:gd name="T106" fmla="*/ 1813 w 2366"/>
                  <a:gd name="T107" fmla="*/ 1786 h 2301"/>
                  <a:gd name="T108" fmla="*/ 1758 w 2366"/>
                  <a:gd name="T109" fmla="*/ 1826 h 2301"/>
                  <a:gd name="T110" fmla="*/ 1716 w 2366"/>
                  <a:gd name="T111" fmla="*/ 1883 h 2301"/>
                  <a:gd name="T112" fmla="*/ 1652 w 2366"/>
                  <a:gd name="T113" fmla="*/ 2015 h 2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366" h="2301">
                    <a:moveTo>
                      <a:pt x="2184" y="646"/>
                    </a:moveTo>
                    <a:lnTo>
                      <a:pt x="2193" y="655"/>
                    </a:lnTo>
                    <a:lnTo>
                      <a:pt x="2200" y="658"/>
                    </a:lnTo>
                    <a:lnTo>
                      <a:pt x="2203" y="662"/>
                    </a:lnTo>
                    <a:lnTo>
                      <a:pt x="2205" y="662"/>
                    </a:lnTo>
                    <a:lnTo>
                      <a:pt x="2210" y="662"/>
                    </a:lnTo>
                    <a:lnTo>
                      <a:pt x="2217" y="658"/>
                    </a:lnTo>
                    <a:lnTo>
                      <a:pt x="2226" y="658"/>
                    </a:lnTo>
                    <a:lnTo>
                      <a:pt x="2236" y="658"/>
                    </a:lnTo>
                    <a:lnTo>
                      <a:pt x="2252" y="658"/>
                    </a:lnTo>
                    <a:lnTo>
                      <a:pt x="2262" y="662"/>
                    </a:lnTo>
                    <a:lnTo>
                      <a:pt x="2262" y="691"/>
                    </a:lnTo>
                    <a:lnTo>
                      <a:pt x="2262" y="722"/>
                    </a:lnTo>
                    <a:lnTo>
                      <a:pt x="2264" y="750"/>
                    </a:lnTo>
                    <a:lnTo>
                      <a:pt x="2264" y="778"/>
                    </a:lnTo>
                    <a:lnTo>
                      <a:pt x="2264" y="804"/>
                    </a:lnTo>
                    <a:lnTo>
                      <a:pt x="2266" y="830"/>
                    </a:lnTo>
                    <a:lnTo>
                      <a:pt x="2266" y="859"/>
                    </a:lnTo>
                    <a:lnTo>
                      <a:pt x="2266" y="885"/>
                    </a:lnTo>
                    <a:lnTo>
                      <a:pt x="2266" y="911"/>
                    </a:lnTo>
                    <a:lnTo>
                      <a:pt x="2269" y="939"/>
                    </a:lnTo>
                    <a:lnTo>
                      <a:pt x="2269" y="965"/>
                    </a:lnTo>
                    <a:lnTo>
                      <a:pt x="2269" y="991"/>
                    </a:lnTo>
                    <a:lnTo>
                      <a:pt x="2295" y="1017"/>
                    </a:lnTo>
                    <a:lnTo>
                      <a:pt x="2307" y="1034"/>
                    </a:lnTo>
                    <a:lnTo>
                      <a:pt x="2309" y="1043"/>
                    </a:lnTo>
                    <a:lnTo>
                      <a:pt x="2311" y="1074"/>
                    </a:lnTo>
                    <a:lnTo>
                      <a:pt x="2314" y="1081"/>
                    </a:lnTo>
                    <a:lnTo>
                      <a:pt x="2326" y="1093"/>
                    </a:lnTo>
                    <a:lnTo>
                      <a:pt x="2328" y="1100"/>
                    </a:lnTo>
                    <a:lnTo>
                      <a:pt x="2340" y="1124"/>
                    </a:lnTo>
                    <a:lnTo>
                      <a:pt x="2340" y="1133"/>
                    </a:lnTo>
                    <a:lnTo>
                      <a:pt x="2354" y="1157"/>
                    </a:lnTo>
                    <a:lnTo>
                      <a:pt x="2361" y="1164"/>
                    </a:lnTo>
                    <a:lnTo>
                      <a:pt x="2363" y="1180"/>
                    </a:lnTo>
                    <a:lnTo>
                      <a:pt x="2366" y="1192"/>
                    </a:lnTo>
                    <a:lnTo>
                      <a:pt x="2361" y="1202"/>
                    </a:lnTo>
                    <a:lnTo>
                      <a:pt x="2363" y="1213"/>
                    </a:lnTo>
                    <a:lnTo>
                      <a:pt x="2361" y="1223"/>
                    </a:lnTo>
                    <a:lnTo>
                      <a:pt x="2359" y="1239"/>
                    </a:lnTo>
                    <a:lnTo>
                      <a:pt x="2352" y="1263"/>
                    </a:lnTo>
                    <a:lnTo>
                      <a:pt x="2344" y="1275"/>
                    </a:lnTo>
                    <a:lnTo>
                      <a:pt x="2335" y="1296"/>
                    </a:lnTo>
                    <a:lnTo>
                      <a:pt x="2335" y="1313"/>
                    </a:lnTo>
                    <a:lnTo>
                      <a:pt x="2330" y="1334"/>
                    </a:lnTo>
                    <a:lnTo>
                      <a:pt x="2330" y="1341"/>
                    </a:lnTo>
                    <a:lnTo>
                      <a:pt x="2335" y="1355"/>
                    </a:lnTo>
                    <a:lnTo>
                      <a:pt x="2340" y="1391"/>
                    </a:lnTo>
                    <a:lnTo>
                      <a:pt x="2335" y="1398"/>
                    </a:lnTo>
                    <a:lnTo>
                      <a:pt x="2323" y="1419"/>
                    </a:lnTo>
                    <a:lnTo>
                      <a:pt x="2316" y="1419"/>
                    </a:lnTo>
                    <a:lnTo>
                      <a:pt x="2297" y="1455"/>
                    </a:lnTo>
                    <a:lnTo>
                      <a:pt x="2309" y="1473"/>
                    </a:lnTo>
                    <a:lnTo>
                      <a:pt x="2309" y="1481"/>
                    </a:lnTo>
                    <a:lnTo>
                      <a:pt x="2269" y="1485"/>
                    </a:lnTo>
                    <a:lnTo>
                      <a:pt x="2181" y="1528"/>
                    </a:lnTo>
                    <a:lnTo>
                      <a:pt x="2148" y="1549"/>
                    </a:lnTo>
                    <a:lnTo>
                      <a:pt x="2148" y="1542"/>
                    </a:lnTo>
                    <a:lnTo>
                      <a:pt x="2191" y="1514"/>
                    </a:lnTo>
                    <a:lnTo>
                      <a:pt x="2177" y="1509"/>
                    </a:lnTo>
                    <a:lnTo>
                      <a:pt x="2153" y="1516"/>
                    </a:lnTo>
                    <a:lnTo>
                      <a:pt x="2144" y="1514"/>
                    </a:lnTo>
                    <a:lnTo>
                      <a:pt x="2153" y="1492"/>
                    </a:lnTo>
                    <a:lnTo>
                      <a:pt x="2151" y="1471"/>
                    </a:lnTo>
                    <a:lnTo>
                      <a:pt x="2134" y="1471"/>
                    </a:lnTo>
                    <a:lnTo>
                      <a:pt x="2122" y="1488"/>
                    </a:lnTo>
                    <a:lnTo>
                      <a:pt x="2115" y="1485"/>
                    </a:lnTo>
                    <a:lnTo>
                      <a:pt x="2106" y="1481"/>
                    </a:lnTo>
                    <a:lnTo>
                      <a:pt x="2099" y="1483"/>
                    </a:lnTo>
                    <a:lnTo>
                      <a:pt x="2103" y="1518"/>
                    </a:lnTo>
                    <a:lnTo>
                      <a:pt x="2115" y="1533"/>
                    </a:lnTo>
                    <a:lnTo>
                      <a:pt x="2125" y="1552"/>
                    </a:lnTo>
                    <a:lnTo>
                      <a:pt x="2099" y="1575"/>
                    </a:lnTo>
                    <a:lnTo>
                      <a:pt x="2077" y="1596"/>
                    </a:lnTo>
                    <a:lnTo>
                      <a:pt x="2075" y="1615"/>
                    </a:lnTo>
                    <a:lnTo>
                      <a:pt x="2054" y="1639"/>
                    </a:lnTo>
                    <a:lnTo>
                      <a:pt x="2032" y="1653"/>
                    </a:lnTo>
                    <a:lnTo>
                      <a:pt x="1980" y="1686"/>
                    </a:lnTo>
                    <a:lnTo>
                      <a:pt x="1966" y="1693"/>
                    </a:lnTo>
                    <a:lnTo>
                      <a:pt x="1945" y="1710"/>
                    </a:lnTo>
                    <a:lnTo>
                      <a:pt x="1912" y="1719"/>
                    </a:lnTo>
                    <a:lnTo>
                      <a:pt x="1884" y="1738"/>
                    </a:lnTo>
                    <a:lnTo>
                      <a:pt x="1872" y="1741"/>
                    </a:lnTo>
                    <a:lnTo>
                      <a:pt x="1891" y="1726"/>
                    </a:lnTo>
                    <a:lnTo>
                      <a:pt x="1914" y="1710"/>
                    </a:lnTo>
                    <a:lnTo>
                      <a:pt x="1895" y="1712"/>
                    </a:lnTo>
                    <a:lnTo>
                      <a:pt x="1865" y="1705"/>
                    </a:lnTo>
                    <a:lnTo>
                      <a:pt x="1846" y="1705"/>
                    </a:lnTo>
                    <a:lnTo>
                      <a:pt x="1846" y="1710"/>
                    </a:lnTo>
                    <a:lnTo>
                      <a:pt x="1832" y="1719"/>
                    </a:lnTo>
                    <a:lnTo>
                      <a:pt x="1817" y="1708"/>
                    </a:lnTo>
                    <a:lnTo>
                      <a:pt x="1810" y="1700"/>
                    </a:lnTo>
                    <a:lnTo>
                      <a:pt x="1808" y="1693"/>
                    </a:lnTo>
                    <a:lnTo>
                      <a:pt x="1803" y="1691"/>
                    </a:lnTo>
                    <a:lnTo>
                      <a:pt x="1796" y="1693"/>
                    </a:lnTo>
                    <a:lnTo>
                      <a:pt x="1817" y="1741"/>
                    </a:lnTo>
                    <a:lnTo>
                      <a:pt x="1827" y="1743"/>
                    </a:lnTo>
                    <a:lnTo>
                      <a:pt x="1836" y="1748"/>
                    </a:lnTo>
                    <a:lnTo>
                      <a:pt x="1824" y="1760"/>
                    </a:lnTo>
                    <a:lnTo>
                      <a:pt x="1810" y="1767"/>
                    </a:lnTo>
                    <a:lnTo>
                      <a:pt x="1789" y="1771"/>
                    </a:lnTo>
                    <a:lnTo>
                      <a:pt x="1770" y="1755"/>
                    </a:lnTo>
                    <a:lnTo>
                      <a:pt x="1765" y="1776"/>
                    </a:lnTo>
                    <a:lnTo>
                      <a:pt x="1763" y="1797"/>
                    </a:lnTo>
                    <a:lnTo>
                      <a:pt x="1758" y="1805"/>
                    </a:lnTo>
                    <a:lnTo>
                      <a:pt x="1749" y="1812"/>
                    </a:lnTo>
                    <a:lnTo>
                      <a:pt x="1742" y="1805"/>
                    </a:lnTo>
                    <a:lnTo>
                      <a:pt x="1739" y="1797"/>
                    </a:lnTo>
                    <a:lnTo>
                      <a:pt x="1735" y="1805"/>
                    </a:lnTo>
                    <a:lnTo>
                      <a:pt x="1725" y="1809"/>
                    </a:lnTo>
                    <a:lnTo>
                      <a:pt x="1709" y="1812"/>
                    </a:lnTo>
                    <a:lnTo>
                      <a:pt x="1697" y="1814"/>
                    </a:lnTo>
                    <a:lnTo>
                      <a:pt x="1697" y="1823"/>
                    </a:lnTo>
                    <a:lnTo>
                      <a:pt x="1702" y="1831"/>
                    </a:lnTo>
                    <a:lnTo>
                      <a:pt x="1720" y="1826"/>
                    </a:lnTo>
                    <a:lnTo>
                      <a:pt x="1713" y="1847"/>
                    </a:lnTo>
                    <a:lnTo>
                      <a:pt x="1694" y="1871"/>
                    </a:lnTo>
                    <a:lnTo>
                      <a:pt x="1678" y="1875"/>
                    </a:lnTo>
                    <a:lnTo>
                      <a:pt x="1657" y="1871"/>
                    </a:lnTo>
                    <a:lnTo>
                      <a:pt x="1650" y="1873"/>
                    </a:lnTo>
                    <a:lnTo>
                      <a:pt x="1645" y="1878"/>
                    </a:lnTo>
                    <a:lnTo>
                      <a:pt x="1671" y="1913"/>
                    </a:lnTo>
                    <a:lnTo>
                      <a:pt x="1654" y="1968"/>
                    </a:lnTo>
                    <a:lnTo>
                      <a:pt x="1642" y="1987"/>
                    </a:lnTo>
                    <a:lnTo>
                      <a:pt x="1633" y="1989"/>
                    </a:lnTo>
                    <a:lnTo>
                      <a:pt x="1626" y="1989"/>
                    </a:lnTo>
                    <a:lnTo>
                      <a:pt x="1595" y="1972"/>
                    </a:lnTo>
                    <a:lnTo>
                      <a:pt x="1579" y="1958"/>
                    </a:lnTo>
                    <a:lnTo>
                      <a:pt x="1593" y="1996"/>
                    </a:lnTo>
                    <a:lnTo>
                      <a:pt x="1633" y="2005"/>
                    </a:lnTo>
                    <a:lnTo>
                      <a:pt x="1635" y="2020"/>
                    </a:lnTo>
                    <a:lnTo>
                      <a:pt x="1633" y="2031"/>
                    </a:lnTo>
                    <a:lnTo>
                      <a:pt x="1626" y="2046"/>
                    </a:lnTo>
                    <a:lnTo>
                      <a:pt x="1619" y="2065"/>
                    </a:lnTo>
                    <a:lnTo>
                      <a:pt x="1624" y="2076"/>
                    </a:lnTo>
                    <a:lnTo>
                      <a:pt x="1628" y="2110"/>
                    </a:lnTo>
                    <a:lnTo>
                      <a:pt x="1635" y="2124"/>
                    </a:lnTo>
                    <a:lnTo>
                      <a:pt x="1640" y="2169"/>
                    </a:lnTo>
                    <a:lnTo>
                      <a:pt x="1645" y="2188"/>
                    </a:lnTo>
                    <a:lnTo>
                      <a:pt x="1680" y="2258"/>
                    </a:lnTo>
                    <a:lnTo>
                      <a:pt x="1692" y="2258"/>
                    </a:lnTo>
                    <a:lnTo>
                      <a:pt x="1694" y="2266"/>
                    </a:lnTo>
                    <a:lnTo>
                      <a:pt x="1694" y="2282"/>
                    </a:lnTo>
                    <a:lnTo>
                      <a:pt x="1668" y="2284"/>
                    </a:lnTo>
                    <a:lnTo>
                      <a:pt x="1657" y="2292"/>
                    </a:lnTo>
                    <a:lnTo>
                      <a:pt x="1654" y="2296"/>
                    </a:lnTo>
                    <a:lnTo>
                      <a:pt x="1652" y="2301"/>
                    </a:lnTo>
                    <a:lnTo>
                      <a:pt x="1650" y="2299"/>
                    </a:lnTo>
                    <a:lnTo>
                      <a:pt x="1635" y="2296"/>
                    </a:lnTo>
                    <a:lnTo>
                      <a:pt x="1607" y="2275"/>
                    </a:lnTo>
                    <a:lnTo>
                      <a:pt x="1567" y="2261"/>
                    </a:lnTo>
                    <a:lnTo>
                      <a:pt x="1512" y="2256"/>
                    </a:lnTo>
                    <a:lnTo>
                      <a:pt x="1475" y="2244"/>
                    </a:lnTo>
                    <a:lnTo>
                      <a:pt x="1456" y="2228"/>
                    </a:lnTo>
                    <a:lnTo>
                      <a:pt x="1434" y="2218"/>
                    </a:lnTo>
                    <a:lnTo>
                      <a:pt x="1413" y="2216"/>
                    </a:lnTo>
                    <a:lnTo>
                      <a:pt x="1397" y="2206"/>
                    </a:lnTo>
                    <a:lnTo>
                      <a:pt x="1382" y="2192"/>
                    </a:lnTo>
                    <a:lnTo>
                      <a:pt x="1361" y="2183"/>
                    </a:lnTo>
                    <a:lnTo>
                      <a:pt x="1333" y="2178"/>
                    </a:lnTo>
                    <a:lnTo>
                      <a:pt x="1316" y="2169"/>
                    </a:lnTo>
                    <a:lnTo>
                      <a:pt x="1304" y="2143"/>
                    </a:lnTo>
                    <a:lnTo>
                      <a:pt x="1304" y="2143"/>
                    </a:lnTo>
                    <a:lnTo>
                      <a:pt x="1295" y="2100"/>
                    </a:lnTo>
                    <a:lnTo>
                      <a:pt x="1283" y="2072"/>
                    </a:lnTo>
                    <a:lnTo>
                      <a:pt x="1257" y="2039"/>
                    </a:lnTo>
                    <a:lnTo>
                      <a:pt x="1255" y="2034"/>
                    </a:lnTo>
                    <a:lnTo>
                      <a:pt x="1255" y="2034"/>
                    </a:lnTo>
                    <a:lnTo>
                      <a:pt x="1255" y="2029"/>
                    </a:lnTo>
                    <a:lnTo>
                      <a:pt x="1257" y="2010"/>
                    </a:lnTo>
                    <a:lnTo>
                      <a:pt x="1255" y="1996"/>
                    </a:lnTo>
                    <a:lnTo>
                      <a:pt x="1248" y="1984"/>
                    </a:lnTo>
                    <a:lnTo>
                      <a:pt x="1245" y="1972"/>
                    </a:lnTo>
                    <a:lnTo>
                      <a:pt x="1250" y="1961"/>
                    </a:lnTo>
                    <a:lnTo>
                      <a:pt x="1252" y="1946"/>
                    </a:lnTo>
                    <a:lnTo>
                      <a:pt x="1248" y="1930"/>
                    </a:lnTo>
                    <a:lnTo>
                      <a:pt x="1231" y="1909"/>
                    </a:lnTo>
                    <a:lnTo>
                      <a:pt x="1203" y="1887"/>
                    </a:lnTo>
                    <a:lnTo>
                      <a:pt x="1179" y="1859"/>
                    </a:lnTo>
                    <a:lnTo>
                      <a:pt x="1158" y="1819"/>
                    </a:lnTo>
                    <a:lnTo>
                      <a:pt x="1139" y="1790"/>
                    </a:lnTo>
                    <a:lnTo>
                      <a:pt x="1120" y="1776"/>
                    </a:lnTo>
                    <a:lnTo>
                      <a:pt x="1106" y="1757"/>
                    </a:lnTo>
                    <a:lnTo>
                      <a:pt x="1099" y="1734"/>
                    </a:lnTo>
                    <a:lnTo>
                      <a:pt x="1099" y="1722"/>
                    </a:lnTo>
                    <a:lnTo>
                      <a:pt x="1101" y="1719"/>
                    </a:lnTo>
                    <a:lnTo>
                      <a:pt x="1089" y="1693"/>
                    </a:lnTo>
                    <a:lnTo>
                      <a:pt x="1063" y="1648"/>
                    </a:lnTo>
                    <a:lnTo>
                      <a:pt x="1049" y="1615"/>
                    </a:lnTo>
                    <a:lnTo>
                      <a:pt x="1047" y="1594"/>
                    </a:lnTo>
                    <a:lnTo>
                      <a:pt x="1030" y="1570"/>
                    </a:lnTo>
                    <a:lnTo>
                      <a:pt x="999" y="1540"/>
                    </a:lnTo>
                    <a:lnTo>
                      <a:pt x="983" y="1521"/>
                    </a:lnTo>
                    <a:lnTo>
                      <a:pt x="981" y="1509"/>
                    </a:lnTo>
                    <a:lnTo>
                      <a:pt x="978" y="1509"/>
                    </a:lnTo>
                    <a:lnTo>
                      <a:pt x="933" y="1469"/>
                    </a:lnTo>
                    <a:lnTo>
                      <a:pt x="919" y="1445"/>
                    </a:lnTo>
                    <a:lnTo>
                      <a:pt x="910" y="1436"/>
                    </a:lnTo>
                    <a:lnTo>
                      <a:pt x="895" y="1436"/>
                    </a:lnTo>
                    <a:lnTo>
                      <a:pt x="891" y="1433"/>
                    </a:lnTo>
                    <a:lnTo>
                      <a:pt x="891" y="1429"/>
                    </a:lnTo>
                    <a:lnTo>
                      <a:pt x="886" y="1429"/>
                    </a:lnTo>
                    <a:lnTo>
                      <a:pt x="877" y="1433"/>
                    </a:lnTo>
                    <a:lnTo>
                      <a:pt x="851" y="1431"/>
                    </a:lnTo>
                    <a:lnTo>
                      <a:pt x="808" y="1426"/>
                    </a:lnTo>
                    <a:lnTo>
                      <a:pt x="775" y="1419"/>
                    </a:lnTo>
                    <a:lnTo>
                      <a:pt x="756" y="1407"/>
                    </a:lnTo>
                    <a:lnTo>
                      <a:pt x="744" y="1407"/>
                    </a:lnTo>
                    <a:lnTo>
                      <a:pt x="735" y="1419"/>
                    </a:lnTo>
                    <a:lnTo>
                      <a:pt x="718" y="1426"/>
                    </a:lnTo>
                    <a:lnTo>
                      <a:pt x="692" y="1429"/>
                    </a:lnTo>
                    <a:lnTo>
                      <a:pt x="669" y="1450"/>
                    </a:lnTo>
                    <a:lnTo>
                      <a:pt x="645" y="1490"/>
                    </a:lnTo>
                    <a:lnTo>
                      <a:pt x="635" y="1516"/>
                    </a:lnTo>
                    <a:lnTo>
                      <a:pt x="638" y="1528"/>
                    </a:lnTo>
                    <a:lnTo>
                      <a:pt x="631" y="1537"/>
                    </a:lnTo>
                    <a:lnTo>
                      <a:pt x="619" y="1542"/>
                    </a:lnTo>
                    <a:lnTo>
                      <a:pt x="605" y="1554"/>
                    </a:lnTo>
                    <a:lnTo>
                      <a:pt x="591" y="1573"/>
                    </a:lnTo>
                    <a:lnTo>
                      <a:pt x="576" y="1580"/>
                    </a:lnTo>
                    <a:lnTo>
                      <a:pt x="560" y="1578"/>
                    </a:lnTo>
                    <a:lnTo>
                      <a:pt x="529" y="1561"/>
                    </a:lnTo>
                    <a:lnTo>
                      <a:pt x="487" y="1528"/>
                    </a:lnTo>
                    <a:lnTo>
                      <a:pt x="453" y="1507"/>
                    </a:lnTo>
                    <a:lnTo>
                      <a:pt x="430" y="1497"/>
                    </a:lnTo>
                    <a:lnTo>
                      <a:pt x="409" y="1483"/>
                    </a:lnTo>
                    <a:lnTo>
                      <a:pt x="390" y="1462"/>
                    </a:lnTo>
                    <a:lnTo>
                      <a:pt x="373" y="1445"/>
                    </a:lnTo>
                    <a:lnTo>
                      <a:pt x="357" y="1438"/>
                    </a:lnTo>
                    <a:lnTo>
                      <a:pt x="340" y="1414"/>
                    </a:lnTo>
                    <a:lnTo>
                      <a:pt x="323" y="1374"/>
                    </a:lnTo>
                    <a:lnTo>
                      <a:pt x="314" y="1346"/>
                    </a:lnTo>
                    <a:lnTo>
                      <a:pt x="316" y="1315"/>
                    </a:lnTo>
                    <a:lnTo>
                      <a:pt x="295" y="1246"/>
                    </a:lnTo>
                    <a:lnTo>
                      <a:pt x="283" y="1216"/>
                    </a:lnTo>
                    <a:lnTo>
                      <a:pt x="274" y="1202"/>
                    </a:lnTo>
                    <a:lnTo>
                      <a:pt x="253" y="1183"/>
                    </a:lnTo>
                    <a:lnTo>
                      <a:pt x="222" y="1161"/>
                    </a:lnTo>
                    <a:lnTo>
                      <a:pt x="184" y="1121"/>
                    </a:lnTo>
                    <a:lnTo>
                      <a:pt x="134" y="1060"/>
                    </a:lnTo>
                    <a:lnTo>
                      <a:pt x="99" y="1022"/>
                    </a:lnTo>
                    <a:lnTo>
                      <a:pt x="80" y="1010"/>
                    </a:lnTo>
                    <a:lnTo>
                      <a:pt x="61" y="986"/>
                    </a:lnTo>
                    <a:lnTo>
                      <a:pt x="49" y="958"/>
                    </a:lnTo>
                    <a:lnTo>
                      <a:pt x="35" y="937"/>
                    </a:lnTo>
                    <a:lnTo>
                      <a:pt x="33" y="937"/>
                    </a:lnTo>
                    <a:lnTo>
                      <a:pt x="11" y="923"/>
                    </a:lnTo>
                    <a:lnTo>
                      <a:pt x="11" y="923"/>
                    </a:lnTo>
                    <a:lnTo>
                      <a:pt x="0" y="882"/>
                    </a:lnTo>
                    <a:lnTo>
                      <a:pt x="0" y="882"/>
                    </a:lnTo>
                    <a:lnTo>
                      <a:pt x="40" y="887"/>
                    </a:lnTo>
                    <a:lnTo>
                      <a:pt x="80" y="892"/>
                    </a:lnTo>
                    <a:lnTo>
                      <a:pt x="120" y="897"/>
                    </a:lnTo>
                    <a:lnTo>
                      <a:pt x="160" y="901"/>
                    </a:lnTo>
                    <a:lnTo>
                      <a:pt x="201" y="906"/>
                    </a:lnTo>
                    <a:lnTo>
                      <a:pt x="241" y="908"/>
                    </a:lnTo>
                    <a:lnTo>
                      <a:pt x="281" y="913"/>
                    </a:lnTo>
                    <a:lnTo>
                      <a:pt x="321" y="918"/>
                    </a:lnTo>
                    <a:lnTo>
                      <a:pt x="361" y="920"/>
                    </a:lnTo>
                    <a:lnTo>
                      <a:pt x="401" y="925"/>
                    </a:lnTo>
                    <a:lnTo>
                      <a:pt x="444" y="930"/>
                    </a:lnTo>
                    <a:lnTo>
                      <a:pt x="484" y="932"/>
                    </a:lnTo>
                    <a:lnTo>
                      <a:pt x="524" y="937"/>
                    </a:lnTo>
                    <a:lnTo>
                      <a:pt x="565" y="939"/>
                    </a:lnTo>
                    <a:lnTo>
                      <a:pt x="605" y="941"/>
                    </a:lnTo>
                    <a:lnTo>
                      <a:pt x="645" y="946"/>
                    </a:lnTo>
                    <a:lnTo>
                      <a:pt x="650" y="887"/>
                    </a:lnTo>
                    <a:lnTo>
                      <a:pt x="654" y="828"/>
                    </a:lnTo>
                    <a:lnTo>
                      <a:pt x="659" y="769"/>
                    </a:lnTo>
                    <a:lnTo>
                      <a:pt x="664" y="710"/>
                    </a:lnTo>
                    <a:lnTo>
                      <a:pt x="669" y="651"/>
                    </a:lnTo>
                    <a:lnTo>
                      <a:pt x="673" y="592"/>
                    </a:lnTo>
                    <a:lnTo>
                      <a:pt x="678" y="532"/>
                    </a:lnTo>
                    <a:lnTo>
                      <a:pt x="683" y="473"/>
                    </a:lnTo>
                    <a:lnTo>
                      <a:pt x="687" y="414"/>
                    </a:lnTo>
                    <a:lnTo>
                      <a:pt x="692" y="355"/>
                    </a:lnTo>
                    <a:lnTo>
                      <a:pt x="697" y="296"/>
                    </a:lnTo>
                    <a:lnTo>
                      <a:pt x="704" y="237"/>
                    </a:lnTo>
                    <a:lnTo>
                      <a:pt x="709" y="178"/>
                    </a:lnTo>
                    <a:lnTo>
                      <a:pt x="713" y="119"/>
                    </a:lnTo>
                    <a:lnTo>
                      <a:pt x="718" y="60"/>
                    </a:lnTo>
                    <a:lnTo>
                      <a:pt x="723" y="0"/>
                    </a:lnTo>
                    <a:lnTo>
                      <a:pt x="730" y="0"/>
                    </a:lnTo>
                    <a:lnTo>
                      <a:pt x="761" y="3"/>
                    </a:lnTo>
                    <a:lnTo>
                      <a:pt x="791" y="5"/>
                    </a:lnTo>
                    <a:lnTo>
                      <a:pt x="825" y="7"/>
                    </a:lnTo>
                    <a:lnTo>
                      <a:pt x="855" y="10"/>
                    </a:lnTo>
                    <a:lnTo>
                      <a:pt x="888" y="12"/>
                    </a:lnTo>
                    <a:lnTo>
                      <a:pt x="919" y="15"/>
                    </a:lnTo>
                    <a:lnTo>
                      <a:pt x="952" y="17"/>
                    </a:lnTo>
                    <a:lnTo>
                      <a:pt x="983" y="19"/>
                    </a:lnTo>
                    <a:lnTo>
                      <a:pt x="1016" y="22"/>
                    </a:lnTo>
                    <a:lnTo>
                      <a:pt x="1047" y="22"/>
                    </a:lnTo>
                    <a:lnTo>
                      <a:pt x="1077" y="24"/>
                    </a:lnTo>
                    <a:lnTo>
                      <a:pt x="1111" y="26"/>
                    </a:lnTo>
                    <a:lnTo>
                      <a:pt x="1141" y="26"/>
                    </a:lnTo>
                    <a:lnTo>
                      <a:pt x="1174" y="29"/>
                    </a:lnTo>
                    <a:lnTo>
                      <a:pt x="1205" y="31"/>
                    </a:lnTo>
                    <a:lnTo>
                      <a:pt x="1238" y="31"/>
                    </a:lnTo>
                    <a:lnTo>
                      <a:pt x="1236" y="57"/>
                    </a:lnTo>
                    <a:lnTo>
                      <a:pt x="1236" y="83"/>
                    </a:lnTo>
                    <a:lnTo>
                      <a:pt x="1233" y="107"/>
                    </a:lnTo>
                    <a:lnTo>
                      <a:pt x="1233" y="133"/>
                    </a:lnTo>
                    <a:lnTo>
                      <a:pt x="1231" y="159"/>
                    </a:lnTo>
                    <a:lnTo>
                      <a:pt x="1231" y="182"/>
                    </a:lnTo>
                    <a:lnTo>
                      <a:pt x="1231" y="208"/>
                    </a:lnTo>
                    <a:lnTo>
                      <a:pt x="1229" y="234"/>
                    </a:lnTo>
                    <a:lnTo>
                      <a:pt x="1229" y="258"/>
                    </a:lnTo>
                    <a:lnTo>
                      <a:pt x="1226" y="284"/>
                    </a:lnTo>
                    <a:lnTo>
                      <a:pt x="1226" y="308"/>
                    </a:lnTo>
                    <a:lnTo>
                      <a:pt x="1224" y="334"/>
                    </a:lnTo>
                    <a:lnTo>
                      <a:pt x="1224" y="360"/>
                    </a:lnTo>
                    <a:lnTo>
                      <a:pt x="1222" y="383"/>
                    </a:lnTo>
                    <a:lnTo>
                      <a:pt x="1222" y="409"/>
                    </a:lnTo>
                    <a:lnTo>
                      <a:pt x="1222" y="435"/>
                    </a:lnTo>
                    <a:lnTo>
                      <a:pt x="1231" y="438"/>
                    </a:lnTo>
                    <a:lnTo>
                      <a:pt x="1243" y="445"/>
                    </a:lnTo>
                    <a:lnTo>
                      <a:pt x="1274" y="473"/>
                    </a:lnTo>
                    <a:lnTo>
                      <a:pt x="1283" y="478"/>
                    </a:lnTo>
                    <a:lnTo>
                      <a:pt x="1300" y="476"/>
                    </a:lnTo>
                    <a:lnTo>
                      <a:pt x="1319" y="480"/>
                    </a:lnTo>
                    <a:lnTo>
                      <a:pt x="1323" y="480"/>
                    </a:lnTo>
                    <a:lnTo>
                      <a:pt x="1326" y="469"/>
                    </a:lnTo>
                    <a:lnTo>
                      <a:pt x="1328" y="466"/>
                    </a:lnTo>
                    <a:lnTo>
                      <a:pt x="1330" y="466"/>
                    </a:lnTo>
                    <a:lnTo>
                      <a:pt x="1347" y="478"/>
                    </a:lnTo>
                    <a:lnTo>
                      <a:pt x="1349" y="483"/>
                    </a:lnTo>
                    <a:lnTo>
                      <a:pt x="1359" y="497"/>
                    </a:lnTo>
                    <a:lnTo>
                      <a:pt x="1359" y="513"/>
                    </a:lnTo>
                    <a:lnTo>
                      <a:pt x="1364" y="518"/>
                    </a:lnTo>
                    <a:lnTo>
                      <a:pt x="1373" y="521"/>
                    </a:lnTo>
                    <a:lnTo>
                      <a:pt x="1397" y="521"/>
                    </a:lnTo>
                    <a:lnTo>
                      <a:pt x="1427" y="532"/>
                    </a:lnTo>
                    <a:lnTo>
                      <a:pt x="1439" y="535"/>
                    </a:lnTo>
                    <a:lnTo>
                      <a:pt x="1460" y="532"/>
                    </a:lnTo>
                    <a:lnTo>
                      <a:pt x="1479" y="549"/>
                    </a:lnTo>
                    <a:lnTo>
                      <a:pt x="1486" y="551"/>
                    </a:lnTo>
                    <a:lnTo>
                      <a:pt x="1494" y="549"/>
                    </a:lnTo>
                    <a:lnTo>
                      <a:pt x="1505" y="539"/>
                    </a:lnTo>
                    <a:lnTo>
                      <a:pt x="1529" y="539"/>
                    </a:lnTo>
                    <a:lnTo>
                      <a:pt x="1550" y="539"/>
                    </a:lnTo>
                    <a:lnTo>
                      <a:pt x="1550" y="551"/>
                    </a:lnTo>
                    <a:lnTo>
                      <a:pt x="1555" y="561"/>
                    </a:lnTo>
                    <a:lnTo>
                      <a:pt x="1572" y="570"/>
                    </a:lnTo>
                    <a:lnTo>
                      <a:pt x="1574" y="575"/>
                    </a:lnTo>
                    <a:lnTo>
                      <a:pt x="1574" y="592"/>
                    </a:lnTo>
                    <a:lnTo>
                      <a:pt x="1579" y="596"/>
                    </a:lnTo>
                    <a:lnTo>
                      <a:pt x="1586" y="596"/>
                    </a:lnTo>
                    <a:lnTo>
                      <a:pt x="1593" y="596"/>
                    </a:lnTo>
                    <a:lnTo>
                      <a:pt x="1602" y="592"/>
                    </a:lnTo>
                    <a:lnTo>
                      <a:pt x="1619" y="577"/>
                    </a:lnTo>
                    <a:lnTo>
                      <a:pt x="1626" y="573"/>
                    </a:lnTo>
                    <a:lnTo>
                      <a:pt x="1628" y="573"/>
                    </a:lnTo>
                    <a:lnTo>
                      <a:pt x="1633" y="573"/>
                    </a:lnTo>
                    <a:lnTo>
                      <a:pt x="1635" y="577"/>
                    </a:lnTo>
                    <a:lnTo>
                      <a:pt x="1640" y="589"/>
                    </a:lnTo>
                    <a:lnTo>
                      <a:pt x="1657" y="596"/>
                    </a:lnTo>
                    <a:lnTo>
                      <a:pt x="1666" y="606"/>
                    </a:lnTo>
                    <a:lnTo>
                      <a:pt x="1671" y="608"/>
                    </a:lnTo>
                    <a:lnTo>
                      <a:pt x="1678" y="606"/>
                    </a:lnTo>
                    <a:lnTo>
                      <a:pt x="1687" y="599"/>
                    </a:lnTo>
                    <a:lnTo>
                      <a:pt x="1694" y="601"/>
                    </a:lnTo>
                    <a:lnTo>
                      <a:pt x="1704" y="594"/>
                    </a:lnTo>
                    <a:lnTo>
                      <a:pt x="1706" y="596"/>
                    </a:lnTo>
                    <a:lnTo>
                      <a:pt x="1709" y="599"/>
                    </a:lnTo>
                    <a:lnTo>
                      <a:pt x="1706" y="613"/>
                    </a:lnTo>
                    <a:lnTo>
                      <a:pt x="1706" y="618"/>
                    </a:lnTo>
                    <a:lnTo>
                      <a:pt x="1711" y="625"/>
                    </a:lnTo>
                    <a:lnTo>
                      <a:pt x="1716" y="627"/>
                    </a:lnTo>
                    <a:lnTo>
                      <a:pt x="1720" y="629"/>
                    </a:lnTo>
                    <a:lnTo>
                      <a:pt x="1723" y="625"/>
                    </a:lnTo>
                    <a:lnTo>
                      <a:pt x="1730" y="608"/>
                    </a:lnTo>
                    <a:lnTo>
                      <a:pt x="1730" y="603"/>
                    </a:lnTo>
                    <a:lnTo>
                      <a:pt x="1737" y="601"/>
                    </a:lnTo>
                    <a:lnTo>
                      <a:pt x="1742" y="599"/>
                    </a:lnTo>
                    <a:lnTo>
                      <a:pt x="1744" y="587"/>
                    </a:lnTo>
                    <a:lnTo>
                      <a:pt x="1754" y="582"/>
                    </a:lnTo>
                    <a:lnTo>
                      <a:pt x="1756" y="582"/>
                    </a:lnTo>
                    <a:lnTo>
                      <a:pt x="1761" y="587"/>
                    </a:lnTo>
                    <a:lnTo>
                      <a:pt x="1768" y="599"/>
                    </a:lnTo>
                    <a:lnTo>
                      <a:pt x="1787" y="603"/>
                    </a:lnTo>
                    <a:lnTo>
                      <a:pt x="1791" y="603"/>
                    </a:lnTo>
                    <a:lnTo>
                      <a:pt x="1796" y="601"/>
                    </a:lnTo>
                    <a:lnTo>
                      <a:pt x="1803" y="594"/>
                    </a:lnTo>
                    <a:lnTo>
                      <a:pt x="1808" y="592"/>
                    </a:lnTo>
                    <a:lnTo>
                      <a:pt x="1810" y="594"/>
                    </a:lnTo>
                    <a:lnTo>
                      <a:pt x="1813" y="594"/>
                    </a:lnTo>
                    <a:lnTo>
                      <a:pt x="1813" y="606"/>
                    </a:lnTo>
                    <a:lnTo>
                      <a:pt x="1832" y="618"/>
                    </a:lnTo>
                    <a:lnTo>
                      <a:pt x="1846" y="620"/>
                    </a:lnTo>
                    <a:lnTo>
                      <a:pt x="1858" y="634"/>
                    </a:lnTo>
                    <a:lnTo>
                      <a:pt x="1862" y="634"/>
                    </a:lnTo>
                    <a:lnTo>
                      <a:pt x="1867" y="625"/>
                    </a:lnTo>
                    <a:lnTo>
                      <a:pt x="1881" y="622"/>
                    </a:lnTo>
                    <a:lnTo>
                      <a:pt x="1893" y="610"/>
                    </a:lnTo>
                    <a:lnTo>
                      <a:pt x="1926" y="599"/>
                    </a:lnTo>
                    <a:lnTo>
                      <a:pt x="1940" y="603"/>
                    </a:lnTo>
                    <a:lnTo>
                      <a:pt x="1954" y="601"/>
                    </a:lnTo>
                    <a:lnTo>
                      <a:pt x="1959" y="596"/>
                    </a:lnTo>
                    <a:lnTo>
                      <a:pt x="1983" y="589"/>
                    </a:lnTo>
                    <a:lnTo>
                      <a:pt x="1988" y="584"/>
                    </a:lnTo>
                    <a:lnTo>
                      <a:pt x="1995" y="589"/>
                    </a:lnTo>
                    <a:lnTo>
                      <a:pt x="1997" y="594"/>
                    </a:lnTo>
                    <a:lnTo>
                      <a:pt x="2002" y="596"/>
                    </a:lnTo>
                    <a:lnTo>
                      <a:pt x="2018" y="601"/>
                    </a:lnTo>
                    <a:lnTo>
                      <a:pt x="2028" y="601"/>
                    </a:lnTo>
                    <a:lnTo>
                      <a:pt x="2044" y="592"/>
                    </a:lnTo>
                    <a:lnTo>
                      <a:pt x="2051" y="582"/>
                    </a:lnTo>
                    <a:lnTo>
                      <a:pt x="2054" y="582"/>
                    </a:lnTo>
                    <a:lnTo>
                      <a:pt x="2068" y="587"/>
                    </a:lnTo>
                    <a:lnTo>
                      <a:pt x="2099" y="606"/>
                    </a:lnTo>
                    <a:lnTo>
                      <a:pt x="2115" y="622"/>
                    </a:lnTo>
                    <a:lnTo>
                      <a:pt x="2134" y="629"/>
                    </a:lnTo>
                    <a:lnTo>
                      <a:pt x="2144" y="636"/>
                    </a:lnTo>
                    <a:lnTo>
                      <a:pt x="2184" y="646"/>
                    </a:lnTo>
                    <a:close/>
                    <a:moveTo>
                      <a:pt x="2096" y="1599"/>
                    </a:moveTo>
                    <a:lnTo>
                      <a:pt x="2087" y="1601"/>
                    </a:lnTo>
                    <a:lnTo>
                      <a:pt x="2127" y="1568"/>
                    </a:lnTo>
                    <a:lnTo>
                      <a:pt x="2134" y="1559"/>
                    </a:lnTo>
                    <a:lnTo>
                      <a:pt x="2146" y="1559"/>
                    </a:lnTo>
                    <a:lnTo>
                      <a:pt x="2127" y="1578"/>
                    </a:lnTo>
                    <a:lnTo>
                      <a:pt x="2096" y="1599"/>
                    </a:lnTo>
                    <a:close/>
                    <a:moveTo>
                      <a:pt x="1772" y="1812"/>
                    </a:moveTo>
                    <a:lnTo>
                      <a:pt x="1765" y="1814"/>
                    </a:lnTo>
                    <a:lnTo>
                      <a:pt x="1772" y="1802"/>
                    </a:lnTo>
                    <a:lnTo>
                      <a:pt x="1787" y="1795"/>
                    </a:lnTo>
                    <a:lnTo>
                      <a:pt x="1817" y="1774"/>
                    </a:lnTo>
                    <a:lnTo>
                      <a:pt x="1832" y="1771"/>
                    </a:lnTo>
                    <a:lnTo>
                      <a:pt x="1836" y="1764"/>
                    </a:lnTo>
                    <a:lnTo>
                      <a:pt x="1841" y="1764"/>
                    </a:lnTo>
                    <a:lnTo>
                      <a:pt x="1839" y="1774"/>
                    </a:lnTo>
                    <a:lnTo>
                      <a:pt x="1813" y="1786"/>
                    </a:lnTo>
                    <a:lnTo>
                      <a:pt x="1772" y="1812"/>
                    </a:lnTo>
                    <a:close/>
                    <a:moveTo>
                      <a:pt x="1723" y="1866"/>
                    </a:moveTo>
                    <a:lnTo>
                      <a:pt x="1720" y="1866"/>
                    </a:lnTo>
                    <a:lnTo>
                      <a:pt x="1730" y="1847"/>
                    </a:lnTo>
                    <a:lnTo>
                      <a:pt x="1730" y="1842"/>
                    </a:lnTo>
                    <a:lnTo>
                      <a:pt x="1746" y="1819"/>
                    </a:lnTo>
                    <a:lnTo>
                      <a:pt x="1754" y="1816"/>
                    </a:lnTo>
                    <a:lnTo>
                      <a:pt x="1758" y="1826"/>
                    </a:lnTo>
                    <a:lnTo>
                      <a:pt x="1742" y="1840"/>
                    </a:lnTo>
                    <a:lnTo>
                      <a:pt x="1723" y="1866"/>
                    </a:lnTo>
                    <a:close/>
                    <a:moveTo>
                      <a:pt x="1657" y="1994"/>
                    </a:moveTo>
                    <a:lnTo>
                      <a:pt x="1652" y="2005"/>
                    </a:lnTo>
                    <a:lnTo>
                      <a:pt x="1654" y="1987"/>
                    </a:lnTo>
                    <a:lnTo>
                      <a:pt x="1668" y="1946"/>
                    </a:lnTo>
                    <a:lnTo>
                      <a:pt x="1702" y="1892"/>
                    </a:lnTo>
                    <a:lnTo>
                      <a:pt x="1716" y="1883"/>
                    </a:lnTo>
                    <a:lnTo>
                      <a:pt x="1678" y="1942"/>
                    </a:lnTo>
                    <a:lnTo>
                      <a:pt x="1657" y="1994"/>
                    </a:lnTo>
                    <a:close/>
                    <a:moveTo>
                      <a:pt x="1690" y="2237"/>
                    </a:moveTo>
                    <a:lnTo>
                      <a:pt x="1687" y="2249"/>
                    </a:lnTo>
                    <a:lnTo>
                      <a:pt x="1671" y="2202"/>
                    </a:lnTo>
                    <a:lnTo>
                      <a:pt x="1647" y="2095"/>
                    </a:lnTo>
                    <a:lnTo>
                      <a:pt x="1647" y="2036"/>
                    </a:lnTo>
                    <a:lnTo>
                      <a:pt x="1652" y="2015"/>
                    </a:lnTo>
                    <a:lnTo>
                      <a:pt x="1657" y="2100"/>
                    </a:lnTo>
                    <a:lnTo>
                      <a:pt x="1683" y="2209"/>
                    </a:lnTo>
                    <a:lnTo>
                      <a:pt x="1690" y="2237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29" name="Freeform 87">
                <a:extLst>
                  <a:ext uri="{FF2B5EF4-FFF2-40B4-BE49-F238E27FC236}">
                    <a16:creationId xmlns:a16="http://schemas.microsoft.com/office/drawing/2014/main" id="{91A617E9-201C-A470-FF0B-F3BD3D9FD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409"/>
                <a:ext cx="948" cy="1173"/>
              </a:xfrm>
              <a:custGeom>
                <a:avLst/>
                <a:gdLst>
                  <a:gd name="T0" fmla="*/ 664 w 948"/>
                  <a:gd name="T1" fmla="*/ 111 h 1173"/>
                  <a:gd name="T2" fmla="*/ 654 w 948"/>
                  <a:gd name="T3" fmla="*/ 163 h 1173"/>
                  <a:gd name="T4" fmla="*/ 647 w 948"/>
                  <a:gd name="T5" fmla="*/ 215 h 1173"/>
                  <a:gd name="T6" fmla="*/ 638 w 948"/>
                  <a:gd name="T7" fmla="*/ 267 h 1173"/>
                  <a:gd name="T8" fmla="*/ 673 w 948"/>
                  <a:gd name="T9" fmla="*/ 298 h 1173"/>
                  <a:gd name="T10" fmla="*/ 751 w 948"/>
                  <a:gd name="T11" fmla="*/ 312 h 1173"/>
                  <a:gd name="T12" fmla="*/ 829 w 948"/>
                  <a:gd name="T13" fmla="*/ 324 h 1173"/>
                  <a:gd name="T14" fmla="*/ 910 w 948"/>
                  <a:gd name="T15" fmla="*/ 336 h 1173"/>
                  <a:gd name="T16" fmla="*/ 940 w 948"/>
                  <a:gd name="T17" fmla="*/ 393 h 1173"/>
                  <a:gd name="T18" fmla="*/ 926 w 948"/>
                  <a:gd name="T19" fmla="*/ 497 h 1173"/>
                  <a:gd name="T20" fmla="*/ 912 w 948"/>
                  <a:gd name="T21" fmla="*/ 601 h 1173"/>
                  <a:gd name="T22" fmla="*/ 896 w 948"/>
                  <a:gd name="T23" fmla="*/ 705 h 1173"/>
                  <a:gd name="T24" fmla="*/ 881 w 948"/>
                  <a:gd name="T25" fmla="*/ 809 h 1173"/>
                  <a:gd name="T26" fmla="*/ 865 w 948"/>
                  <a:gd name="T27" fmla="*/ 913 h 1173"/>
                  <a:gd name="T28" fmla="*/ 851 w 948"/>
                  <a:gd name="T29" fmla="*/ 1017 h 1173"/>
                  <a:gd name="T30" fmla="*/ 836 w 948"/>
                  <a:gd name="T31" fmla="*/ 1121 h 1173"/>
                  <a:gd name="T32" fmla="*/ 777 w 948"/>
                  <a:gd name="T33" fmla="*/ 1166 h 1173"/>
                  <a:gd name="T34" fmla="*/ 673 w 948"/>
                  <a:gd name="T35" fmla="*/ 1149 h 1173"/>
                  <a:gd name="T36" fmla="*/ 569 w 948"/>
                  <a:gd name="T37" fmla="*/ 1133 h 1173"/>
                  <a:gd name="T38" fmla="*/ 465 w 948"/>
                  <a:gd name="T39" fmla="*/ 1116 h 1173"/>
                  <a:gd name="T40" fmla="*/ 361 w 948"/>
                  <a:gd name="T41" fmla="*/ 1100 h 1173"/>
                  <a:gd name="T42" fmla="*/ 257 w 948"/>
                  <a:gd name="T43" fmla="*/ 1081 h 1173"/>
                  <a:gd name="T44" fmla="*/ 153 w 948"/>
                  <a:gd name="T45" fmla="*/ 1059 h 1173"/>
                  <a:gd name="T46" fmla="*/ 52 w 948"/>
                  <a:gd name="T47" fmla="*/ 1040 h 1173"/>
                  <a:gd name="T48" fmla="*/ 4 w 948"/>
                  <a:gd name="T49" fmla="*/ 998 h 1173"/>
                  <a:gd name="T50" fmla="*/ 19 w 948"/>
                  <a:gd name="T51" fmla="*/ 934 h 1173"/>
                  <a:gd name="T52" fmla="*/ 30 w 948"/>
                  <a:gd name="T53" fmla="*/ 868 h 1173"/>
                  <a:gd name="T54" fmla="*/ 45 w 948"/>
                  <a:gd name="T55" fmla="*/ 804 h 1173"/>
                  <a:gd name="T56" fmla="*/ 56 w 948"/>
                  <a:gd name="T57" fmla="*/ 740 h 1173"/>
                  <a:gd name="T58" fmla="*/ 71 w 948"/>
                  <a:gd name="T59" fmla="*/ 676 h 1173"/>
                  <a:gd name="T60" fmla="*/ 82 w 948"/>
                  <a:gd name="T61" fmla="*/ 612 h 1173"/>
                  <a:gd name="T62" fmla="*/ 97 w 948"/>
                  <a:gd name="T63" fmla="*/ 546 h 1173"/>
                  <a:gd name="T64" fmla="*/ 108 w 948"/>
                  <a:gd name="T65" fmla="*/ 482 h 1173"/>
                  <a:gd name="T66" fmla="*/ 123 w 948"/>
                  <a:gd name="T67" fmla="*/ 419 h 1173"/>
                  <a:gd name="T68" fmla="*/ 134 w 948"/>
                  <a:gd name="T69" fmla="*/ 355 h 1173"/>
                  <a:gd name="T70" fmla="*/ 149 w 948"/>
                  <a:gd name="T71" fmla="*/ 289 h 1173"/>
                  <a:gd name="T72" fmla="*/ 160 w 948"/>
                  <a:gd name="T73" fmla="*/ 225 h 1173"/>
                  <a:gd name="T74" fmla="*/ 175 w 948"/>
                  <a:gd name="T75" fmla="*/ 161 h 1173"/>
                  <a:gd name="T76" fmla="*/ 186 w 948"/>
                  <a:gd name="T77" fmla="*/ 97 h 1173"/>
                  <a:gd name="T78" fmla="*/ 198 w 948"/>
                  <a:gd name="T79" fmla="*/ 31 h 1173"/>
                  <a:gd name="T80" fmla="*/ 234 w 948"/>
                  <a:gd name="T81" fmla="*/ 5 h 1173"/>
                  <a:gd name="T82" fmla="*/ 293 w 948"/>
                  <a:gd name="T83" fmla="*/ 17 h 1173"/>
                  <a:gd name="T84" fmla="*/ 350 w 948"/>
                  <a:gd name="T85" fmla="*/ 28 h 1173"/>
                  <a:gd name="T86" fmla="*/ 409 w 948"/>
                  <a:gd name="T87" fmla="*/ 38 h 1173"/>
                  <a:gd name="T88" fmla="*/ 465 w 948"/>
                  <a:gd name="T89" fmla="*/ 50 h 1173"/>
                  <a:gd name="T90" fmla="*/ 522 w 948"/>
                  <a:gd name="T91" fmla="*/ 59 h 1173"/>
                  <a:gd name="T92" fmla="*/ 581 w 948"/>
                  <a:gd name="T93" fmla="*/ 71 h 1173"/>
                  <a:gd name="T94" fmla="*/ 638 w 948"/>
                  <a:gd name="T95" fmla="*/ 80 h 1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48" h="1173">
                    <a:moveTo>
                      <a:pt x="669" y="85"/>
                    </a:moveTo>
                    <a:lnTo>
                      <a:pt x="664" y="111"/>
                    </a:lnTo>
                    <a:lnTo>
                      <a:pt x="659" y="137"/>
                    </a:lnTo>
                    <a:lnTo>
                      <a:pt x="654" y="163"/>
                    </a:lnTo>
                    <a:lnTo>
                      <a:pt x="650" y="189"/>
                    </a:lnTo>
                    <a:lnTo>
                      <a:pt x="647" y="215"/>
                    </a:lnTo>
                    <a:lnTo>
                      <a:pt x="643" y="241"/>
                    </a:lnTo>
                    <a:lnTo>
                      <a:pt x="638" y="267"/>
                    </a:lnTo>
                    <a:lnTo>
                      <a:pt x="633" y="293"/>
                    </a:lnTo>
                    <a:lnTo>
                      <a:pt x="673" y="298"/>
                    </a:lnTo>
                    <a:lnTo>
                      <a:pt x="711" y="305"/>
                    </a:lnTo>
                    <a:lnTo>
                      <a:pt x="751" y="312"/>
                    </a:lnTo>
                    <a:lnTo>
                      <a:pt x="792" y="317"/>
                    </a:lnTo>
                    <a:lnTo>
                      <a:pt x="829" y="324"/>
                    </a:lnTo>
                    <a:lnTo>
                      <a:pt x="870" y="329"/>
                    </a:lnTo>
                    <a:lnTo>
                      <a:pt x="910" y="336"/>
                    </a:lnTo>
                    <a:lnTo>
                      <a:pt x="948" y="341"/>
                    </a:lnTo>
                    <a:lnTo>
                      <a:pt x="940" y="393"/>
                    </a:lnTo>
                    <a:lnTo>
                      <a:pt x="933" y="445"/>
                    </a:lnTo>
                    <a:lnTo>
                      <a:pt x="926" y="497"/>
                    </a:lnTo>
                    <a:lnTo>
                      <a:pt x="919" y="549"/>
                    </a:lnTo>
                    <a:lnTo>
                      <a:pt x="912" y="601"/>
                    </a:lnTo>
                    <a:lnTo>
                      <a:pt x="903" y="653"/>
                    </a:lnTo>
                    <a:lnTo>
                      <a:pt x="896" y="705"/>
                    </a:lnTo>
                    <a:lnTo>
                      <a:pt x="888" y="757"/>
                    </a:lnTo>
                    <a:lnTo>
                      <a:pt x="881" y="809"/>
                    </a:lnTo>
                    <a:lnTo>
                      <a:pt x="874" y="861"/>
                    </a:lnTo>
                    <a:lnTo>
                      <a:pt x="865" y="913"/>
                    </a:lnTo>
                    <a:lnTo>
                      <a:pt x="858" y="965"/>
                    </a:lnTo>
                    <a:lnTo>
                      <a:pt x="851" y="1017"/>
                    </a:lnTo>
                    <a:lnTo>
                      <a:pt x="844" y="1069"/>
                    </a:lnTo>
                    <a:lnTo>
                      <a:pt x="836" y="1121"/>
                    </a:lnTo>
                    <a:lnTo>
                      <a:pt x="829" y="1173"/>
                    </a:lnTo>
                    <a:lnTo>
                      <a:pt x="777" y="1166"/>
                    </a:lnTo>
                    <a:lnTo>
                      <a:pt x="725" y="1159"/>
                    </a:lnTo>
                    <a:lnTo>
                      <a:pt x="673" y="1149"/>
                    </a:lnTo>
                    <a:lnTo>
                      <a:pt x="621" y="1142"/>
                    </a:lnTo>
                    <a:lnTo>
                      <a:pt x="569" y="1133"/>
                    </a:lnTo>
                    <a:lnTo>
                      <a:pt x="517" y="1126"/>
                    </a:lnTo>
                    <a:lnTo>
                      <a:pt x="465" y="1116"/>
                    </a:lnTo>
                    <a:lnTo>
                      <a:pt x="413" y="1107"/>
                    </a:lnTo>
                    <a:lnTo>
                      <a:pt x="361" y="1100"/>
                    </a:lnTo>
                    <a:lnTo>
                      <a:pt x="309" y="1090"/>
                    </a:lnTo>
                    <a:lnTo>
                      <a:pt x="257" y="1081"/>
                    </a:lnTo>
                    <a:lnTo>
                      <a:pt x="205" y="1071"/>
                    </a:lnTo>
                    <a:lnTo>
                      <a:pt x="153" y="1059"/>
                    </a:lnTo>
                    <a:lnTo>
                      <a:pt x="101" y="1050"/>
                    </a:lnTo>
                    <a:lnTo>
                      <a:pt x="52" y="1040"/>
                    </a:lnTo>
                    <a:lnTo>
                      <a:pt x="0" y="1029"/>
                    </a:lnTo>
                    <a:lnTo>
                      <a:pt x="4" y="998"/>
                    </a:lnTo>
                    <a:lnTo>
                      <a:pt x="12" y="965"/>
                    </a:lnTo>
                    <a:lnTo>
                      <a:pt x="19" y="934"/>
                    </a:lnTo>
                    <a:lnTo>
                      <a:pt x="26" y="901"/>
                    </a:lnTo>
                    <a:lnTo>
                      <a:pt x="30" y="868"/>
                    </a:lnTo>
                    <a:lnTo>
                      <a:pt x="38" y="837"/>
                    </a:lnTo>
                    <a:lnTo>
                      <a:pt x="45" y="804"/>
                    </a:lnTo>
                    <a:lnTo>
                      <a:pt x="52" y="773"/>
                    </a:lnTo>
                    <a:lnTo>
                      <a:pt x="56" y="740"/>
                    </a:lnTo>
                    <a:lnTo>
                      <a:pt x="64" y="707"/>
                    </a:lnTo>
                    <a:lnTo>
                      <a:pt x="71" y="676"/>
                    </a:lnTo>
                    <a:lnTo>
                      <a:pt x="75" y="643"/>
                    </a:lnTo>
                    <a:lnTo>
                      <a:pt x="82" y="612"/>
                    </a:lnTo>
                    <a:lnTo>
                      <a:pt x="90" y="579"/>
                    </a:lnTo>
                    <a:lnTo>
                      <a:pt x="97" y="546"/>
                    </a:lnTo>
                    <a:lnTo>
                      <a:pt x="101" y="516"/>
                    </a:lnTo>
                    <a:lnTo>
                      <a:pt x="108" y="482"/>
                    </a:lnTo>
                    <a:lnTo>
                      <a:pt x="116" y="452"/>
                    </a:lnTo>
                    <a:lnTo>
                      <a:pt x="123" y="419"/>
                    </a:lnTo>
                    <a:lnTo>
                      <a:pt x="127" y="385"/>
                    </a:lnTo>
                    <a:lnTo>
                      <a:pt x="134" y="355"/>
                    </a:lnTo>
                    <a:lnTo>
                      <a:pt x="142" y="322"/>
                    </a:lnTo>
                    <a:lnTo>
                      <a:pt x="149" y="289"/>
                    </a:lnTo>
                    <a:lnTo>
                      <a:pt x="153" y="258"/>
                    </a:lnTo>
                    <a:lnTo>
                      <a:pt x="160" y="225"/>
                    </a:lnTo>
                    <a:lnTo>
                      <a:pt x="168" y="194"/>
                    </a:lnTo>
                    <a:lnTo>
                      <a:pt x="175" y="161"/>
                    </a:lnTo>
                    <a:lnTo>
                      <a:pt x="179" y="128"/>
                    </a:lnTo>
                    <a:lnTo>
                      <a:pt x="186" y="97"/>
                    </a:lnTo>
                    <a:lnTo>
                      <a:pt x="194" y="64"/>
                    </a:lnTo>
                    <a:lnTo>
                      <a:pt x="198" y="31"/>
                    </a:lnTo>
                    <a:lnTo>
                      <a:pt x="205" y="0"/>
                    </a:lnTo>
                    <a:lnTo>
                      <a:pt x="234" y="5"/>
                    </a:lnTo>
                    <a:lnTo>
                      <a:pt x="264" y="12"/>
                    </a:lnTo>
                    <a:lnTo>
                      <a:pt x="293" y="17"/>
                    </a:lnTo>
                    <a:lnTo>
                      <a:pt x="321" y="21"/>
                    </a:lnTo>
                    <a:lnTo>
                      <a:pt x="350" y="28"/>
                    </a:lnTo>
                    <a:lnTo>
                      <a:pt x="378" y="33"/>
                    </a:lnTo>
                    <a:lnTo>
                      <a:pt x="409" y="38"/>
                    </a:lnTo>
                    <a:lnTo>
                      <a:pt x="437" y="45"/>
                    </a:lnTo>
                    <a:lnTo>
                      <a:pt x="465" y="50"/>
                    </a:lnTo>
                    <a:lnTo>
                      <a:pt x="494" y="54"/>
                    </a:lnTo>
                    <a:lnTo>
                      <a:pt x="522" y="59"/>
                    </a:lnTo>
                    <a:lnTo>
                      <a:pt x="553" y="64"/>
                    </a:lnTo>
                    <a:lnTo>
                      <a:pt x="581" y="71"/>
                    </a:lnTo>
                    <a:lnTo>
                      <a:pt x="610" y="76"/>
                    </a:lnTo>
                    <a:lnTo>
                      <a:pt x="638" y="80"/>
                    </a:lnTo>
                    <a:lnTo>
                      <a:pt x="669" y="8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30" name="Freeform 88">
                <a:extLst>
                  <a:ext uri="{FF2B5EF4-FFF2-40B4-BE49-F238E27FC236}">
                    <a16:creationId xmlns:a16="http://schemas.microsoft.com/office/drawing/2014/main" id="{8E0B6F0E-DABA-5C6C-C691-F5C9302860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91" y="946"/>
                <a:ext cx="1340" cy="735"/>
              </a:xfrm>
              <a:custGeom>
                <a:avLst/>
                <a:gdLst>
                  <a:gd name="T0" fmla="*/ 924 w 1340"/>
                  <a:gd name="T1" fmla="*/ 21 h 735"/>
                  <a:gd name="T2" fmla="*/ 960 w 1340"/>
                  <a:gd name="T3" fmla="*/ 49 h 735"/>
                  <a:gd name="T4" fmla="*/ 1005 w 1340"/>
                  <a:gd name="T5" fmla="*/ 68 h 735"/>
                  <a:gd name="T6" fmla="*/ 998 w 1340"/>
                  <a:gd name="T7" fmla="*/ 123 h 735"/>
                  <a:gd name="T8" fmla="*/ 993 w 1340"/>
                  <a:gd name="T9" fmla="*/ 191 h 735"/>
                  <a:gd name="T10" fmla="*/ 1059 w 1340"/>
                  <a:gd name="T11" fmla="*/ 213 h 735"/>
                  <a:gd name="T12" fmla="*/ 1161 w 1340"/>
                  <a:gd name="T13" fmla="*/ 241 h 735"/>
                  <a:gd name="T14" fmla="*/ 1180 w 1340"/>
                  <a:gd name="T15" fmla="*/ 288 h 735"/>
                  <a:gd name="T16" fmla="*/ 1090 w 1340"/>
                  <a:gd name="T17" fmla="*/ 260 h 735"/>
                  <a:gd name="T18" fmla="*/ 1028 w 1340"/>
                  <a:gd name="T19" fmla="*/ 224 h 735"/>
                  <a:gd name="T20" fmla="*/ 1125 w 1340"/>
                  <a:gd name="T21" fmla="*/ 293 h 735"/>
                  <a:gd name="T22" fmla="*/ 1177 w 1340"/>
                  <a:gd name="T23" fmla="*/ 328 h 735"/>
                  <a:gd name="T24" fmla="*/ 1177 w 1340"/>
                  <a:gd name="T25" fmla="*/ 359 h 735"/>
                  <a:gd name="T26" fmla="*/ 1158 w 1340"/>
                  <a:gd name="T27" fmla="*/ 380 h 735"/>
                  <a:gd name="T28" fmla="*/ 1147 w 1340"/>
                  <a:gd name="T29" fmla="*/ 380 h 735"/>
                  <a:gd name="T30" fmla="*/ 1208 w 1340"/>
                  <a:gd name="T31" fmla="*/ 414 h 735"/>
                  <a:gd name="T32" fmla="*/ 1184 w 1340"/>
                  <a:gd name="T33" fmla="*/ 435 h 735"/>
                  <a:gd name="T34" fmla="*/ 1137 w 1340"/>
                  <a:gd name="T35" fmla="*/ 407 h 735"/>
                  <a:gd name="T36" fmla="*/ 1052 w 1340"/>
                  <a:gd name="T37" fmla="*/ 407 h 735"/>
                  <a:gd name="T38" fmla="*/ 1144 w 1340"/>
                  <a:gd name="T39" fmla="*/ 414 h 735"/>
                  <a:gd name="T40" fmla="*/ 1201 w 1340"/>
                  <a:gd name="T41" fmla="*/ 461 h 735"/>
                  <a:gd name="T42" fmla="*/ 1274 w 1340"/>
                  <a:gd name="T43" fmla="*/ 451 h 735"/>
                  <a:gd name="T44" fmla="*/ 1300 w 1340"/>
                  <a:gd name="T45" fmla="*/ 513 h 735"/>
                  <a:gd name="T46" fmla="*/ 1125 w 1340"/>
                  <a:gd name="T47" fmla="*/ 548 h 735"/>
                  <a:gd name="T48" fmla="*/ 887 w 1340"/>
                  <a:gd name="T49" fmla="*/ 596 h 735"/>
                  <a:gd name="T50" fmla="*/ 643 w 1340"/>
                  <a:gd name="T51" fmla="*/ 638 h 735"/>
                  <a:gd name="T52" fmla="*/ 402 w 1340"/>
                  <a:gd name="T53" fmla="*/ 678 h 735"/>
                  <a:gd name="T54" fmla="*/ 296 w 1340"/>
                  <a:gd name="T55" fmla="*/ 690 h 735"/>
                  <a:gd name="T56" fmla="*/ 177 w 1340"/>
                  <a:gd name="T57" fmla="*/ 712 h 735"/>
                  <a:gd name="T58" fmla="*/ 17 w 1340"/>
                  <a:gd name="T59" fmla="*/ 723 h 735"/>
                  <a:gd name="T60" fmla="*/ 121 w 1340"/>
                  <a:gd name="T61" fmla="*/ 655 h 735"/>
                  <a:gd name="T62" fmla="*/ 149 w 1340"/>
                  <a:gd name="T63" fmla="*/ 603 h 735"/>
                  <a:gd name="T64" fmla="*/ 258 w 1340"/>
                  <a:gd name="T65" fmla="*/ 506 h 735"/>
                  <a:gd name="T66" fmla="*/ 277 w 1340"/>
                  <a:gd name="T67" fmla="*/ 541 h 735"/>
                  <a:gd name="T68" fmla="*/ 329 w 1340"/>
                  <a:gd name="T69" fmla="*/ 560 h 735"/>
                  <a:gd name="T70" fmla="*/ 364 w 1340"/>
                  <a:gd name="T71" fmla="*/ 527 h 735"/>
                  <a:gd name="T72" fmla="*/ 433 w 1340"/>
                  <a:gd name="T73" fmla="*/ 522 h 735"/>
                  <a:gd name="T74" fmla="*/ 442 w 1340"/>
                  <a:gd name="T75" fmla="*/ 496 h 735"/>
                  <a:gd name="T76" fmla="*/ 466 w 1340"/>
                  <a:gd name="T77" fmla="*/ 496 h 735"/>
                  <a:gd name="T78" fmla="*/ 523 w 1340"/>
                  <a:gd name="T79" fmla="*/ 470 h 735"/>
                  <a:gd name="T80" fmla="*/ 534 w 1340"/>
                  <a:gd name="T81" fmla="*/ 433 h 735"/>
                  <a:gd name="T82" fmla="*/ 567 w 1340"/>
                  <a:gd name="T83" fmla="*/ 340 h 735"/>
                  <a:gd name="T84" fmla="*/ 596 w 1340"/>
                  <a:gd name="T85" fmla="*/ 260 h 735"/>
                  <a:gd name="T86" fmla="*/ 615 w 1340"/>
                  <a:gd name="T87" fmla="*/ 222 h 735"/>
                  <a:gd name="T88" fmla="*/ 660 w 1340"/>
                  <a:gd name="T89" fmla="*/ 236 h 735"/>
                  <a:gd name="T90" fmla="*/ 683 w 1340"/>
                  <a:gd name="T91" fmla="*/ 184 h 735"/>
                  <a:gd name="T92" fmla="*/ 716 w 1340"/>
                  <a:gd name="T93" fmla="*/ 149 h 735"/>
                  <a:gd name="T94" fmla="*/ 740 w 1340"/>
                  <a:gd name="T95" fmla="*/ 120 h 735"/>
                  <a:gd name="T96" fmla="*/ 778 w 1340"/>
                  <a:gd name="T97" fmla="*/ 26 h 735"/>
                  <a:gd name="T98" fmla="*/ 818 w 1340"/>
                  <a:gd name="T99" fmla="*/ 21 h 735"/>
                  <a:gd name="T100" fmla="*/ 879 w 1340"/>
                  <a:gd name="T101" fmla="*/ 2 h 735"/>
                  <a:gd name="T102" fmla="*/ 1329 w 1340"/>
                  <a:gd name="T103" fmla="*/ 217 h 735"/>
                  <a:gd name="T104" fmla="*/ 1277 w 1340"/>
                  <a:gd name="T105" fmla="*/ 206 h 735"/>
                  <a:gd name="T106" fmla="*/ 1303 w 1340"/>
                  <a:gd name="T107" fmla="*/ 295 h 735"/>
                  <a:gd name="T108" fmla="*/ 1272 w 1340"/>
                  <a:gd name="T109" fmla="*/ 331 h 735"/>
                  <a:gd name="T110" fmla="*/ 1251 w 1340"/>
                  <a:gd name="T111" fmla="*/ 371 h 735"/>
                  <a:gd name="T112" fmla="*/ 1269 w 1340"/>
                  <a:gd name="T113" fmla="*/ 246 h 7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40" h="735">
                    <a:moveTo>
                      <a:pt x="879" y="2"/>
                    </a:moveTo>
                    <a:lnTo>
                      <a:pt x="889" y="9"/>
                    </a:lnTo>
                    <a:lnTo>
                      <a:pt x="913" y="14"/>
                    </a:lnTo>
                    <a:lnTo>
                      <a:pt x="924" y="21"/>
                    </a:lnTo>
                    <a:lnTo>
                      <a:pt x="922" y="31"/>
                    </a:lnTo>
                    <a:lnTo>
                      <a:pt x="922" y="38"/>
                    </a:lnTo>
                    <a:lnTo>
                      <a:pt x="927" y="42"/>
                    </a:lnTo>
                    <a:lnTo>
                      <a:pt x="960" y="49"/>
                    </a:lnTo>
                    <a:lnTo>
                      <a:pt x="981" y="61"/>
                    </a:lnTo>
                    <a:lnTo>
                      <a:pt x="993" y="66"/>
                    </a:lnTo>
                    <a:lnTo>
                      <a:pt x="995" y="66"/>
                    </a:lnTo>
                    <a:lnTo>
                      <a:pt x="1005" y="68"/>
                    </a:lnTo>
                    <a:lnTo>
                      <a:pt x="1009" y="73"/>
                    </a:lnTo>
                    <a:lnTo>
                      <a:pt x="1012" y="97"/>
                    </a:lnTo>
                    <a:lnTo>
                      <a:pt x="1007" y="111"/>
                    </a:lnTo>
                    <a:lnTo>
                      <a:pt x="998" y="123"/>
                    </a:lnTo>
                    <a:lnTo>
                      <a:pt x="986" y="142"/>
                    </a:lnTo>
                    <a:lnTo>
                      <a:pt x="983" y="156"/>
                    </a:lnTo>
                    <a:lnTo>
                      <a:pt x="986" y="184"/>
                    </a:lnTo>
                    <a:lnTo>
                      <a:pt x="993" y="191"/>
                    </a:lnTo>
                    <a:lnTo>
                      <a:pt x="1000" y="194"/>
                    </a:lnTo>
                    <a:lnTo>
                      <a:pt x="1019" y="182"/>
                    </a:lnTo>
                    <a:lnTo>
                      <a:pt x="1031" y="184"/>
                    </a:lnTo>
                    <a:lnTo>
                      <a:pt x="1059" y="213"/>
                    </a:lnTo>
                    <a:lnTo>
                      <a:pt x="1104" y="215"/>
                    </a:lnTo>
                    <a:lnTo>
                      <a:pt x="1123" y="220"/>
                    </a:lnTo>
                    <a:lnTo>
                      <a:pt x="1139" y="234"/>
                    </a:lnTo>
                    <a:lnTo>
                      <a:pt x="1161" y="241"/>
                    </a:lnTo>
                    <a:lnTo>
                      <a:pt x="1177" y="250"/>
                    </a:lnTo>
                    <a:lnTo>
                      <a:pt x="1180" y="260"/>
                    </a:lnTo>
                    <a:lnTo>
                      <a:pt x="1177" y="272"/>
                    </a:lnTo>
                    <a:lnTo>
                      <a:pt x="1180" y="288"/>
                    </a:lnTo>
                    <a:lnTo>
                      <a:pt x="1175" y="298"/>
                    </a:lnTo>
                    <a:lnTo>
                      <a:pt x="1161" y="302"/>
                    </a:lnTo>
                    <a:lnTo>
                      <a:pt x="1149" y="302"/>
                    </a:lnTo>
                    <a:lnTo>
                      <a:pt x="1090" y="260"/>
                    </a:lnTo>
                    <a:lnTo>
                      <a:pt x="1083" y="258"/>
                    </a:lnTo>
                    <a:lnTo>
                      <a:pt x="1059" y="234"/>
                    </a:lnTo>
                    <a:lnTo>
                      <a:pt x="1035" y="224"/>
                    </a:lnTo>
                    <a:lnTo>
                      <a:pt x="1028" y="224"/>
                    </a:lnTo>
                    <a:lnTo>
                      <a:pt x="1064" y="246"/>
                    </a:lnTo>
                    <a:lnTo>
                      <a:pt x="1080" y="262"/>
                    </a:lnTo>
                    <a:lnTo>
                      <a:pt x="1109" y="284"/>
                    </a:lnTo>
                    <a:lnTo>
                      <a:pt x="1125" y="293"/>
                    </a:lnTo>
                    <a:lnTo>
                      <a:pt x="1142" y="307"/>
                    </a:lnTo>
                    <a:lnTo>
                      <a:pt x="1154" y="314"/>
                    </a:lnTo>
                    <a:lnTo>
                      <a:pt x="1187" y="319"/>
                    </a:lnTo>
                    <a:lnTo>
                      <a:pt x="1177" y="328"/>
                    </a:lnTo>
                    <a:lnTo>
                      <a:pt x="1196" y="333"/>
                    </a:lnTo>
                    <a:lnTo>
                      <a:pt x="1201" y="345"/>
                    </a:lnTo>
                    <a:lnTo>
                      <a:pt x="1203" y="362"/>
                    </a:lnTo>
                    <a:lnTo>
                      <a:pt x="1177" y="359"/>
                    </a:lnTo>
                    <a:lnTo>
                      <a:pt x="1180" y="371"/>
                    </a:lnTo>
                    <a:lnTo>
                      <a:pt x="1184" y="378"/>
                    </a:lnTo>
                    <a:lnTo>
                      <a:pt x="1175" y="385"/>
                    </a:lnTo>
                    <a:lnTo>
                      <a:pt x="1158" y="380"/>
                    </a:lnTo>
                    <a:lnTo>
                      <a:pt x="1113" y="347"/>
                    </a:lnTo>
                    <a:lnTo>
                      <a:pt x="1116" y="354"/>
                    </a:lnTo>
                    <a:lnTo>
                      <a:pt x="1121" y="359"/>
                    </a:lnTo>
                    <a:lnTo>
                      <a:pt x="1147" y="380"/>
                    </a:lnTo>
                    <a:lnTo>
                      <a:pt x="1168" y="392"/>
                    </a:lnTo>
                    <a:lnTo>
                      <a:pt x="1187" y="395"/>
                    </a:lnTo>
                    <a:lnTo>
                      <a:pt x="1201" y="407"/>
                    </a:lnTo>
                    <a:lnTo>
                      <a:pt x="1208" y="414"/>
                    </a:lnTo>
                    <a:lnTo>
                      <a:pt x="1213" y="425"/>
                    </a:lnTo>
                    <a:lnTo>
                      <a:pt x="1206" y="435"/>
                    </a:lnTo>
                    <a:lnTo>
                      <a:pt x="1196" y="442"/>
                    </a:lnTo>
                    <a:lnTo>
                      <a:pt x="1184" y="435"/>
                    </a:lnTo>
                    <a:lnTo>
                      <a:pt x="1175" y="428"/>
                    </a:lnTo>
                    <a:lnTo>
                      <a:pt x="1156" y="418"/>
                    </a:lnTo>
                    <a:lnTo>
                      <a:pt x="1149" y="402"/>
                    </a:lnTo>
                    <a:lnTo>
                      <a:pt x="1137" y="407"/>
                    </a:lnTo>
                    <a:lnTo>
                      <a:pt x="1083" y="395"/>
                    </a:lnTo>
                    <a:lnTo>
                      <a:pt x="1040" y="402"/>
                    </a:lnTo>
                    <a:lnTo>
                      <a:pt x="1045" y="404"/>
                    </a:lnTo>
                    <a:lnTo>
                      <a:pt x="1052" y="407"/>
                    </a:lnTo>
                    <a:lnTo>
                      <a:pt x="1085" y="404"/>
                    </a:lnTo>
                    <a:lnTo>
                      <a:pt x="1099" y="411"/>
                    </a:lnTo>
                    <a:lnTo>
                      <a:pt x="1128" y="414"/>
                    </a:lnTo>
                    <a:lnTo>
                      <a:pt x="1144" y="414"/>
                    </a:lnTo>
                    <a:lnTo>
                      <a:pt x="1156" y="437"/>
                    </a:lnTo>
                    <a:lnTo>
                      <a:pt x="1180" y="451"/>
                    </a:lnTo>
                    <a:lnTo>
                      <a:pt x="1187" y="463"/>
                    </a:lnTo>
                    <a:lnTo>
                      <a:pt x="1201" y="461"/>
                    </a:lnTo>
                    <a:lnTo>
                      <a:pt x="1225" y="444"/>
                    </a:lnTo>
                    <a:lnTo>
                      <a:pt x="1241" y="444"/>
                    </a:lnTo>
                    <a:lnTo>
                      <a:pt x="1265" y="442"/>
                    </a:lnTo>
                    <a:lnTo>
                      <a:pt x="1274" y="451"/>
                    </a:lnTo>
                    <a:lnTo>
                      <a:pt x="1281" y="470"/>
                    </a:lnTo>
                    <a:lnTo>
                      <a:pt x="1295" y="492"/>
                    </a:lnTo>
                    <a:lnTo>
                      <a:pt x="1305" y="511"/>
                    </a:lnTo>
                    <a:lnTo>
                      <a:pt x="1300" y="513"/>
                    </a:lnTo>
                    <a:lnTo>
                      <a:pt x="1288" y="515"/>
                    </a:lnTo>
                    <a:lnTo>
                      <a:pt x="1246" y="525"/>
                    </a:lnTo>
                    <a:lnTo>
                      <a:pt x="1187" y="537"/>
                    </a:lnTo>
                    <a:lnTo>
                      <a:pt x="1125" y="548"/>
                    </a:lnTo>
                    <a:lnTo>
                      <a:pt x="1066" y="563"/>
                    </a:lnTo>
                    <a:lnTo>
                      <a:pt x="1007" y="574"/>
                    </a:lnTo>
                    <a:lnTo>
                      <a:pt x="946" y="584"/>
                    </a:lnTo>
                    <a:lnTo>
                      <a:pt x="887" y="596"/>
                    </a:lnTo>
                    <a:lnTo>
                      <a:pt x="825" y="607"/>
                    </a:lnTo>
                    <a:lnTo>
                      <a:pt x="764" y="619"/>
                    </a:lnTo>
                    <a:lnTo>
                      <a:pt x="705" y="629"/>
                    </a:lnTo>
                    <a:lnTo>
                      <a:pt x="643" y="638"/>
                    </a:lnTo>
                    <a:lnTo>
                      <a:pt x="584" y="650"/>
                    </a:lnTo>
                    <a:lnTo>
                      <a:pt x="523" y="660"/>
                    </a:lnTo>
                    <a:lnTo>
                      <a:pt x="461" y="669"/>
                    </a:lnTo>
                    <a:lnTo>
                      <a:pt x="402" y="678"/>
                    </a:lnTo>
                    <a:lnTo>
                      <a:pt x="341" y="688"/>
                    </a:lnTo>
                    <a:lnTo>
                      <a:pt x="338" y="686"/>
                    </a:lnTo>
                    <a:lnTo>
                      <a:pt x="315" y="688"/>
                    </a:lnTo>
                    <a:lnTo>
                      <a:pt x="296" y="690"/>
                    </a:lnTo>
                    <a:lnTo>
                      <a:pt x="289" y="695"/>
                    </a:lnTo>
                    <a:lnTo>
                      <a:pt x="253" y="700"/>
                    </a:lnTo>
                    <a:lnTo>
                      <a:pt x="225" y="704"/>
                    </a:lnTo>
                    <a:lnTo>
                      <a:pt x="177" y="712"/>
                    </a:lnTo>
                    <a:lnTo>
                      <a:pt x="121" y="721"/>
                    </a:lnTo>
                    <a:lnTo>
                      <a:pt x="38" y="730"/>
                    </a:lnTo>
                    <a:lnTo>
                      <a:pt x="0" y="735"/>
                    </a:lnTo>
                    <a:lnTo>
                      <a:pt x="17" y="723"/>
                    </a:lnTo>
                    <a:lnTo>
                      <a:pt x="40" y="714"/>
                    </a:lnTo>
                    <a:lnTo>
                      <a:pt x="83" y="690"/>
                    </a:lnTo>
                    <a:lnTo>
                      <a:pt x="99" y="671"/>
                    </a:lnTo>
                    <a:lnTo>
                      <a:pt x="121" y="655"/>
                    </a:lnTo>
                    <a:lnTo>
                      <a:pt x="130" y="638"/>
                    </a:lnTo>
                    <a:lnTo>
                      <a:pt x="144" y="622"/>
                    </a:lnTo>
                    <a:lnTo>
                      <a:pt x="149" y="605"/>
                    </a:lnTo>
                    <a:lnTo>
                      <a:pt x="149" y="603"/>
                    </a:lnTo>
                    <a:lnTo>
                      <a:pt x="175" y="584"/>
                    </a:lnTo>
                    <a:lnTo>
                      <a:pt x="201" y="560"/>
                    </a:lnTo>
                    <a:lnTo>
                      <a:pt x="255" y="501"/>
                    </a:lnTo>
                    <a:lnTo>
                      <a:pt x="258" y="506"/>
                    </a:lnTo>
                    <a:lnTo>
                      <a:pt x="258" y="515"/>
                    </a:lnTo>
                    <a:lnTo>
                      <a:pt x="265" y="522"/>
                    </a:lnTo>
                    <a:lnTo>
                      <a:pt x="270" y="534"/>
                    </a:lnTo>
                    <a:lnTo>
                      <a:pt x="277" y="541"/>
                    </a:lnTo>
                    <a:lnTo>
                      <a:pt x="286" y="546"/>
                    </a:lnTo>
                    <a:lnTo>
                      <a:pt x="300" y="551"/>
                    </a:lnTo>
                    <a:lnTo>
                      <a:pt x="317" y="558"/>
                    </a:lnTo>
                    <a:lnTo>
                      <a:pt x="329" y="560"/>
                    </a:lnTo>
                    <a:lnTo>
                      <a:pt x="333" y="558"/>
                    </a:lnTo>
                    <a:lnTo>
                      <a:pt x="345" y="546"/>
                    </a:lnTo>
                    <a:lnTo>
                      <a:pt x="355" y="539"/>
                    </a:lnTo>
                    <a:lnTo>
                      <a:pt x="364" y="527"/>
                    </a:lnTo>
                    <a:lnTo>
                      <a:pt x="388" y="539"/>
                    </a:lnTo>
                    <a:lnTo>
                      <a:pt x="395" y="537"/>
                    </a:lnTo>
                    <a:lnTo>
                      <a:pt x="414" y="527"/>
                    </a:lnTo>
                    <a:lnTo>
                      <a:pt x="433" y="522"/>
                    </a:lnTo>
                    <a:lnTo>
                      <a:pt x="437" y="520"/>
                    </a:lnTo>
                    <a:lnTo>
                      <a:pt x="445" y="513"/>
                    </a:lnTo>
                    <a:lnTo>
                      <a:pt x="442" y="501"/>
                    </a:lnTo>
                    <a:lnTo>
                      <a:pt x="442" y="496"/>
                    </a:lnTo>
                    <a:lnTo>
                      <a:pt x="445" y="494"/>
                    </a:lnTo>
                    <a:lnTo>
                      <a:pt x="449" y="494"/>
                    </a:lnTo>
                    <a:lnTo>
                      <a:pt x="459" y="496"/>
                    </a:lnTo>
                    <a:lnTo>
                      <a:pt x="466" y="496"/>
                    </a:lnTo>
                    <a:lnTo>
                      <a:pt x="499" y="475"/>
                    </a:lnTo>
                    <a:lnTo>
                      <a:pt x="501" y="475"/>
                    </a:lnTo>
                    <a:lnTo>
                      <a:pt x="508" y="482"/>
                    </a:lnTo>
                    <a:lnTo>
                      <a:pt x="523" y="470"/>
                    </a:lnTo>
                    <a:lnTo>
                      <a:pt x="530" y="461"/>
                    </a:lnTo>
                    <a:lnTo>
                      <a:pt x="532" y="449"/>
                    </a:lnTo>
                    <a:lnTo>
                      <a:pt x="537" y="437"/>
                    </a:lnTo>
                    <a:lnTo>
                      <a:pt x="534" y="433"/>
                    </a:lnTo>
                    <a:lnTo>
                      <a:pt x="530" y="425"/>
                    </a:lnTo>
                    <a:lnTo>
                      <a:pt x="532" y="409"/>
                    </a:lnTo>
                    <a:lnTo>
                      <a:pt x="539" y="392"/>
                    </a:lnTo>
                    <a:lnTo>
                      <a:pt x="567" y="340"/>
                    </a:lnTo>
                    <a:lnTo>
                      <a:pt x="572" y="310"/>
                    </a:lnTo>
                    <a:lnTo>
                      <a:pt x="584" y="291"/>
                    </a:lnTo>
                    <a:lnTo>
                      <a:pt x="586" y="274"/>
                    </a:lnTo>
                    <a:lnTo>
                      <a:pt x="596" y="260"/>
                    </a:lnTo>
                    <a:lnTo>
                      <a:pt x="598" y="229"/>
                    </a:lnTo>
                    <a:lnTo>
                      <a:pt x="601" y="222"/>
                    </a:lnTo>
                    <a:lnTo>
                      <a:pt x="608" y="220"/>
                    </a:lnTo>
                    <a:lnTo>
                      <a:pt x="615" y="222"/>
                    </a:lnTo>
                    <a:lnTo>
                      <a:pt x="622" y="227"/>
                    </a:lnTo>
                    <a:lnTo>
                      <a:pt x="627" y="234"/>
                    </a:lnTo>
                    <a:lnTo>
                      <a:pt x="645" y="239"/>
                    </a:lnTo>
                    <a:lnTo>
                      <a:pt x="660" y="236"/>
                    </a:lnTo>
                    <a:lnTo>
                      <a:pt x="669" y="229"/>
                    </a:lnTo>
                    <a:lnTo>
                      <a:pt x="674" y="217"/>
                    </a:lnTo>
                    <a:lnTo>
                      <a:pt x="679" y="198"/>
                    </a:lnTo>
                    <a:lnTo>
                      <a:pt x="683" y="184"/>
                    </a:lnTo>
                    <a:lnTo>
                      <a:pt x="686" y="170"/>
                    </a:lnTo>
                    <a:lnTo>
                      <a:pt x="690" y="158"/>
                    </a:lnTo>
                    <a:lnTo>
                      <a:pt x="697" y="151"/>
                    </a:lnTo>
                    <a:lnTo>
                      <a:pt x="716" y="149"/>
                    </a:lnTo>
                    <a:lnTo>
                      <a:pt x="726" y="137"/>
                    </a:lnTo>
                    <a:lnTo>
                      <a:pt x="731" y="125"/>
                    </a:lnTo>
                    <a:lnTo>
                      <a:pt x="735" y="120"/>
                    </a:lnTo>
                    <a:lnTo>
                      <a:pt x="740" y="120"/>
                    </a:lnTo>
                    <a:lnTo>
                      <a:pt x="757" y="101"/>
                    </a:lnTo>
                    <a:lnTo>
                      <a:pt x="773" y="64"/>
                    </a:lnTo>
                    <a:lnTo>
                      <a:pt x="773" y="42"/>
                    </a:lnTo>
                    <a:lnTo>
                      <a:pt x="778" y="26"/>
                    </a:lnTo>
                    <a:lnTo>
                      <a:pt x="775" y="9"/>
                    </a:lnTo>
                    <a:lnTo>
                      <a:pt x="778" y="0"/>
                    </a:lnTo>
                    <a:lnTo>
                      <a:pt x="804" y="12"/>
                    </a:lnTo>
                    <a:lnTo>
                      <a:pt x="818" y="21"/>
                    </a:lnTo>
                    <a:lnTo>
                      <a:pt x="849" y="38"/>
                    </a:lnTo>
                    <a:lnTo>
                      <a:pt x="870" y="47"/>
                    </a:lnTo>
                    <a:lnTo>
                      <a:pt x="872" y="28"/>
                    </a:lnTo>
                    <a:lnTo>
                      <a:pt x="879" y="2"/>
                    </a:lnTo>
                    <a:close/>
                    <a:moveTo>
                      <a:pt x="1336" y="184"/>
                    </a:moveTo>
                    <a:lnTo>
                      <a:pt x="1340" y="182"/>
                    </a:lnTo>
                    <a:lnTo>
                      <a:pt x="1340" y="182"/>
                    </a:lnTo>
                    <a:lnTo>
                      <a:pt x="1329" y="217"/>
                    </a:lnTo>
                    <a:lnTo>
                      <a:pt x="1324" y="222"/>
                    </a:lnTo>
                    <a:lnTo>
                      <a:pt x="1336" y="184"/>
                    </a:lnTo>
                    <a:close/>
                    <a:moveTo>
                      <a:pt x="1274" y="217"/>
                    </a:moveTo>
                    <a:lnTo>
                      <a:pt x="1277" y="206"/>
                    </a:lnTo>
                    <a:lnTo>
                      <a:pt x="1300" y="198"/>
                    </a:lnTo>
                    <a:lnTo>
                      <a:pt x="1317" y="191"/>
                    </a:lnTo>
                    <a:lnTo>
                      <a:pt x="1298" y="281"/>
                    </a:lnTo>
                    <a:lnTo>
                      <a:pt x="1303" y="295"/>
                    </a:lnTo>
                    <a:lnTo>
                      <a:pt x="1298" y="302"/>
                    </a:lnTo>
                    <a:lnTo>
                      <a:pt x="1286" y="307"/>
                    </a:lnTo>
                    <a:lnTo>
                      <a:pt x="1279" y="319"/>
                    </a:lnTo>
                    <a:lnTo>
                      <a:pt x="1272" y="331"/>
                    </a:lnTo>
                    <a:lnTo>
                      <a:pt x="1272" y="359"/>
                    </a:lnTo>
                    <a:lnTo>
                      <a:pt x="1265" y="392"/>
                    </a:lnTo>
                    <a:lnTo>
                      <a:pt x="1255" y="380"/>
                    </a:lnTo>
                    <a:lnTo>
                      <a:pt x="1251" y="371"/>
                    </a:lnTo>
                    <a:lnTo>
                      <a:pt x="1248" y="343"/>
                    </a:lnTo>
                    <a:lnTo>
                      <a:pt x="1251" y="293"/>
                    </a:lnTo>
                    <a:lnTo>
                      <a:pt x="1260" y="262"/>
                    </a:lnTo>
                    <a:lnTo>
                      <a:pt x="1269" y="246"/>
                    </a:lnTo>
                    <a:lnTo>
                      <a:pt x="1274" y="217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31" name="Freeform 89">
                <a:extLst>
                  <a:ext uri="{FF2B5EF4-FFF2-40B4-BE49-F238E27FC236}">
                    <a16:creationId xmlns:a16="http://schemas.microsoft.com/office/drawing/2014/main" id="{A9F21449-7B02-373D-0917-7166EF5B41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2" y="-437"/>
                <a:ext cx="282" cy="527"/>
              </a:xfrm>
              <a:custGeom>
                <a:avLst/>
                <a:gdLst>
                  <a:gd name="T0" fmla="*/ 237 w 282"/>
                  <a:gd name="T1" fmla="*/ 506 h 527"/>
                  <a:gd name="T2" fmla="*/ 206 w 282"/>
                  <a:gd name="T3" fmla="*/ 513 h 527"/>
                  <a:gd name="T4" fmla="*/ 175 w 282"/>
                  <a:gd name="T5" fmla="*/ 517 h 527"/>
                  <a:gd name="T6" fmla="*/ 147 w 282"/>
                  <a:gd name="T7" fmla="*/ 524 h 527"/>
                  <a:gd name="T8" fmla="*/ 123 w 282"/>
                  <a:gd name="T9" fmla="*/ 517 h 527"/>
                  <a:gd name="T10" fmla="*/ 121 w 282"/>
                  <a:gd name="T11" fmla="*/ 491 h 527"/>
                  <a:gd name="T12" fmla="*/ 111 w 282"/>
                  <a:gd name="T13" fmla="*/ 451 h 527"/>
                  <a:gd name="T14" fmla="*/ 100 w 282"/>
                  <a:gd name="T15" fmla="*/ 404 h 527"/>
                  <a:gd name="T16" fmla="*/ 90 w 282"/>
                  <a:gd name="T17" fmla="*/ 364 h 527"/>
                  <a:gd name="T18" fmla="*/ 74 w 282"/>
                  <a:gd name="T19" fmla="*/ 352 h 527"/>
                  <a:gd name="T20" fmla="*/ 69 w 282"/>
                  <a:gd name="T21" fmla="*/ 364 h 527"/>
                  <a:gd name="T22" fmla="*/ 64 w 282"/>
                  <a:gd name="T23" fmla="*/ 364 h 527"/>
                  <a:gd name="T24" fmla="*/ 59 w 282"/>
                  <a:gd name="T25" fmla="*/ 326 h 527"/>
                  <a:gd name="T26" fmla="*/ 55 w 282"/>
                  <a:gd name="T27" fmla="*/ 302 h 527"/>
                  <a:gd name="T28" fmla="*/ 36 w 282"/>
                  <a:gd name="T29" fmla="*/ 264 h 527"/>
                  <a:gd name="T30" fmla="*/ 38 w 282"/>
                  <a:gd name="T31" fmla="*/ 238 h 527"/>
                  <a:gd name="T32" fmla="*/ 43 w 282"/>
                  <a:gd name="T33" fmla="*/ 219 h 527"/>
                  <a:gd name="T34" fmla="*/ 33 w 282"/>
                  <a:gd name="T35" fmla="*/ 182 h 527"/>
                  <a:gd name="T36" fmla="*/ 12 w 282"/>
                  <a:gd name="T37" fmla="*/ 118 h 527"/>
                  <a:gd name="T38" fmla="*/ 3 w 282"/>
                  <a:gd name="T39" fmla="*/ 85 h 527"/>
                  <a:gd name="T40" fmla="*/ 24 w 282"/>
                  <a:gd name="T41" fmla="*/ 63 h 527"/>
                  <a:gd name="T42" fmla="*/ 144 w 282"/>
                  <a:gd name="T43" fmla="*/ 33 h 527"/>
                  <a:gd name="T44" fmla="*/ 265 w 282"/>
                  <a:gd name="T45" fmla="*/ 0 h 527"/>
                  <a:gd name="T46" fmla="*/ 272 w 282"/>
                  <a:gd name="T47" fmla="*/ 18 h 527"/>
                  <a:gd name="T48" fmla="*/ 267 w 282"/>
                  <a:gd name="T49" fmla="*/ 61 h 527"/>
                  <a:gd name="T50" fmla="*/ 282 w 282"/>
                  <a:gd name="T51" fmla="*/ 89 h 527"/>
                  <a:gd name="T52" fmla="*/ 279 w 282"/>
                  <a:gd name="T53" fmla="*/ 104 h 527"/>
                  <a:gd name="T54" fmla="*/ 272 w 282"/>
                  <a:gd name="T55" fmla="*/ 120 h 527"/>
                  <a:gd name="T56" fmla="*/ 251 w 282"/>
                  <a:gd name="T57" fmla="*/ 146 h 527"/>
                  <a:gd name="T58" fmla="*/ 230 w 282"/>
                  <a:gd name="T59" fmla="*/ 165 h 527"/>
                  <a:gd name="T60" fmla="*/ 234 w 282"/>
                  <a:gd name="T61" fmla="*/ 227 h 527"/>
                  <a:gd name="T62" fmla="*/ 232 w 282"/>
                  <a:gd name="T63" fmla="*/ 255 h 527"/>
                  <a:gd name="T64" fmla="*/ 223 w 282"/>
                  <a:gd name="T65" fmla="*/ 295 h 527"/>
                  <a:gd name="T66" fmla="*/ 220 w 282"/>
                  <a:gd name="T67" fmla="*/ 324 h 527"/>
                  <a:gd name="T68" fmla="*/ 227 w 282"/>
                  <a:gd name="T69" fmla="*/ 376 h 527"/>
                  <a:gd name="T70" fmla="*/ 234 w 282"/>
                  <a:gd name="T71" fmla="*/ 439 h 527"/>
                  <a:gd name="T72" fmla="*/ 230 w 282"/>
                  <a:gd name="T73" fmla="*/ 456 h 527"/>
                  <a:gd name="T74" fmla="*/ 232 w 282"/>
                  <a:gd name="T75" fmla="*/ 480 h 527"/>
                  <a:gd name="T76" fmla="*/ 246 w 282"/>
                  <a:gd name="T77" fmla="*/ 496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2" h="527">
                    <a:moveTo>
                      <a:pt x="251" y="501"/>
                    </a:moveTo>
                    <a:lnTo>
                      <a:pt x="237" y="506"/>
                    </a:lnTo>
                    <a:lnTo>
                      <a:pt x="220" y="508"/>
                    </a:lnTo>
                    <a:lnTo>
                      <a:pt x="206" y="513"/>
                    </a:lnTo>
                    <a:lnTo>
                      <a:pt x="192" y="515"/>
                    </a:lnTo>
                    <a:lnTo>
                      <a:pt x="175" y="517"/>
                    </a:lnTo>
                    <a:lnTo>
                      <a:pt x="161" y="522"/>
                    </a:lnTo>
                    <a:lnTo>
                      <a:pt x="147" y="524"/>
                    </a:lnTo>
                    <a:lnTo>
                      <a:pt x="130" y="527"/>
                    </a:lnTo>
                    <a:lnTo>
                      <a:pt x="123" y="517"/>
                    </a:lnTo>
                    <a:lnTo>
                      <a:pt x="123" y="506"/>
                    </a:lnTo>
                    <a:lnTo>
                      <a:pt x="121" y="491"/>
                    </a:lnTo>
                    <a:lnTo>
                      <a:pt x="116" y="472"/>
                    </a:lnTo>
                    <a:lnTo>
                      <a:pt x="111" y="451"/>
                    </a:lnTo>
                    <a:lnTo>
                      <a:pt x="104" y="423"/>
                    </a:lnTo>
                    <a:lnTo>
                      <a:pt x="100" y="404"/>
                    </a:lnTo>
                    <a:lnTo>
                      <a:pt x="95" y="387"/>
                    </a:lnTo>
                    <a:lnTo>
                      <a:pt x="90" y="364"/>
                    </a:lnTo>
                    <a:lnTo>
                      <a:pt x="78" y="354"/>
                    </a:lnTo>
                    <a:lnTo>
                      <a:pt x="74" y="352"/>
                    </a:lnTo>
                    <a:lnTo>
                      <a:pt x="71" y="354"/>
                    </a:lnTo>
                    <a:lnTo>
                      <a:pt x="69" y="364"/>
                    </a:lnTo>
                    <a:lnTo>
                      <a:pt x="66" y="364"/>
                    </a:lnTo>
                    <a:lnTo>
                      <a:pt x="64" y="364"/>
                    </a:lnTo>
                    <a:lnTo>
                      <a:pt x="62" y="354"/>
                    </a:lnTo>
                    <a:lnTo>
                      <a:pt x="59" y="326"/>
                    </a:lnTo>
                    <a:lnTo>
                      <a:pt x="59" y="316"/>
                    </a:lnTo>
                    <a:lnTo>
                      <a:pt x="55" y="302"/>
                    </a:lnTo>
                    <a:lnTo>
                      <a:pt x="38" y="271"/>
                    </a:lnTo>
                    <a:lnTo>
                      <a:pt x="36" y="264"/>
                    </a:lnTo>
                    <a:lnTo>
                      <a:pt x="36" y="253"/>
                    </a:lnTo>
                    <a:lnTo>
                      <a:pt x="38" y="238"/>
                    </a:lnTo>
                    <a:lnTo>
                      <a:pt x="43" y="227"/>
                    </a:lnTo>
                    <a:lnTo>
                      <a:pt x="43" y="219"/>
                    </a:lnTo>
                    <a:lnTo>
                      <a:pt x="36" y="201"/>
                    </a:lnTo>
                    <a:lnTo>
                      <a:pt x="33" y="182"/>
                    </a:lnTo>
                    <a:lnTo>
                      <a:pt x="17" y="156"/>
                    </a:lnTo>
                    <a:lnTo>
                      <a:pt x="12" y="118"/>
                    </a:lnTo>
                    <a:lnTo>
                      <a:pt x="5" y="101"/>
                    </a:lnTo>
                    <a:lnTo>
                      <a:pt x="3" y="85"/>
                    </a:lnTo>
                    <a:lnTo>
                      <a:pt x="0" y="71"/>
                    </a:lnTo>
                    <a:lnTo>
                      <a:pt x="24" y="63"/>
                    </a:lnTo>
                    <a:lnTo>
                      <a:pt x="85" y="49"/>
                    </a:lnTo>
                    <a:lnTo>
                      <a:pt x="144" y="33"/>
                    </a:lnTo>
                    <a:lnTo>
                      <a:pt x="206" y="16"/>
                    </a:lnTo>
                    <a:lnTo>
                      <a:pt x="265" y="0"/>
                    </a:lnTo>
                    <a:lnTo>
                      <a:pt x="265" y="4"/>
                    </a:lnTo>
                    <a:lnTo>
                      <a:pt x="272" y="18"/>
                    </a:lnTo>
                    <a:lnTo>
                      <a:pt x="263" y="52"/>
                    </a:lnTo>
                    <a:lnTo>
                      <a:pt x="267" y="61"/>
                    </a:lnTo>
                    <a:lnTo>
                      <a:pt x="279" y="82"/>
                    </a:lnTo>
                    <a:lnTo>
                      <a:pt x="282" y="89"/>
                    </a:lnTo>
                    <a:lnTo>
                      <a:pt x="279" y="92"/>
                    </a:lnTo>
                    <a:lnTo>
                      <a:pt x="279" y="104"/>
                    </a:lnTo>
                    <a:lnTo>
                      <a:pt x="277" y="111"/>
                    </a:lnTo>
                    <a:lnTo>
                      <a:pt x="272" y="120"/>
                    </a:lnTo>
                    <a:lnTo>
                      <a:pt x="256" y="141"/>
                    </a:lnTo>
                    <a:lnTo>
                      <a:pt x="251" y="146"/>
                    </a:lnTo>
                    <a:lnTo>
                      <a:pt x="232" y="158"/>
                    </a:lnTo>
                    <a:lnTo>
                      <a:pt x="230" y="165"/>
                    </a:lnTo>
                    <a:lnTo>
                      <a:pt x="234" y="203"/>
                    </a:lnTo>
                    <a:lnTo>
                      <a:pt x="234" y="227"/>
                    </a:lnTo>
                    <a:lnTo>
                      <a:pt x="237" y="236"/>
                    </a:lnTo>
                    <a:lnTo>
                      <a:pt x="232" y="255"/>
                    </a:lnTo>
                    <a:lnTo>
                      <a:pt x="230" y="276"/>
                    </a:lnTo>
                    <a:lnTo>
                      <a:pt x="223" y="295"/>
                    </a:lnTo>
                    <a:lnTo>
                      <a:pt x="223" y="314"/>
                    </a:lnTo>
                    <a:lnTo>
                      <a:pt x="220" y="324"/>
                    </a:lnTo>
                    <a:lnTo>
                      <a:pt x="220" y="335"/>
                    </a:lnTo>
                    <a:lnTo>
                      <a:pt x="227" y="376"/>
                    </a:lnTo>
                    <a:lnTo>
                      <a:pt x="227" y="399"/>
                    </a:lnTo>
                    <a:lnTo>
                      <a:pt x="234" y="439"/>
                    </a:lnTo>
                    <a:lnTo>
                      <a:pt x="232" y="449"/>
                    </a:lnTo>
                    <a:lnTo>
                      <a:pt x="230" y="456"/>
                    </a:lnTo>
                    <a:lnTo>
                      <a:pt x="230" y="472"/>
                    </a:lnTo>
                    <a:lnTo>
                      <a:pt x="232" y="480"/>
                    </a:lnTo>
                    <a:lnTo>
                      <a:pt x="234" y="484"/>
                    </a:lnTo>
                    <a:lnTo>
                      <a:pt x="246" y="496"/>
                    </a:lnTo>
                    <a:lnTo>
                      <a:pt x="251" y="5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32" name="Freeform 90">
                <a:extLst>
                  <a:ext uri="{FF2B5EF4-FFF2-40B4-BE49-F238E27FC236}">
                    <a16:creationId xmlns:a16="http://schemas.microsoft.com/office/drawing/2014/main" id="{DDD60691-1881-D5C4-7260-8B8A42CC0A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5" y="-1357"/>
                <a:ext cx="1130" cy="849"/>
              </a:xfrm>
              <a:custGeom>
                <a:avLst/>
                <a:gdLst>
                  <a:gd name="T0" fmla="*/ 816 w 1130"/>
                  <a:gd name="T1" fmla="*/ 801 h 849"/>
                  <a:gd name="T2" fmla="*/ 674 w 1130"/>
                  <a:gd name="T3" fmla="*/ 778 h 849"/>
                  <a:gd name="T4" fmla="*/ 390 w 1130"/>
                  <a:gd name="T5" fmla="*/ 768 h 849"/>
                  <a:gd name="T6" fmla="*/ 239 w 1130"/>
                  <a:gd name="T7" fmla="*/ 733 h 849"/>
                  <a:gd name="T8" fmla="*/ 152 w 1130"/>
                  <a:gd name="T9" fmla="*/ 690 h 849"/>
                  <a:gd name="T10" fmla="*/ 111 w 1130"/>
                  <a:gd name="T11" fmla="*/ 572 h 849"/>
                  <a:gd name="T12" fmla="*/ 55 w 1130"/>
                  <a:gd name="T13" fmla="*/ 522 h 849"/>
                  <a:gd name="T14" fmla="*/ 24 w 1130"/>
                  <a:gd name="T15" fmla="*/ 444 h 849"/>
                  <a:gd name="T16" fmla="*/ 31 w 1130"/>
                  <a:gd name="T17" fmla="*/ 416 h 849"/>
                  <a:gd name="T18" fmla="*/ 40 w 1130"/>
                  <a:gd name="T19" fmla="*/ 362 h 849"/>
                  <a:gd name="T20" fmla="*/ 48 w 1130"/>
                  <a:gd name="T21" fmla="*/ 217 h 849"/>
                  <a:gd name="T22" fmla="*/ 50 w 1130"/>
                  <a:gd name="T23" fmla="*/ 57 h 849"/>
                  <a:gd name="T24" fmla="*/ 225 w 1130"/>
                  <a:gd name="T25" fmla="*/ 170 h 849"/>
                  <a:gd name="T26" fmla="*/ 274 w 1130"/>
                  <a:gd name="T27" fmla="*/ 196 h 849"/>
                  <a:gd name="T28" fmla="*/ 298 w 1130"/>
                  <a:gd name="T29" fmla="*/ 234 h 849"/>
                  <a:gd name="T30" fmla="*/ 222 w 1130"/>
                  <a:gd name="T31" fmla="*/ 295 h 849"/>
                  <a:gd name="T32" fmla="*/ 232 w 1130"/>
                  <a:gd name="T33" fmla="*/ 331 h 849"/>
                  <a:gd name="T34" fmla="*/ 232 w 1130"/>
                  <a:gd name="T35" fmla="*/ 298 h 849"/>
                  <a:gd name="T36" fmla="*/ 305 w 1130"/>
                  <a:gd name="T37" fmla="*/ 253 h 849"/>
                  <a:gd name="T38" fmla="*/ 291 w 1130"/>
                  <a:gd name="T39" fmla="*/ 281 h 849"/>
                  <a:gd name="T40" fmla="*/ 284 w 1130"/>
                  <a:gd name="T41" fmla="*/ 321 h 849"/>
                  <a:gd name="T42" fmla="*/ 256 w 1130"/>
                  <a:gd name="T43" fmla="*/ 359 h 849"/>
                  <a:gd name="T44" fmla="*/ 225 w 1130"/>
                  <a:gd name="T45" fmla="*/ 354 h 849"/>
                  <a:gd name="T46" fmla="*/ 239 w 1130"/>
                  <a:gd name="T47" fmla="*/ 399 h 849"/>
                  <a:gd name="T48" fmla="*/ 286 w 1130"/>
                  <a:gd name="T49" fmla="*/ 373 h 849"/>
                  <a:gd name="T50" fmla="*/ 319 w 1130"/>
                  <a:gd name="T51" fmla="*/ 310 h 849"/>
                  <a:gd name="T52" fmla="*/ 329 w 1130"/>
                  <a:gd name="T53" fmla="*/ 269 h 849"/>
                  <a:gd name="T54" fmla="*/ 352 w 1130"/>
                  <a:gd name="T55" fmla="*/ 210 h 849"/>
                  <a:gd name="T56" fmla="*/ 334 w 1130"/>
                  <a:gd name="T57" fmla="*/ 201 h 849"/>
                  <a:gd name="T58" fmla="*/ 355 w 1130"/>
                  <a:gd name="T59" fmla="*/ 170 h 849"/>
                  <a:gd name="T60" fmla="*/ 331 w 1130"/>
                  <a:gd name="T61" fmla="*/ 125 h 849"/>
                  <a:gd name="T62" fmla="*/ 357 w 1130"/>
                  <a:gd name="T63" fmla="*/ 113 h 849"/>
                  <a:gd name="T64" fmla="*/ 352 w 1130"/>
                  <a:gd name="T65" fmla="*/ 66 h 849"/>
                  <a:gd name="T66" fmla="*/ 478 w 1130"/>
                  <a:gd name="T67" fmla="*/ 52 h 849"/>
                  <a:gd name="T68" fmla="*/ 823 w 1130"/>
                  <a:gd name="T69" fmla="*/ 146 h 849"/>
                  <a:gd name="T70" fmla="*/ 1130 w 1130"/>
                  <a:gd name="T71" fmla="*/ 222 h 849"/>
                  <a:gd name="T72" fmla="*/ 1083 w 1130"/>
                  <a:gd name="T73" fmla="*/ 423 h 849"/>
                  <a:gd name="T74" fmla="*/ 1036 w 1130"/>
                  <a:gd name="T75" fmla="*/ 622 h 849"/>
                  <a:gd name="T76" fmla="*/ 1003 w 1130"/>
                  <a:gd name="T77" fmla="*/ 761 h 849"/>
                  <a:gd name="T78" fmla="*/ 1003 w 1130"/>
                  <a:gd name="T79" fmla="*/ 849 h 849"/>
                  <a:gd name="T80" fmla="*/ 329 w 1130"/>
                  <a:gd name="T81" fmla="*/ 78 h 849"/>
                  <a:gd name="T82" fmla="*/ 310 w 1130"/>
                  <a:gd name="T83" fmla="*/ 87 h 849"/>
                  <a:gd name="T84" fmla="*/ 315 w 1130"/>
                  <a:gd name="T85" fmla="*/ 66 h 849"/>
                  <a:gd name="T86" fmla="*/ 270 w 1130"/>
                  <a:gd name="T87" fmla="*/ 92 h 849"/>
                  <a:gd name="T88" fmla="*/ 310 w 1130"/>
                  <a:gd name="T89" fmla="*/ 125 h 849"/>
                  <a:gd name="T90" fmla="*/ 308 w 1130"/>
                  <a:gd name="T91" fmla="*/ 99 h 849"/>
                  <a:gd name="T92" fmla="*/ 324 w 1130"/>
                  <a:gd name="T93" fmla="*/ 222 h 849"/>
                  <a:gd name="T94" fmla="*/ 331 w 1130"/>
                  <a:gd name="T95" fmla="*/ 243 h 849"/>
                  <a:gd name="T96" fmla="*/ 319 w 1130"/>
                  <a:gd name="T97" fmla="*/ 196 h 849"/>
                  <a:gd name="T98" fmla="*/ 312 w 1130"/>
                  <a:gd name="T99" fmla="*/ 161 h 849"/>
                  <a:gd name="T100" fmla="*/ 338 w 1130"/>
                  <a:gd name="T101" fmla="*/ 165 h 849"/>
                  <a:gd name="T102" fmla="*/ 300 w 1130"/>
                  <a:gd name="T103" fmla="*/ 310 h 849"/>
                  <a:gd name="T104" fmla="*/ 300 w 1130"/>
                  <a:gd name="T105" fmla="*/ 286 h 849"/>
                  <a:gd name="T106" fmla="*/ 296 w 1130"/>
                  <a:gd name="T107" fmla="*/ 362 h 849"/>
                  <a:gd name="T108" fmla="*/ 296 w 1130"/>
                  <a:gd name="T109" fmla="*/ 333 h 849"/>
                  <a:gd name="T110" fmla="*/ 225 w 1130"/>
                  <a:gd name="T111" fmla="*/ 378 h 8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30" h="849">
                    <a:moveTo>
                      <a:pt x="1003" y="849"/>
                    </a:moveTo>
                    <a:lnTo>
                      <a:pt x="967" y="839"/>
                    </a:lnTo>
                    <a:lnTo>
                      <a:pt x="929" y="830"/>
                    </a:lnTo>
                    <a:lnTo>
                      <a:pt x="891" y="820"/>
                    </a:lnTo>
                    <a:lnTo>
                      <a:pt x="854" y="811"/>
                    </a:lnTo>
                    <a:lnTo>
                      <a:pt x="816" y="801"/>
                    </a:lnTo>
                    <a:lnTo>
                      <a:pt x="778" y="792"/>
                    </a:lnTo>
                    <a:lnTo>
                      <a:pt x="740" y="782"/>
                    </a:lnTo>
                    <a:lnTo>
                      <a:pt x="702" y="773"/>
                    </a:lnTo>
                    <a:lnTo>
                      <a:pt x="700" y="773"/>
                    </a:lnTo>
                    <a:lnTo>
                      <a:pt x="693" y="775"/>
                    </a:lnTo>
                    <a:lnTo>
                      <a:pt x="674" y="778"/>
                    </a:lnTo>
                    <a:lnTo>
                      <a:pt x="636" y="771"/>
                    </a:lnTo>
                    <a:lnTo>
                      <a:pt x="558" y="771"/>
                    </a:lnTo>
                    <a:lnTo>
                      <a:pt x="523" y="778"/>
                    </a:lnTo>
                    <a:lnTo>
                      <a:pt x="494" y="778"/>
                    </a:lnTo>
                    <a:lnTo>
                      <a:pt x="440" y="771"/>
                    </a:lnTo>
                    <a:lnTo>
                      <a:pt x="390" y="768"/>
                    </a:lnTo>
                    <a:lnTo>
                      <a:pt x="369" y="761"/>
                    </a:lnTo>
                    <a:lnTo>
                      <a:pt x="364" y="752"/>
                    </a:lnTo>
                    <a:lnTo>
                      <a:pt x="343" y="740"/>
                    </a:lnTo>
                    <a:lnTo>
                      <a:pt x="305" y="728"/>
                    </a:lnTo>
                    <a:lnTo>
                      <a:pt x="272" y="723"/>
                    </a:lnTo>
                    <a:lnTo>
                      <a:pt x="239" y="733"/>
                    </a:lnTo>
                    <a:lnTo>
                      <a:pt x="230" y="733"/>
                    </a:lnTo>
                    <a:lnTo>
                      <a:pt x="230" y="733"/>
                    </a:lnTo>
                    <a:lnTo>
                      <a:pt x="220" y="730"/>
                    </a:lnTo>
                    <a:lnTo>
                      <a:pt x="173" y="709"/>
                    </a:lnTo>
                    <a:lnTo>
                      <a:pt x="159" y="704"/>
                    </a:lnTo>
                    <a:lnTo>
                      <a:pt x="152" y="690"/>
                    </a:lnTo>
                    <a:lnTo>
                      <a:pt x="154" y="676"/>
                    </a:lnTo>
                    <a:lnTo>
                      <a:pt x="154" y="624"/>
                    </a:lnTo>
                    <a:lnTo>
                      <a:pt x="149" y="593"/>
                    </a:lnTo>
                    <a:lnTo>
                      <a:pt x="137" y="579"/>
                    </a:lnTo>
                    <a:lnTo>
                      <a:pt x="128" y="572"/>
                    </a:lnTo>
                    <a:lnTo>
                      <a:pt x="111" y="572"/>
                    </a:lnTo>
                    <a:lnTo>
                      <a:pt x="109" y="567"/>
                    </a:lnTo>
                    <a:lnTo>
                      <a:pt x="102" y="565"/>
                    </a:lnTo>
                    <a:lnTo>
                      <a:pt x="90" y="551"/>
                    </a:lnTo>
                    <a:lnTo>
                      <a:pt x="85" y="539"/>
                    </a:lnTo>
                    <a:lnTo>
                      <a:pt x="59" y="532"/>
                    </a:lnTo>
                    <a:lnTo>
                      <a:pt x="55" y="522"/>
                    </a:lnTo>
                    <a:lnTo>
                      <a:pt x="24" y="520"/>
                    </a:lnTo>
                    <a:lnTo>
                      <a:pt x="17" y="511"/>
                    </a:lnTo>
                    <a:lnTo>
                      <a:pt x="0" y="511"/>
                    </a:lnTo>
                    <a:lnTo>
                      <a:pt x="10" y="492"/>
                    </a:lnTo>
                    <a:lnTo>
                      <a:pt x="17" y="468"/>
                    </a:lnTo>
                    <a:lnTo>
                      <a:pt x="24" y="444"/>
                    </a:lnTo>
                    <a:lnTo>
                      <a:pt x="24" y="463"/>
                    </a:lnTo>
                    <a:lnTo>
                      <a:pt x="29" y="485"/>
                    </a:lnTo>
                    <a:lnTo>
                      <a:pt x="38" y="466"/>
                    </a:lnTo>
                    <a:lnTo>
                      <a:pt x="50" y="440"/>
                    </a:lnTo>
                    <a:lnTo>
                      <a:pt x="43" y="428"/>
                    </a:lnTo>
                    <a:lnTo>
                      <a:pt x="31" y="416"/>
                    </a:lnTo>
                    <a:lnTo>
                      <a:pt x="31" y="390"/>
                    </a:lnTo>
                    <a:lnTo>
                      <a:pt x="76" y="380"/>
                    </a:lnTo>
                    <a:lnTo>
                      <a:pt x="57" y="371"/>
                    </a:lnTo>
                    <a:lnTo>
                      <a:pt x="52" y="359"/>
                    </a:lnTo>
                    <a:lnTo>
                      <a:pt x="43" y="354"/>
                    </a:lnTo>
                    <a:lnTo>
                      <a:pt x="40" y="362"/>
                    </a:lnTo>
                    <a:lnTo>
                      <a:pt x="33" y="371"/>
                    </a:lnTo>
                    <a:lnTo>
                      <a:pt x="36" y="357"/>
                    </a:lnTo>
                    <a:lnTo>
                      <a:pt x="38" y="343"/>
                    </a:lnTo>
                    <a:lnTo>
                      <a:pt x="43" y="317"/>
                    </a:lnTo>
                    <a:lnTo>
                      <a:pt x="40" y="272"/>
                    </a:lnTo>
                    <a:lnTo>
                      <a:pt x="48" y="217"/>
                    </a:lnTo>
                    <a:lnTo>
                      <a:pt x="45" y="187"/>
                    </a:lnTo>
                    <a:lnTo>
                      <a:pt x="31" y="156"/>
                    </a:lnTo>
                    <a:lnTo>
                      <a:pt x="29" y="139"/>
                    </a:lnTo>
                    <a:lnTo>
                      <a:pt x="36" y="101"/>
                    </a:lnTo>
                    <a:lnTo>
                      <a:pt x="48" y="75"/>
                    </a:lnTo>
                    <a:lnTo>
                      <a:pt x="50" y="57"/>
                    </a:lnTo>
                    <a:lnTo>
                      <a:pt x="59" y="61"/>
                    </a:lnTo>
                    <a:lnTo>
                      <a:pt x="83" y="85"/>
                    </a:lnTo>
                    <a:lnTo>
                      <a:pt x="114" y="106"/>
                    </a:lnTo>
                    <a:lnTo>
                      <a:pt x="121" y="118"/>
                    </a:lnTo>
                    <a:lnTo>
                      <a:pt x="135" y="130"/>
                    </a:lnTo>
                    <a:lnTo>
                      <a:pt x="225" y="170"/>
                    </a:lnTo>
                    <a:lnTo>
                      <a:pt x="232" y="170"/>
                    </a:lnTo>
                    <a:lnTo>
                      <a:pt x="246" y="168"/>
                    </a:lnTo>
                    <a:lnTo>
                      <a:pt x="251" y="170"/>
                    </a:lnTo>
                    <a:lnTo>
                      <a:pt x="260" y="189"/>
                    </a:lnTo>
                    <a:lnTo>
                      <a:pt x="265" y="194"/>
                    </a:lnTo>
                    <a:lnTo>
                      <a:pt x="274" y="196"/>
                    </a:lnTo>
                    <a:lnTo>
                      <a:pt x="282" y="194"/>
                    </a:lnTo>
                    <a:lnTo>
                      <a:pt x="296" y="189"/>
                    </a:lnTo>
                    <a:lnTo>
                      <a:pt x="296" y="191"/>
                    </a:lnTo>
                    <a:lnTo>
                      <a:pt x="293" y="201"/>
                    </a:lnTo>
                    <a:lnTo>
                      <a:pt x="293" y="215"/>
                    </a:lnTo>
                    <a:lnTo>
                      <a:pt x="298" y="234"/>
                    </a:lnTo>
                    <a:lnTo>
                      <a:pt x="298" y="246"/>
                    </a:lnTo>
                    <a:lnTo>
                      <a:pt x="272" y="269"/>
                    </a:lnTo>
                    <a:lnTo>
                      <a:pt x="267" y="269"/>
                    </a:lnTo>
                    <a:lnTo>
                      <a:pt x="270" y="260"/>
                    </a:lnTo>
                    <a:lnTo>
                      <a:pt x="270" y="258"/>
                    </a:lnTo>
                    <a:lnTo>
                      <a:pt x="222" y="295"/>
                    </a:lnTo>
                    <a:lnTo>
                      <a:pt x="204" y="317"/>
                    </a:lnTo>
                    <a:lnTo>
                      <a:pt x="199" y="326"/>
                    </a:lnTo>
                    <a:lnTo>
                      <a:pt x="199" y="333"/>
                    </a:lnTo>
                    <a:lnTo>
                      <a:pt x="204" y="336"/>
                    </a:lnTo>
                    <a:lnTo>
                      <a:pt x="213" y="336"/>
                    </a:lnTo>
                    <a:lnTo>
                      <a:pt x="232" y="331"/>
                    </a:lnTo>
                    <a:lnTo>
                      <a:pt x="232" y="328"/>
                    </a:lnTo>
                    <a:lnTo>
                      <a:pt x="218" y="328"/>
                    </a:lnTo>
                    <a:lnTo>
                      <a:pt x="211" y="326"/>
                    </a:lnTo>
                    <a:lnTo>
                      <a:pt x="215" y="317"/>
                    </a:lnTo>
                    <a:lnTo>
                      <a:pt x="218" y="312"/>
                    </a:lnTo>
                    <a:lnTo>
                      <a:pt x="232" y="298"/>
                    </a:lnTo>
                    <a:lnTo>
                      <a:pt x="244" y="291"/>
                    </a:lnTo>
                    <a:lnTo>
                      <a:pt x="263" y="284"/>
                    </a:lnTo>
                    <a:lnTo>
                      <a:pt x="272" y="279"/>
                    </a:lnTo>
                    <a:lnTo>
                      <a:pt x="282" y="267"/>
                    </a:lnTo>
                    <a:lnTo>
                      <a:pt x="300" y="258"/>
                    </a:lnTo>
                    <a:lnTo>
                      <a:pt x="305" y="253"/>
                    </a:lnTo>
                    <a:lnTo>
                      <a:pt x="308" y="241"/>
                    </a:lnTo>
                    <a:lnTo>
                      <a:pt x="310" y="239"/>
                    </a:lnTo>
                    <a:lnTo>
                      <a:pt x="317" y="243"/>
                    </a:lnTo>
                    <a:lnTo>
                      <a:pt x="312" y="265"/>
                    </a:lnTo>
                    <a:lnTo>
                      <a:pt x="308" y="274"/>
                    </a:lnTo>
                    <a:lnTo>
                      <a:pt x="291" y="281"/>
                    </a:lnTo>
                    <a:lnTo>
                      <a:pt x="289" y="286"/>
                    </a:lnTo>
                    <a:lnTo>
                      <a:pt x="286" y="302"/>
                    </a:lnTo>
                    <a:lnTo>
                      <a:pt x="284" y="302"/>
                    </a:lnTo>
                    <a:lnTo>
                      <a:pt x="279" y="298"/>
                    </a:lnTo>
                    <a:lnTo>
                      <a:pt x="277" y="300"/>
                    </a:lnTo>
                    <a:lnTo>
                      <a:pt x="284" y="321"/>
                    </a:lnTo>
                    <a:lnTo>
                      <a:pt x="284" y="336"/>
                    </a:lnTo>
                    <a:lnTo>
                      <a:pt x="282" y="347"/>
                    </a:lnTo>
                    <a:lnTo>
                      <a:pt x="272" y="369"/>
                    </a:lnTo>
                    <a:lnTo>
                      <a:pt x="267" y="371"/>
                    </a:lnTo>
                    <a:lnTo>
                      <a:pt x="260" y="369"/>
                    </a:lnTo>
                    <a:lnTo>
                      <a:pt x="256" y="359"/>
                    </a:lnTo>
                    <a:lnTo>
                      <a:pt x="253" y="359"/>
                    </a:lnTo>
                    <a:lnTo>
                      <a:pt x="241" y="376"/>
                    </a:lnTo>
                    <a:lnTo>
                      <a:pt x="239" y="373"/>
                    </a:lnTo>
                    <a:lnTo>
                      <a:pt x="241" y="352"/>
                    </a:lnTo>
                    <a:lnTo>
                      <a:pt x="239" y="350"/>
                    </a:lnTo>
                    <a:lnTo>
                      <a:pt x="225" y="354"/>
                    </a:lnTo>
                    <a:lnTo>
                      <a:pt x="215" y="362"/>
                    </a:lnTo>
                    <a:lnTo>
                      <a:pt x="208" y="376"/>
                    </a:lnTo>
                    <a:lnTo>
                      <a:pt x="199" y="380"/>
                    </a:lnTo>
                    <a:lnTo>
                      <a:pt x="215" y="388"/>
                    </a:lnTo>
                    <a:lnTo>
                      <a:pt x="230" y="388"/>
                    </a:lnTo>
                    <a:lnTo>
                      <a:pt x="239" y="399"/>
                    </a:lnTo>
                    <a:lnTo>
                      <a:pt x="244" y="399"/>
                    </a:lnTo>
                    <a:lnTo>
                      <a:pt x="256" y="397"/>
                    </a:lnTo>
                    <a:lnTo>
                      <a:pt x="260" y="392"/>
                    </a:lnTo>
                    <a:lnTo>
                      <a:pt x="274" y="373"/>
                    </a:lnTo>
                    <a:lnTo>
                      <a:pt x="282" y="371"/>
                    </a:lnTo>
                    <a:lnTo>
                      <a:pt x="286" y="373"/>
                    </a:lnTo>
                    <a:lnTo>
                      <a:pt x="293" y="371"/>
                    </a:lnTo>
                    <a:lnTo>
                      <a:pt x="308" y="362"/>
                    </a:lnTo>
                    <a:lnTo>
                      <a:pt x="310" y="357"/>
                    </a:lnTo>
                    <a:lnTo>
                      <a:pt x="315" y="328"/>
                    </a:lnTo>
                    <a:lnTo>
                      <a:pt x="319" y="314"/>
                    </a:lnTo>
                    <a:lnTo>
                      <a:pt x="319" y="310"/>
                    </a:lnTo>
                    <a:lnTo>
                      <a:pt x="317" y="302"/>
                    </a:lnTo>
                    <a:lnTo>
                      <a:pt x="319" y="298"/>
                    </a:lnTo>
                    <a:lnTo>
                      <a:pt x="324" y="291"/>
                    </a:lnTo>
                    <a:lnTo>
                      <a:pt x="326" y="284"/>
                    </a:lnTo>
                    <a:lnTo>
                      <a:pt x="326" y="276"/>
                    </a:lnTo>
                    <a:lnTo>
                      <a:pt x="329" y="269"/>
                    </a:lnTo>
                    <a:lnTo>
                      <a:pt x="343" y="255"/>
                    </a:lnTo>
                    <a:lnTo>
                      <a:pt x="345" y="248"/>
                    </a:lnTo>
                    <a:lnTo>
                      <a:pt x="362" y="236"/>
                    </a:lnTo>
                    <a:lnTo>
                      <a:pt x="360" y="229"/>
                    </a:lnTo>
                    <a:lnTo>
                      <a:pt x="355" y="220"/>
                    </a:lnTo>
                    <a:lnTo>
                      <a:pt x="352" y="210"/>
                    </a:lnTo>
                    <a:lnTo>
                      <a:pt x="350" y="198"/>
                    </a:lnTo>
                    <a:lnTo>
                      <a:pt x="348" y="194"/>
                    </a:lnTo>
                    <a:lnTo>
                      <a:pt x="345" y="194"/>
                    </a:lnTo>
                    <a:lnTo>
                      <a:pt x="345" y="213"/>
                    </a:lnTo>
                    <a:lnTo>
                      <a:pt x="345" y="215"/>
                    </a:lnTo>
                    <a:lnTo>
                      <a:pt x="334" y="201"/>
                    </a:lnTo>
                    <a:lnTo>
                      <a:pt x="334" y="194"/>
                    </a:lnTo>
                    <a:lnTo>
                      <a:pt x="334" y="187"/>
                    </a:lnTo>
                    <a:lnTo>
                      <a:pt x="336" y="179"/>
                    </a:lnTo>
                    <a:lnTo>
                      <a:pt x="345" y="177"/>
                    </a:lnTo>
                    <a:lnTo>
                      <a:pt x="355" y="177"/>
                    </a:lnTo>
                    <a:lnTo>
                      <a:pt x="355" y="170"/>
                    </a:lnTo>
                    <a:lnTo>
                      <a:pt x="350" y="151"/>
                    </a:lnTo>
                    <a:lnTo>
                      <a:pt x="345" y="142"/>
                    </a:lnTo>
                    <a:lnTo>
                      <a:pt x="341" y="137"/>
                    </a:lnTo>
                    <a:lnTo>
                      <a:pt x="334" y="132"/>
                    </a:lnTo>
                    <a:lnTo>
                      <a:pt x="331" y="130"/>
                    </a:lnTo>
                    <a:lnTo>
                      <a:pt x="331" y="125"/>
                    </a:lnTo>
                    <a:lnTo>
                      <a:pt x="334" y="120"/>
                    </a:lnTo>
                    <a:lnTo>
                      <a:pt x="338" y="120"/>
                    </a:lnTo>
                    <a:lnTo>
                      <a:pt x="350" y="125"/>
                    </a:lnTo>
                    <a:lnTo>
                      <a:pt x="357" y="125"/>
                    </a:lnTo>
                    <a:lnTo>
                      <a:pt x="360" y="118"/>
                    </a:lnTo>
                    <a:lnTo>
                      <a:pt x="357" y="113"/>
                    </a:lnTo>
                    <a:lnTo>
                      <a:pt x="364" y="90"/>
                    </a:lnTo>
                    <a:lnTo>
                      <a:pt x="367" y="68"/>
                    </a:lnTo>
                    <a:lnTo>
                      <a:pt x="364" y="66"/>
                    </a:lnTo>
                    <a:lnTo>
                      <a:pt x="362" y="64"/>
                    </a:lnTo>
                    <a:lnTo>
                      <a:pt x="360" y="66"/>
                    </a:lnTo>
                    <a:lnTo>
                      <a:pt x="352" y="66"/>
                    </a:lnTo>
                    <a:lnTo>
                      <a:pt x="350" y="57"/>
                    </a:lnTo>
                    <a:lnTo>
                      <a:pt x="348" y="45"/>
                    </a:lnTo>
                    <a:lnTo>
                      <a:pt x="348" y="12"/>
                    </a:lnTo>
                    <a:lnTo>
                      <a:pt x="362" y="16"/>
                    </a:lnTo>
                    <a:lnTo>
                      <a:pt x="419" y="33"/>
                    </a:lnTo>
                    <a:lnTo>
                      <a:pt x="478" y="52"/>
                    </a:lnTo>
                    <a:lnTo>
                      <a:pt x="534" y="68"/>
                    </a:lnTo>
                    <a:lnTo>
                      <a:pt x="591" y="85"/>
                    </a:lnTo>
                    <a:lnTo>
                      <a:pt x="650" y="99"/>
                    </a:lnTo>
                    <a:lnTo>
                      <a:pt x="707" y="116"/>
                    </a:lnTo>
                    <a:lnTo>
                      <a:pt x="766" y="132"/>
                    </a:lnTo>
                    <a:lnTo>
                      <a:pt x="823" y="146"/>
                    </a:lnTo>
                    <a:lnTo>
                      <a:pt x="882" y="163"/>
                    </a:lnTo>
                    <a:lnTo>
                      <a:pt x="941" y="177"/>
                    </a:lnTo>
                    <a:lnTo>
                      <a:pt x="998" y="191"/>
                    </a:lnTo>
                    <a:lnTo>
                      <a:pt x="1057" y="206"/>
                    </a:lnTo>
                    <a:lnTo>
                      <a:pt x="1114" y="220"/>
                    </a:lnTo>
                    <a:lnTo>
                      <a:pt x="1130" y="222"/>
                    </a:lnTo>
                    <a:lnTo>
                      <a:pt x="1121" y="255"/>
                    </a:lnTo>
                    <a:lnTo>
                      <a:pt x="1114" y="291"/>
                    </a:lnTo>
                    <a:lnTo>
                      <a:pt x="1107" y="324"/>
                    </a:lnTo>
                    <a:lnTo>
                      <a:pt x="1097" y="357"/>
                    </a:lnTo>
                    <a:lnTo>
                      <a:pt x="1090" y="390"/>
                    </a:lnTo>
                    <a:lnTo>
                      <a:pt x="1083" y="423"/>
                    </a:lnTo>
                    <a:lnTo>
                      <a:pt x="1076" y="456"/>
                    </a:lnTo>
                    <a:lnTo>
                      <a:pt x="1066" y="489"/>
                    </a:lnTo>
                    <a:lnTo>
                      <a:pt x="1059" y="522"/>
                    </a:lnTo>
                    <a:lnTo>
                      <a:pt x="1052" y="555"/>
                    </a:lnTo>
                    <a:lnTo>
                      <a:pt x="1045" y="589"/>
                    </a:lnTo>
                    <a:lnTo>
                      <a:pt x="1036" y="622"/>
                    </a:lnTo>
                    <a:lnTo>
                      <a:pt x="1029" y="655"/>
                    </a:lnTo>
                    <a:lnTo>
                      <a:pt x="1021" y="688"/>
                    </a:lnTo>
                    <a:lnTo>
                      <a:pt x="1014" y="721"/>
                    </a:lnTo>
                    <a:lnTo>
                      <a:pt x="1005" y="754"/>
                    </a:lnTo>
                    <a:lnTo>
                      <a:pt x="1005" y="756"/>
                    </a:lnTo>
                    <a:lnTo>
                      <a:pt x="1003" y="761"/>
                    </a:lnTo>
                    <a:lnTo>
                      <a:pt x="1003" y="775"/>
                    </a:lnTo>
                    <a:lnTo>
                      <a:pt x="1007" y="799"/>
                    </a:lnTo>
                    <a:lnTo>
                      <a:pt x="1007" y="813"/>
                    </a:lnTo>
                    <a:lnTo>
                      <a:pt x="1003" y="820"/>
                    </a:lnTo>
                    <a:lnTo>
                      <a:pt x="1000" y="834"/>
                    </a:lnTo>
                    <a:lnTo>
                      <a:pt x="1003" y="849"/>
                    </a:lnTo>
                    <a:close/>
                    <a:moveTo>
                      <a:pt x="308" y="0"/>
                    </a:moveTo>
                    <a:lnTo>
                      <a:pt x="312" y="2"/>
                    </a:lnTo>
                    <a:lnTo>
                      <a:pt x="310" y="5"/>
                    </a:lnTo>
                    <a:lnTo>
                      <a:pt x="308" y="2"/>
                    </a:lnTo>
                    <a:lnTo>
                      <a:pt x="308" y="0"/>
                    </a:lnTo>
                    <a:close/>
                    <a:moveTo>
                      <a:pt x="329" y="78"/>
                    </a:moveTo>
                    <a:lnTo>
                      <a:pt x="329" y="83"/>
                    </a:lnTo>
                    <a:lnTo>
                      <a:pt x="322" y="85"/>
                    </a:lnTo>
                    <a:lnTo>
                      <a:pt x="319" y="85"/>
                    </a:lnTo>
                    <a:lnTo>
                      <a:pt x="315" y="75"/>
                    </a:lnTo>
                    <a:lnTo>
                      <a:pt x="312" y="75"/>
                    </a:lnTo>
                    <a:lnTo>
                      <a:pt x="310" y="87"/>
                    </a:lnTo>
                    <a:lnTo>
                      <a:pt x="310" y="90"/>
                    </a:lnTo>
                    <a:lnTo>
                      <a:pt x="298" y="80"/>
                    </a:lnTo>
                    <a:lnTo>
                      <a:pt x="298" y="73"/>
                    </a:lnTo>
                    <a:lnTo>
                      <a:pt x="303" y="68"/>
                    </a:lnTo>
                    <a:lnTo>
                      <a:pt x="312" y="66"/>
                    </a:lnTo>
                    <a:lnTo>
                      <a:pt x="315" y="66"/>
                    </a:lnTo>
                    <a:lnTo>
                      <a:pt x="329" y="78"/>
                    </a:lnTo>
                    <a:close/>
                    <a:moveTo>
                      <a:pt x="286" y="104"/>
                    </a:moveTo>
                    <a:lnTo>
                      <a:pt x="289" y="111"/>
                    </a:lnTo>
                    <a:lnTo>
                      <a:pt x="274" y="104"/>
                    </a:lnTo>
                    <a:lnTo>
                      <a:pt x="270" y="97"/>
                    </a:lnTo>
                    <a:lnTo>
                      <a:pt x="270" y="92"/>
                    </a:lnTo>
                    <a:lnTo>
                      <a:pt x="272" y="80"/>
                    </a:lnTo>
                    <a:lnTo>
                      <a:pt x="274" y="75"/>
                    </a:lnTo>
                    <a:lnTo>
                      <a:pt x="279" y="75"/>
                    </a:lnTo>
                    <a:lnTo>
                      <a:pt x="289" y="97"/>
                    </a:lnTo>
                    <a:lnTo>
                      <a:pt x="286" y="104"/>
                    </a:lnTo>
                    <a:close/>
                    <a:moveTo>
                      <a:pt x="310" y="125"/>
                    </a:moveTo>
                    <a:lnTo>
                      <a:pt x="305" y="127"/>
                    </a:lnTo>
                    <a:lnTo>
                      <a:pt x="300" y="123"/>
                    </a:lnTo>
                    <a:lnTo>
                      <a:pt x="296" y="116"/>
                    </a:lnTo>
                    <a:lnTo>
                      <a:pt x="298" y="111"/>
                    </a:lnTo>
                    <a:lnTo>
                      <a:pt x="303" y="101"/>
                    </a:lnTo>
                    <a:lnTo>
                      <a:pt x="308" y="99"/>
                    </a:lnTo>
                    <a:lnTo>
                      <a:pt x="310" y="99"/>
                    </a:lnTo>
                    <a:lnTo>
                      <a:pt x="308" y="111"/>
                    </a:lnTo>
                    <a:lnTo>
                      <a:pt x="310" y="123"/>
                    </a:lnTo>
                    <a:lnTo>
                      <a:pt x="310" y="125"/>
                    </a:lnTo>
                    <a:close/>
                    <a:moveTo>
                      <a:pt x="326" y="191"/>
                    </a:moveTo>
                    <a:lnTo>
                      <a:pt x="324" y="222"/>
                    </a:lnTo>
                    <a:lnTo>
                      <a:pt x="331" y="210"/>
                    </a:lnTo>
                    <a:lnTo>
                      <a:pt x="343" y="236"/>
                    </a:lnTo>
                    <a:lnTo>
                      <a:pt x="341" y="246"/>
                    </a:lnTo>
                    <a:lnTo>
                      <a:pt x="338" y="248"/>
                    </a:lnTo>
                    <a:lnTo>
                      <a:pt x="334" y="248"/>
                    </a:lnTo>
                    <a:lnTo>
                      <a:pt x="331" y="243"/>
                    </a:lnTo>
                    <a:lnTo>
                      <a:pt x="329" y="236"/>
                    </a:lnTo>
                    <a:lnTo>
                      <a:pt x="326" y="232"/>
                    </a:lnTo>
                    <a:lnTo>
                      <a:pt x="317" y="227"/>
                    </a:lnTo>
                    <a:lnTo>
                      <a:pt x="315" y="217"/>
                    </a:lnTo>
                    <a:lnTo>
                      <a:pt x="315" y="213"/>
                    </a:lnTo>
                    <a:lnTo>
                      <a:pt x="319" y="196"/>
                    </a:lnTo>
                    <a:lnTo>
                      <a:pt x="319" y="191"/>
                    </a:lnTo>
                    <a:lnTo>
                      <a:pt x="315" y="189"/>
                    </a:lnTo>
                    <a:lnTo>
                      <a:pt x="310" y="184"/>
                    </a:lnTo>
                    <a:lnTo>
                      <a:pt x="308" y="172"/>
                    </a:lnTo>
                    <a:lnTo>
                      <a:pt x="308" y="168"/>
                    </a:lnTo>
                    <a:lnTo>
                      <a:pt x="312" y="161"/>
                    </a:lnTo>
                    <a:lnTo>
                      <a:pt x="324" y="149"/>
                    </a:lnTo>
                    <a:lnTo>
                      <a:pt x="331" y="144"/>
                    </a:lnTo>
                    <a:lnTo>
                      <a:pt x="336" y="146"/>
                    </a:lnTo>
                    <a:lnTo>
                      <a:pt x="338" y="151"/>
                    </a:lnTo>
                    <a:lnTo>
                      <a:pt x="341" y="161"/>
                    </a:lnTo>
                    <a:lnTo>
                      <a:pt x="338" y="165"/>
                    </a:lnTo>
                    <a:lnTo>
                      <a:pt x="315" y="170"/>
                    </a:lnTo>
                    <a:lnTo>
                      <a:pt x="312" y="172"/>
                    </a:lnTo>
                    <a:lnTo>
                      <a:pt x="322" y="179"/>
                    </a:lnTo>
                    <a:lnTo>
                      <a:pt x="324" y="182"/>
                    </a:lnTo>
                    <a:lnTo>
                      <a:pt x="326" y="191"/>
                    </a:lnTo>
                    <a:close/>
                    <a:moveTo>
                      <a:pt x="300" y="310"/>
                    </a:moveTo>
                    <a:lnTo>
                      <a:pt x="300" y="314"/>
                    </a:lnTo>
                    <a:lnTo>
                      <a:pt x="293" y="307"/>
                    </a:lnTo>
                    <a:lnTo>
                      <a:pt x="291" y="302"/>
                    </a:lnTo>
                    <a:lnTo>
                      <a:pt x="296" y="293"/>
                    </a:lnTo>
                    <a:lnTo>
                      <a:pt x="298" y="286"/>
                    </a:lnTo>
                    <a:lnTo>
                      <a:pt x="300" y="286"/>
                    </a:lnTo>
                    <a:lnTo>
                      <a:pt x="305" y="291"/>
                    </a:lnTo>
                    <a:lnTo>
                      <a:pt x="305" y="291"/>
                    </a:lnTo>
                    <a:lnTo>
                      <a:pt x="300" y="310"/>
                    </a:lnTo>
                    <a:close/>
                    <a:moveTo>
                      <a:pt x="303" y="354"/>
                    </a:moveTo>
                    <a:lnTo>
                      <a:pt x="300" y="359"/>
                    </a:lnTo>
                    <a:lnTo>
                      <a:pt x="296" y="362"/>
                    </a:lnTo>
                    <a:lnTo>
                      <a:pt x="293" y="359"/>
                    </a:lnTo>
                    <a:lnTo>
                      <a:pt x="293" y="354"/>
                    </a:lnTo>
                    <a:lnTo>
                      <a:pt x="293" y="352"/>
                    </a:lnTo>
                    <a:lnTo>
                      <a:pt x="286" y="357"/>
                    </a:lnTo>
                    <a:lnTo>
                      <a:pt x="289" y="345"/>
                    </a:lnTo>
                    <a:lnTo>
                      <a:pt x="296" y="333"/>
                    </a:lnTo>
                    <a:lnTo>
                      <a:pt x="298" y="333"/>
                    </a:lnTo>
                    <a:lnTo>
                      <a:pt x="300" y="343"/>
                    </a:lnTo>
                    <a:lnTo>
                      <a:pt x="303" y="354"/>
                    </a:lnTo>
                    <a:close/>
                    <a:moveTo>
                      <a:pt x="227" y="376"/>
                    </a:moveTo>
                    <a:lnTo>
                      <a:pt x="225" y="378"/>
                    </a:lnTo>
                    <a:lnTo>
                      <a:pt x="225" y="378"/>
                    </a:lnTo>
                    <a:lnTo>
                      <a:pt x="222" y="369"/>
                    </a:lnTo>
                    <a:lnTo>
                      <a:pt x="222" y="362"/>
                    </a:lnTo>
                    <a:lnTo>
                      <a:pt x="227" y="359"/>
                    </a:lnTo>
                    <a:lnTo>
                      <a:pt x="230" y="373"/>
                    </a:lnTo>
                    <a:lnTo>
                      <a:pt x="227" y="37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33" name="Freeform 91">
                <a:extLst>
                  <a:ext uri="{FF2B5EF4-FFF2-40B4-BE49-F238E27FC236}">
                    <a16:creationId xmlns:a16="http://schemas.microsoft.com/office/drawing/2014/main" id="{515576C6-BDDC-DFB4-1438-3041CF2F59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0" y="-409"/>
                <a:ext cx="900" cy="965"/>
              </a:xfrm>
              <a:custGeom>
                <a:avLst/>
                <a:gdLst>
                  <a:gd name="T0" fmla="*/ 345 w 900"/>
                  <a:gd name="T1" fmla="*/ 2 h 965"/>
                  <a:gd name="T2" fmla="*/ 309 w 900"/>
                  <a:gd name="T3" fmla="*/ 33 h 965"/>
                  <a:gd name="T4" fmla="*/ 302 w 900"/>
                  <a:gd name="T5" fmla="*/ 26 h 965"/>
                  <a:gd name="T6" fmla="*/ 359 w 900"/>
                  <a:gd name="T7" fmla="*/ 111 h 965"/>
                  <a:gd name="T8" fmla="*/ 387 w 900"/>
                  <a:gd name="T9" fmla="*/ 128 h 965"/>
                  <a:gd name="T10" fmla="*/ 439 w 900"/>
                  <a:gd name="T11" fmla="*/ 161 h 965"/>
                  <a:gd name="T12" fmla="*/ 531 w 900"/>
                  <a:gd name="T13" fmla="*/ 180 h 965"/>
                  <a:gd name="T14" fmla="*/ 595 w 900"/>
                  <a:gd name="T15" fmla="*/ 203 h 965"/>
                  <a:gd name="T16" fmla="*/ 697 w 900"/>
                  <a:gd name="T17" fmla="*/ 215 h 965"/>
                  <a:gd name="T18" fmla="*/ 747 w 900"/>
                  <a:gd name="T19" fmla="*/ 258 h 965"/>
                  <a:gd name="T20" fmla="*/ 754 w 900"/>
                  <a:gd name="T21" fmla="*/ 303 h 965"/>
                  <a:gd name="T22" fmla="*/ 754 w 900"/>
                  <a:gd name="T23" fmla="*/ 333 h 965"/>
                  <a:gd name="T24" fmla="*/ 780 w 900"/>
                  <a:gd name="T25" fmla="*/ 336 h 965"/>
                  <a:gd name="T26" fmla="*/ 794 w 900"/>
                  <a:gd name="T27" fmla="*/ 385 h 965"/>
                  <a:gd name="T28" fmla="*/ 761 w 900"/>
                  <a:gd name="T29" fmla="*/ 430 h 965"/>
                  <a:gd name="T30" fmla="*/ 742 w 900"/>
                  <a:gd name="T31" fmla="*/ 504 h 965"/>
                  <a:gd name="T32" fmla="*/ 775 w 900"/>
                  <a:gd name="T33" fmla="*/ 482 h 965"/>
                  <a:gd name="T34" fmla="*/ 806 w 900"/>
                  <a:gd name="T35" fmla="*/ 437 h 965"/>
                  <a:gd name="T36" fmla="*/ 841 w 900"/>
                  <a:gd name="T37" fmla="*/ 452 h 965"/>
                  <a:gd name="T38" fmla="*/ 820 w 900"/>
                  <a:gd name="T39" fmla="*/ 534 h 965"/>
                  <a:gd name="T40" fmla="*/ 806 w 900"/>
                  <a:gd name="T41" fmla="*/ 605 h 965"/>
                  <a:gd name="T42" fmla="*/ 806 w 900"/>
                  <a:gd name="T43" fmla="*/ 671 h 965"/>
                  <a:gd name="T44" fmla="*/ 791 w 900"/>
                  <a:gd name="T45" fmla="*/ 738 h 965"/>
                  <a:gd name="T46" fmla="*/ 787 w 900"/>
                  <a:gd name="T47" fmla="*/ 804 h 965"/>
                  <a:gd name="T48" fmla="*/ 791 w 900"/>
                  <a:gd name="T49" fmla="*/ 830 h 965"/>
                  <a:gd name="T50" fmla="*/ 810 w 900"/>
                  <a:gd name="T51" fmla="*/ 870 h 965"/>
                  <a:gd name="T52" fmla="*/ 791 w 900"/>
                  <a:gd name="T53" fmla="*/ 939 h 965"/>
                  <a:gd name="T54" fmla="*/ 442 w 900"/>
                  <a:gd name="T55" fmla="*/ 962 h 965"/>
                  <a:gd name="T56" fmla="*/ 321 w 900"/>
                  <a:gd name="T57" fmla="*/ 924 h 965"/>
                  <a:gd name="T58" fmla="*/ 286 w 900"/>
                  <a:gd name="T59" fmla="*/ 825 h 965"/>
                  <a:gd name="T60" fmla="*/ 269 w 900"/>
                  <a:gd name="T61" fmla="*/ 776 h 965"/>
                  <a:gd name="T62" fmla="*/ 219 w 900"/>
                  <a:gd name="T63" fmla="*/ 648 h 965"/>
                  <a:gd name="T64" fmla="*/ 120 w 900"/>
                  <a:gd name="T65" fmla="*/ 570 h 965"/>
                  <a:gd name="T66" fmla="*/ 61 w 900"/>
                  <a:gd name="T67" fmla="*/ 539 h 965"/>
                  <a:gd name="T68" fmla="*/ 21 w 900"/>
                  <a:gd name="T69" fmla="*/ 494 h 965"/>
                  <a:gd name="T70" fmla="*/ 21 w 900"/>
                  <a:gd name="T71" fmla="*/ 407 h 965"/>
                  <a:gd name="T72" fmla="*/ 21 w 900"/>
                  <a:gd name="T73" fmla="*/ 340 h 965"/>
                  <a:gd name="T74" fmla="*/ 21 w 900"/>
                  <a:gd name="T75" fmla="*/ 272 h 965"/>
                  <a:gd name="T76" fmla="*/ 85 w 900"/>
                  <a:gd name="T77" fmla="*/ 225 h 965"/>
                  <a:gd name="T78" fmla="*/ 89 w 900"/>
                  <a:gd name="T79" fmla="*/ 99 h 965"/>
                  <a:gd name="T80" fmla="*/ 111 w 900"/>
                  <a:gd name="T81" fmla="*/ 85 h 965"/>
                  <a:gd name="T82" fmla="*/ 215 w 900"/>
                  <a:gd name="T83" fmla="*/ 64 h 965"/>
                  <a:gd name="T84" fmla="*/ 274 w 900"/>
                  <a:gd name="T85" fmla="*/ 31 h 965"/>
                  <a:gd name="T86" fmla="*/ 297 w 900"/>
                  <a:gd name="T87" fmla="*/ 47 h 965"/>
                  <a:gd name="T88" fmla="*/ 276 w 900"/>
                  <a:gd name="T89" fmla="*/ 102 h 965"/>
                  <a:gd name="T90" fmla="*/ 305 w 900"/>
                  <a:gd name="T91" fmla="*/ 85 h 965"/>
                  <a:gd name="T92" fmla="*/ 357 w 900"/>
                  <a:gd name="T93" fmla="*/ 102 h 965"/>
                  <a:gd name="T94" fmla="*/ 326 w 900"/>
                  <a:gd name="T95" fmla="*/ 26 h 965"/>
                  <a:gd name="T96" fmla="*/ 302 w 900"/>
                  <a:gd name="T97" fmla="*/ 69 h 965"/>
                  <a:gd name="T98" fmla="*/ 326 w 900"/>
                  <a:gd name="T99" fmla="*/ 45 h 965"/>
                  <a:gd name="T100" fmla="*/ 309 w 900"/>
                  <a:gd name="T101" fmla="*/ 64 h 965"/>
                  <a:gd name="T102" fmla="*/ 886 w 900"/>
                  <a:gd name="T103" fmla="*/ 307 h 965"/>
                  <a:gd name="T104" fmla="*/ 900 w 900"/>
                  <a:gd name="T105" fmla="*/ 322 h 965"/>
                  <a:gd name="T106" fmla="*/ 877 w 900"/>
                  <a:gd name="T107" fmla="*/ 364 h 965"/>
                  <a:gd name="T108" fmla="*/ 877 w 900"/>
                  <a:gd name="T109" fmla="*/ 378 h 965"/>
                  <a:gd name="T110" fmla="*/ 860 w 900"/>
                  <a:gd name="T111" fmla="*/ 404 h 965"/>
                  <a:gd name="T112" fmla="*/ 843 w 900"/>
                  <a:gd name="T113" fmla="*/ 440 h 965"/>
                  <a:gd name="T114" fmla="*/ 829 w 900"/>
                  <a:gd name="T115" fmla="*/ 414 h 965"/>
                  <a:gd name="T116" fmla="*/ 858 w 900"/>
                  <a:gd name="T117" fmla="*/ 362 h 965"/>
                  <a:gd name="T118" fmla="*/ 884 w 900"/>
                  <a:gd name="T119" fmla="*/ 340 h 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00" h="965">
                    <a:moveTo>
                      <a:pt x="347" y="12"/>
                    </a:moveTo>
                    <a:lnTo>
                      <a:pt x="342" y="14"/>
                    </a:lnTo>
                    <a:lnTo>
                      <a:pt x="342" y="12"/>
                    </a:lnTo>
                    <a:lnTo>
                      <a:pt x="342" y="7"/>
                    </a:lnTo>
                    <a:lnTo>
                      <a:pt x="345" y="2"/>
                    </a:lnTo>
                    <a:lnTo>
                      <a:pt x="347" y="0"/>
                    </a:lnTo>
                    <a:lnTo>
                      <a:pt x="349" y="2"/>
                    </a:lnTo>
                    <a:lnTo>
                      <a:pt x="349" y="7"/>
                    </a:lnTo>
                    <a:lnTo>
                      <a:pt x="347" y="12"/>
                    </a:lnTo>
                    <a:close/>
                    <a:moveTo>
                      <a:pt x="309" y="33"/>
                    </a:moveTo>
                    <a:lnTo>
                      <a:pt x="307" y="35"/>
                    </a:lnTo>
                    <a:lnTo>
                      <a:pt x="300" y="33"/>
                    </a:lnTo>
                    <a:lnTo>
                      <a:pt x="300" y="31"/>
                    </a:lnTo>
                    <a:lnTo>
                      <a:pt x="300" y="26"/>
                    </a:lnTo>
                    <a:lnTo>
                      <a:pt x="302" y="26"/>
                    </a:lnTo>
                    <a:lnTo>
                      <a:pt x="307" y="31"/>
                    </a:lnTo>
                    <a:lnTo>
                      <a:pt x="309" y="33"/>
                    </a:lnTo>
                    <a:close/>
                    <a:moveTo>
                      <a:pt x="357" y="102"/>
                    </a:moveTo>
                    <a:lnTo>
                      <a:pt x="357" y="104"/>
                    </a:lnTo>
                    <a:lnTo>
                      <a:pt x="359" y="111"/>
                    </a:lnTo>
                    <a:lnTo>
                      <a:pt x="366" y="109"/>
                    </a:lnTo>
                    <a:lnTo>
                      <a:pt x="371" y="113"/>
                    </a:lnTo>
                    <a:lnTo>
                      <a:pt x="375" y="116"/>
                    </a:lnTo>
                    <a:lnTo>
                      <a:pt x="383" y="118"/>
                    </a:lnTo>
                    <a:lnTo>
                      <a:pt x="387" y="128"/>
                    </a:lnTo>
                    <a:lnTo>
                      <a:pt x="392" y="135"/>
                    </a:lnTo>
                    <a:lnTo>
                      <a:pt x="397" y="144"/>
                    </a:lnTo>
                    <a:lnTo>
                      <a:pt x="401" y="154"/>
                    </a:lnTo>
                    <a:lnTo>
                      <a:pt x="420" y="156"/>
                    </a:lnTo>
                    <a:lnTo>
                      <a:pt x="439" y="161"/>
                    </a:lnTo>
                    <a:lnTo>
                      <a:pt x="458" y="165"/>
                    </a:lnTo>
                    <a:lnTo>
                      <a:pt x="477" y="168"/>
                    </a:lnTo>
                    <a:lnTo>
                      <a:pt x="496" y="173"/>
                    </a:lnTo>
                    <a:lnTo>
                      <a:pt x="513" y="175"/>
                    </a:lnTo>
                    <a:lnTo>
                      <a:pt x="531" y="180"/>
                    </a:lnTo>
                    <a:lnTo>
                      <a:pt x="550" y="184"/>
                    </a:lnTo>
                    <a:lnTo>
                      <a:pt x="562" y="189"/>
                    </a:lnTo>
                    <a:lnTo>
                      <a:pt x="572" y="194"/>
                    </a:lnTo>
                    <a:lnTo>
                      <a:pt x="583" y="199"/>
                    </a:lnTo>
                    <a:lnTo>
                      <a:pt x="595" y="203"/>
                    </a:lnTo>
                    <a:lnTo>
                      <a:pt x="609" y="203"/>
                    </a:lnTo>
                    <a:lnTo>
                      <a:pt x="626" y="206"/>
                    </a:lnTo>
                    <a:lnTo>
                      <a:pt x="645" y="206"/>
                    </a:lnTo>
                    <a:lnTo>
                      <a:pt x="666" y="208"/>
                    </a:lnTo>
                    <a:lnTo>
                      <a:pt x="697" y="215"/>
                    </a:lnTo>
                    <a:lnTo>
                      <a:pt x="704" y="222"/>
                    </a:lnTo>
                    <a:lnTo>
                      <a:pt x="706" y="229"/>
                    </a:lnTo>
                    <a:lnTo>
                      <a:pt x="704" y="241"/>
                    </a:lnTo>
                    <a:lnTo>
                      <a:pt x="735" y="251"/>
                    </a:lnTo>
                    <a:lnTo>
                      <a:pt x="747" y="258"/>
                    </a:lnTo>
                    <a:lnTo>
                      <a:pt x="751" y="265"/>
                    </a:lnTo>
                    <a:lnTo>
                      <a:pt x="751" y="272"/>
                    </a:lnTo>
                    <a:lnTo>
                      <a:pt x="756" y="284"/>
                    </a:lnTo>
                    <a:lnTo>
                      <a:pt x="754" y="291"/>
                    </a:lnTo>
                    <a:lnTo>
                      <a:pt x="754" y="303"/>
                    </a:lnTo>
                    <a:lnTo>
                      <a:pt x="749" y="317"/>
                    </a:lnTo>
                    <a:lnTo>
                      <a:pt x="749" y="324"/>
                    </a:lnTo>
                    <a:lnTo>
                      <a:pt x="749" y="329"/>
                    </a:lnTo>
                    <a:lnTo>
                      <a:pt x="749" y="333"/>
                    </a:lnTo>
                    <a:lnTo>
                      <a:pt x="754" y="333"/>
                    </a:lnTo>
                    <a:lnTo>
                      <a:pt x="763" y="333"/>
                    </a:lnTo>
                    <a:lnTo>
                      <a:pt x="775" y="329"/>
                    </a:lnTo>
                    <a:lnTo>
                      <a:pt x="780" y="329"/>
                    </a:lnTo>
                    <a:lnTo>
                      <a:pt x="780" y="331"/>
                    </a:lnTo>
                    <a:lnTo>
                      <a:pt x="780" y="336"/>
                    </a:lnTo>
                    <a:lnTo>
                      <a:pt x="773" y="357"/>
                    </a:lnTo>
                    <a:lnTo>
                      <a:pt x="775" y="366"/>
                    </a:lnTo>
                    <a:lnTo>
                      <a:pt x="780" y="374"/>
                    </a:lnTo>
                    <a:lnTo>
                      <a:pt x="787" y="383"/>
                    </a:lnTo>
                    <a:lnTo>
                      <a:pt x="794" y="385"/>
                    </a:lnTo>
                    <a:lnTo>
                      <a:pt x="794" y="390"/>
                    </a:lnTo>
                    <a:lnTo>
                      <a:pt x="791" y="400"/>
                    </a:lnTo>
                    <a:lnTo>
                      <a:pt x="784" y="409"/>
                    </a:lnTo>
                    <a:lnTo>
                      <a:pt x="763" y="423"/>
                    </a:lnTo>
                    <a:lnTo>
                      <a:pt x="761" y="430"/>
                    </a:lnTo>
                    <a:lnTo>
                      <a:pt x="761" y="435"/>
                    </a:lnTo>
                    <a:lnTo>
                      <a:pt x="749" y="461"/>
                    </a:lnTo>
                    <a:lnTo>
                      <a:pt x="742" y="478"/>
                    </a:lnTo>
                    <a:lnTo>
                      <a:pt x="739" y="494"/>
                    </a:lnTo>
                    <a:lnTo>
                      <a:pt x="742" y="504"/>
                    </a:lnTo>
                    <a:lnTo>
                      <a:pt x="749" y="506"/>
                    </a:lnTo>
                    <a:lnTo>
                      <a:pt x="756" y="504"/>
                    </a:lnTo>
                    <a:lnTo>
                      <a:pt x="758" y="496"/>
                    </a:lnTo>
                    <a:lnTo>
                      <a:pt x="765" y="489"/>
                    </a:lnTo>
                    <a:lnTo>
                      <a:pt x="775" y="482"/>
                    </a:lnTo>
                    <a:lnTo>
                      <a:pt x="782" y="473"/>
                    </a:lnTo>
                    <a:lnTo>
                      <a:pt x="789" y="452"/>
                    </a:lnTo>
                    <a:lnTo>
                      <a:pt x="799" y="440"/>
                    </a:lnTo>
                    <a:lnTo>
                      <a:pt x="803" y="437"/>
                    </a:lnTo>
                    <a:lnTo>
                      <a:pt x="806" y="437"/>
                    </a:lnTo>
                    <a:lnTo>
                      <a:pt x="817" y="433"/>
                    </a:lnTo>
                    <a:lnTo>
                      <a:pt x="827" y="433"/>
                    </a:lnTo>
                    <a:lnTo>
                      <a:pt x="832" y="440"/>
                    </a:lnTo>
                    <a:lnTo>
                      <a:pt x="839" y="444"/>
                    </a:lnTo>
                    <a:lnTo>
                      <a:pt x="841" y="452"/>
                    </a:lnTo>
                    <a:lnTo>
                      <a:pt x="839" y="463"/>
                    </a:lnTo>
                    <a:lnTo>
                      <a:pt x="834" y="475"/>
                    </a:lnTo>
                    <a:lnTo>
                      <a:pt x="829" y="489"/>
                    </a:lnTo>
                    <a:lnTo>
                      <a:pt x="822" y="508"/>
                    </a:lnTo>
                    <a:lnTo>
                      <a:pt x="820" y="534"/>
                    </a:lnTo>
                    <a:lnTo>
                      <a:pt x="820" y="556"/>
                    </a:lnTo>
                    <a:lnTo>
                      <a:pt x="825" y="567"/>
                    </a:lnTo>
                    <a:lnTo>
                      <a:pt x="822" y="579"/>
                    </a:lnTo>
                    <a:lnTo>
                      <a:pt x="813" y="591"/>
                    </a:lnTo>
                    <a:lnTo>
                      <a:pt x="806" y="605"/>
                    </a:lnTo>
                    <a:lnTo>
                      <a:pt x="801" y="624"/>
                    </a:lnTo>
                    <a:lnTo>
                      <a:pt x="799" y="638"/>
                    </a:lnTo>
                    <a:lnTo>
                      <a:pt x="799" y="650"/>
                    </a:lnTo>
                    <a:lnTo>
                      <a:pt x="801" y="660"/>
                    </a:lnTo>
                    <a:lnTo>
                      <a:pt x="806" y="671"/>
                    </a:lnTo>
                    <a:lnTo>
                      <a:pt x="806" y="676"/>
                    </a:lnTo>
                    <a:lnTo>
                      <a:pt x="796" y="705"/>
                    </a:lnTo>
                    <a:lnTo>
                      <a:pt x="794" y="716"/>
                    </a:lnTo>
                    <a:lnTo>
                      <a:pt x="794" y="728"/>
                    </a:lnTo>
                    <a:lnTo>
                      <a:pt x="791" y="738"/>
                    </a:lnTo>
                    <a:lnTo>
                      <a:pt x="784" y="759"/>
                    </a:lnTo>
                    <a:lnTo>
                      <a:pt x="784" y="771"/>
                    </a:lnTo>
                    <a:lnTo>
                      <a:pt x="784" y="780"/>
                    </a:lnTo>
                    <a:lnTo>
                      <a:pt x="787" y="797"/>
                    </a:lnTo>
                    <a:lnTo>
                      <a:pt x="787" y="804"/>
                    </a:lnTo>
                    <a:lnTo>
                      <a:pt x="789" y="806"/>
                    </a:lnTo>
                    <a:lnTo>
                      <a:pt x="791" y="811"/>
                    </a:lnTo>
                    <a:lnTo>
                      <a:pt x="791" y="816"/>
                    </a:lnTo>
                    <a:lnTo>
                      <a:pt x="789" y="823"/>
                    </a:lnTo>
                    <a:lnTo>
                      <a:pt x="791" y="830"/>
                    </a:lnTo>
                    <a:lnTo>
                      <a:pt x="796" y="832"/>
                    </a:lnTo>
                    <a:lnTo>
                      <a:pt x="799" y="842"/>
                    </a:lnTo>
                    <a:lnTo>
                      <a:pt x="801" y="854"/>
                    </a:lnTo>
                    <a:lnTo>
                      <a:pt x="806" y="863"/>
                    </a:lnTo>
                    <a:lnTo>
                      <a:pt x="810" y="870"/>
                    </a:lnTo>
                    <a:lnTo>
                      <a:pt x="813" y="882"/>
                    </a:lnTo>
                    <a:lnTo>
                      <a:pt x="810" y="898"/>
                    </a:lnTo>
                    <a:lnTo>
                      <a:pt x="810" y="927"/>
                    </a:lnTo>
                    <a:lnTo>
                      <a:pt x="813" y="936"/>
                    </a:lnTo>
                    <a:lnTo>
                      <a:pt x="791" y="939"/>
                    </a:lnTo>
                    <a:lnTo>
                      <a:pt x="723" y="943"/>
                    </a:lnTo>
                    <a:lnTo>
                      <a:pt x="652" y="948"/>
                    </a:lnTo>
                    <a:lnTo>
                      <a:pt x="583" y="953"/>
                    </a:lnTo>
                    <a:lnTo>
                      <a:pt x="513" y="958"/>
                    </a:lnTo>
                    <a:lnTo>
                      <a:pt x="442" y="962"/>
                    </a:lnTo>
                    <a:lnTo>
                      <a:pt x="371" y="965"/>
                    </a:lnTo>
                    <a:lnTo>
                      <a:pt x="371" y="965"/>
                    </a:lnTo>
                    <a:lnTo>
                      <a:pt x="364" y="946"/>
                    </a:lnTo>
                    <a:lnTo>
                      <a:pt x="347" y="932"/>
                    </a:lnTo>
                    <a:lnTo>
                      <a:pt x="321" y="924"/>
                    </a:lnTo>
                    <a:lnTo>
                      <a:pt x="302" y="913"/>
                    </a:lnTo>
                    <a:lnTo>
                      <a:pt x="295" y="891"/>
                    </a:lnTo>
                    <a:lnTo>
                      <a:pt x="288" y="870"/>
                    </a:lnTo>
                    <a:lnTo>
                      <a:pt x="286" y="846"/>
                    </a:lnTo>
                    <a:lnTo>
                      <a:pt x="286" y="825"/>
                    </a:lnTo>
                    <a:lnTo>
                      <a:pt x="290" y="809"/>
                    </a:lnTo>
                    <a:lnTo>
                      <a:pt x="288" y="797"/>
                    </a:lnTo>
                    <a:lnTo>
                      <a:pt x="278" y="792"/>
                    </a:lnTo>
                    <a:lnTo>
                      <a:pt x="274" y="785"/>
                    </a:lnTo>
                    <a:lnTo>
                      <a:pt x="269" y="776"/>
                    </a:lnTo>
                    <a:lnTo>
                      <a:pt x="267" y="764"/>
                    </a:lnTo>
                    <a:lnTo>
                      <a:pt x="260" y="700"/>
                    </a:lnTo>
                    <a:lnTo>
                      <a:pt x="250" y="671"/>
                    </a:lnTo>
                    <a:lnTo>
                      <a:pt x="241" y="660"/>
                    </a:lnTo>
                    <a:lnTo>
                      <a:pt x="219" y="648"/>
                    </a:lnTo>
                    <a:lnTo>
                      <a:pt x="189" y="634"/>
                    </a:lnTo>
                    <a:lnTo>
                      <a:pt x="170" y="622"/>
                    </a:lnTo>
                    <a:lnTo>
                      <a:pt x="158" y="601"/>
                    </a:lnTo>
                    <a:lnTo>
                      <a:pt x="134" y="579"/>
                    </a:lnTo>
                    <a:lnTo>
                      <a:pt x="120" y="570"/>
                    </a:lnTo>
                    <a:lnTo>
                      <a:pt x="106" y="567"/>
                    </a:lnTo>
                    <a:lnTo>
                      <a:pt x="94" y="560"/>
                    </a:lnTo>
                    <a:lnTo>
                      <a:pt x="87" y="549"/>
                    </a:lnTo>
                    <a:lnTo>
                      <a:pt x="75" y="541"/>
                    </a:lnTo>
                    <a:lnTo>
                      <a:pt x="61" y="539"/>
                    </a:lnTo>
                    <a:lnTo>
                      <a:pt x="44" y="532"/>
                    </a:lnTo>
                    <a:lnTo>
                      <a:pt x="23" y="515"/>
                    </a:lnTo>
                    <a:lnTo>
                      <a:pt x="23" y="513"/>
                    </a:lnTo>
                    <a:lnTo>
                      <a:pt x="18" y="501"/>
                    </a:lnTo>
                    <a:lnTo>
                      <a:pt x="21" y="494"/>
                    </a:lnTo>
                    <a:lnTo>
                      <a:pt x="23" y="470"/>
                    </a:lnTo>
                    <a:lnTo>
                      <a:pt x="23" y="463"/>
                    </a:lnTo>
                    <a:lnTo>
                      <a:pt x="18" y="442"/>
                    </a:lnTo>
                    <a:lnTo>
                      <a:pt x="23" y="433"/>
                    </a:lnTo>
                    <a:lnTo>
                      <a:pt x="21" y="407"/>
                    </a:lnTo>
                    <a:lnTo>
                      <a:pt x="23" y="397"/>
                    </a:lnTo>
                    <a:lnTo>
                      <a:pt x="33" y="376"/>
                    </a:lnTo>
                    <a:lnTo>
                      <a:pt x="33" y="364"/>
                    </a:lnTo>
                    <a:lnTo>
                      <a:pt x="28" y="352"/>
                    </a:lnTo>
                    <a:lnTo>
                      <a:pt x="21" y="340"/>
                    </a:lnTo>
                    <a:lnTo>
                      <a:pt x="0" y="331"/>
                    </a:lnTo>
                    <a:lnTo>
                      <a:pt x="0" y="317"/>
                    </a:lnTo>
                    <a:lnTo>
                      <a:pt x="2" y="307"/>
                    </a:lnTo>
                    <a:lnTo>
                      <a:pt x="14" y="288"/>
                    </a:lnTo>
                    <a:lnTo>
                      <a:pt x="21" y="272"/>
                    </a:lnTo>
                    <a:lnTo>
                      <a:pt x="26" y="262"/>
                    </a:lnTo>
                    <a:lnTo>
                      <a:pt x="66" y="236"/>
                    </a:lnTo>
                    <a:lnTo>
                      <a:pt x="73" y="234"/>
                    </a:lnTo>
                    <a:lnTo>
                      <a:pt x="80" y="227"/>
                    </a:lnTo>
                    <a:lnTo>
                      <a:pt x="85" y="225"/>
                    </a:lnTo>
                    <a:lnTo>
                      <a:pt x="82" y="194"/>
                    </a:lnTo>
                    <a:lnTo>
                      <a:pt x="82" y="163"/>
                    </a:lnTo>
                    <a:lnTo>
                      <a:pt x="80" y="132"/>
                    </a:lnTo>
                    <a:lnTo>
                      <a:pt x="80" y="102"/>
                    </a:lnTo>
                    <a:lnTo>
                      <a:pt x="89" y="99"/>
                    </a:lnTo>
                    <a:lnTo>
                      <a:pt x="94" y="92"/>
                    </a:lnTo>
                    <a:lnTo>
                      <a:pt x="104" y="80"/>
                    </a:lnTo>
                    <a:lnTo>
                      <a:pt x="106" y="80"/>
                    </a:lnTo>
                    <a:lnTo>
                      <a:pt x="106" y="80"/>
                    </a:lnTo>
                    <a:lnTo>
                      <a:pt x="111" y="85"/>
                    </a:lnTo>
                    <a:lnTo>
                      <a:pt x="125" y="92"/>
                    </a:lnTo>
                    <a:lnTo>
                      <a:pt x="134" y="92"/>
                    </a:lnTo>
                    <a:lnTo>
                      <a:pt x="146" y="90"/>
                    </a:lnTo>
                    <a:lnTo>
                      <a:pt x="193" y="73"/>
                    </a:lnTo>
                    <a:lnTo>
                      <a:pt x="215" y="64"/>
                    </a:lnTo>
                    <a:lnTo>
                      <a:pt x="234" y="47"/>
                    </a:lnTo>
                    <a:lnTo>
                      <a:pt x="236" y="47"/>
                    </a:lnTo>
                    <a:lnTo>
                      <a:pt x="245" y="50"/>
                    </a:lnTo>
                    <a:lnTo>
                      <a:pt x="248" y="50"/>
                    </a:lnTo>
                    <a:lnTo>
                      <a:pt x="274" y="31"/>
                    </a:lnTo>
                    <a:lnTo>
                      <a:pt x="281" y="28"/>
                    </a:lnTo>
                    <a:lnTo>
                      <a:pt x="288" y="28"/>
                    </a:lnTo>
                    <a:lnTo>
                      <a:pt x="297" y="35"/>
                    </a:lnTo>
                    <a:lnTo>
                      <a:pt x="300" y="38"/>
                    </a:lnTo>
                    <a:lnTo>
                      <a:pt x="297" y="47"/>
                    </a:lnTo>
                    <a:lnTo>
                      <a:pt x="290" y="59"/>
                    </a:lnTo>
                    <a:lnTo>
                      <a:pt x="286" y="71"/>
                    </a:lnTo>
                    <a:lnTo>
                      <a:pt x="288" y="80"/>
                    </a:lnTo>
                    <a:lnTo>
                      <a:pt x="286" y="87"/>
                    </a:lnTo>
                    <a:lnTo>
                      <a:pt x="276" y="102"/>
                    </a:lnTo>
                    <a:lnTo>
                      <a:pt x="281" y="104"/>
                    </a:lnTo>
                    <a:lnTo>
                      <a:pt x="302" y="95"/>
                    </a:lnTo>
                    <a:lnTo>
                      <a:pt x="305" y="90"/>
                    </a:lnTo>
                    <a:lnTo>
                      <a:pt x="305" y="90"/>
                    </a:lnTo>
                    <a:lnTo>
                      <a:pt x="305" y="85"/>
                    </a:lnTo>
                    <a:lnTo>
                      <a:pt x="307" y="85"/>
                    </a:lnTo>
                    <a:lnTo>
                      <a:pt x="323" y="97"/>
                    </a:lnTo>
                    <a:lnTo>
                      <a:pt x="338" y="102"/>
                    </a:lnTo>
                    <a:lnTo>
                      <a:pt x="347" y="104"/>
                    </a:lnTo>
                    <a:lnTo>
                      <a:pt x="357" y="102"/>
                    </a:lnTo>
                    <a:close/>
                    <a:moveTo>
                      <a:pt x="331" y="35"/>
                    </a:moveTo>
                    <a:lnTo>
                      <a:pt x="326" y="35"/>
                    </a:lnTo>
                    <a:lnTo>
                      <a:pt x="316" y="35"/>
                    </a:lnTo>
                    <a:lnTo>
                      <a:pt x="316" y="31"/>
                    </a:lnTo>
                    <a:lnTo>
                      <a:pt x="326" y="26"/>
                    </a:lnTo>
                    <a:lnTo>
                      <a:pt x="331" y="26"/>
                    </a:lnTo>
                    <a:lnTo>
                      <a:pt x="333" y="26"/>
                    </a:lnTo>
                    <a:lnTo>
                      <a:pt x="331" y="35"/>
                    </a:lnTo>
                    <a:close/>
                    <a:moveTo>
                      <a:pt x="309" y="64"/>
                    </a:moveTo>
                    <a:lnTo>
                      <a:pt x="302" y="69"/>
                    </a:lnTo>
                    <a:lnTo>
                      <a:pt x="297" y="69"/>
                    </a:lnTo>
                    <a:lnTo>
                      <a:pt x="300" y="64"/>
                    </a:lnTo>
                    <a:lnTo>
                      <a:pt x="302" y="59"/>
                    </a:lnTo>
                    <a:lnTo>
                      <a:pt x="321" y="45"/>
                    </a:lnTo>
                    <a:lnTo>
                      <a:pt x="326" y="45"/>
                    </a:lnTo>
                    <a:lnTo>
                      <a:pt x="326" y="47"/>
                    </a:lnTo>
                    <a:lnTo>
                      <a:pt x="316" y="54"/>
                    </a:lnTo>
                    <a:lnTo>
                      <a:pt x="314" y="59"/>
                    </a:lnTo>
                    <a:lnTo>
                      <a:pt x="314" y="61"/>
                    </a:lnTo>
                    <a:lnTo>
                      <a:pt x="309" y="64"/>
                    </a:lnTo>
                    <a:close/>
                    <a:moveTo>
                      <a:pt x="900" y="322"/>
                    </a:moveTo>
                    <a:lnTo>
                      <a:pt x="895" y="324"/>
                    </a:lnTo>
                    <a:lnTo>
                      <a:pt x="886" y="324"/>
                    </a:lnTo>
                    <a:lnTo>
                      <a:pt x="884" y="319"/>
                    </a:lnTo>
                    <a:lnTo>
                      <a:pt x="886" y="307"/>
                    </a:lnTo>
                    <a:lnTo>
                      <a:pt x="888" y="310"/>
                    </a:lnTo>
                    <a:lnTo>
                      <a:pt x="895" y="310"/>
                    </a:lnTo>
                    <a:lnTo>
                      <a:pt x="898" y="310"/>
                    </a:lnTo>
                    <a:lnTo>
                      <a:pt x="900" y="312"/>
                    </a:lnTo>
                    <a:lnTo>
                      <a:pt x="900" y="322"/>
                    </a:lnTo>
                    <a:close/>
                    <a:moveTo>
                      <a:pt x="884" y="348"/>
                    </a:moveTo>
                    <a:lnTo>
                      <a:pt x="881" y="350"/>
                    </a:lnTo>
                    <a:lnTo>
                      <a:pt x="877" y="350"/>
                    </a:lnTo>
                    <a:lnTo>
                      <a:pt x="874" y="352"/>
                    </a:lnTo>
                    <a:lnTo>
                      <a:pt x="877" y="364"/>
                    </a:lnTo>
                    <a:lnTo>
                      <a:pt x="874" y="366"/>
                    </a:lnTo>
                    <a:lnTo>
                      <a:pt x="872" y="366"/>
                    </a:lnTo>
                    <a:lnTo>
                      <a:pt x="872" y="369"/>
                    </a:lnTo>
                    <a:lnTo>
                      <a:pt x="874" y="374"/>
                    </a:lnTo>
                    <a:lnTo>
                      <a:pt x="877" y="378"/>
                    </a:lnTo>
                    <a:lnTo>
                      <a:pt x="874" y="383"/>
                    </a:lnTo>
                    <a:lnTo>
                      <a:pt x="872" y="385"/>
                    </a:lnTo>
                    <a:lnTo>
                      <a:pt x="867" y="385"/>
                    </a:lnTo>
                    <a:lnTo>
                      <a:pt x="865" y="392"/>
                    </a:lnTo>
                    <a:lnTo>
                      <a:pt x="860" y="404"/>
                    </a:lnTo>
                    <a:lnTo>
                      <a:pt x="860" y="411"/>
                    </a:lnTo>
                    <a:lnTo>
                      <a:pt x="860" y="414"/>
                    </a:lnTo>
                    <a:lnTo>
                      <a:pt x="860" y="418"/>
                    </a:lnTo>
                    <a:lnTo>
                      <a:pt x="848" y="437"/>
                    </a:lnTo>
                    <a:lnTo>
                      <a:pt x="843" y="440"/>
                    </a:lnTo>
                    <a:lnTo>
                      <a:pt x="836" y="437"/>
                    </a:lnTo>
                    <a:lnTo>
                      <a:pt x="832" y="433"/>
                    </a:lnTo>
                    <a:lnTo>
                      <a:pt x="829" y="426"/>
                    </a:lnTo>
                    <a:lnTo>
                      <a:pt x="827" y="418"/>
                    </a:lnTo>
                    <a:lnTo>
                      <a:pt x="829" y="414"/>
                    </a:lnTo>
                    <a:lnTo>
                      <a:pt x="839" y="397"/>
                    </a:lnTo>
                    <a:lnTo>
                      <a:pt x="843" y="385"/>
                    </a:lnTo>
                    <a:lnTo>
                      <a:pt x="846" y="374"/>
                    </a:lnTo>
                    <a:lnTo>
                      <a:pt x="851" y="364"/>
                    </a:lnTo>
                    <a:lnTo>
                      <a:pt x="858" y="362"/>
                    </a:lnTo>
                    <a:lnTo>
                      <a:pt x="865" y="352"/>
                    </a:lnTo>
                    <a:lnTo>
                      <a:pt x="867" y="340"/>
                    </a:lnTo>
                    <a:lnTo>
                      <a:pt x="872" y="336"/>
                    </a:lnTo>
                    <a:lnTo>
                      <a:pt x="879" y="336"/>
                    </a:lnTo>
                    <a:lnTo>
                      <a:pt x="884" y="340"/>
                    </a:lnTo>
                    <a:lnTo>
                      <a:pt x="884" y="34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34" name="Freeform 92">
                <a:extLst>
                  <a:ext uri="{FF2B5EF4-FFF2-40B4-BE49-F238E27FC236}">
                    <a16:creationId xmlns:a16="http://schemas.microsoft.com/office/drawing/2014/main" id="{E09214C7-DEBC-15FC-C624-AC73855635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2" y="764"/>
                <a:ext cx="758" cy="742"/>
              </a:xfrm>
              <a:custGeom>
                <a:avLst/>
                <a:gdLst>
                  <a:gd name="T0" fmla="*/ 472 w 758"/>
                  <a:gd name="T1" fmla="*/ 215 h 742"/>
                  <a:gd name="T2" fmla="*/ 498 w 758"/>
                  <a:gd name="T3" fmla="*/ 248 h 742"/>
                  <a:gd name="T4" fmla="*/ 541 w 758"/>
                  <a:gd name="T5" fmla="*/ 198 h 742"/>
                  <a:gd name="T6" fmla="*/ 576 w 758"/>
                  <a:gd name="T7" fmla="*/ 163 h 742"/>
                  <a:gd name="T8" fmla="*/ 584 w 758"/>
                  <a:gd name="T9" fmla="*/ 163 h 742"/>
                  <a:gd name="T10" fmla="*/ 598 w 758"/>
                  <a:gd name="T11" fmla="*/ 172 h 742"/>
                  <a:gd name="T12" fmla="*/ 626 w 758"/>
                  <a:gd name="T13" fmla="*/ 170 h 742"/>
                  <a:gd name="T14" fmla="*/ 638 w 758"/>
                  <a:gd name="T15" fmla="*/ 149 h 742"/>
                  <a:gd name="T16" fmla="*/ 685 w 758"/>
                  <a:gd name="T17" fmla="*/ 127 h 742"/>
                  <a:gd name="T18" fmla="*/ 721 w 758"/>
                  <a:gd name="T19" fmla="*/ 135 h 742"/>
                  <a:gd name="T20" fmla="*/ 730 w 758"/>
                  <a:gd name="T21" fmla="*/ 146 h 742"/>
                  <a:gd name="T22" fmla="*/ 742 w 758"/>
                  <a:gd name="T23" fmla="*/ 163 h 742"/>
                  <a:gd name="T24" fmla="*/ 751 w 758"/>
                  <a:gd name="T25" fmla="*/ 175 h 742"/>
                  <a:gd name="T26" fmla="*/ 751 w 758"/>
                  <a:gd name="T27" fmla="*/ 213 h 742"/>
                  <a:gd name="T28" fmla="*/ 697 w 758"/>
                  <a:gd name="T29" fmla="*/ 203 h 742"/>
                  <a:gd name="T30" fmla="*/ 654 w 758"/>
                  <a:gd name="T31" fmla="*/ 191 h 742"/>
                  <a:gd name="T32" fmla="*/ 652 w 758"/>
                  <a:gd name="T33" fmla="*/ 246 h 742"/>
                  <a:gd name="T34" fmla="*/ 614 w 758"/>
                  <a:gd name="T35" fmla="*/ 302 h 742"/>
                  <a:gd name="T36" fmla="*/ 595 w 758"/>
                  <a:gd name="T37" fmla="*/ 331 h 742"/>
                  <a:gd name="T38" fmla="*/ 565 w 758"/>
                  <a:gd name="T39" fmla="*/ 352 h 742"/>
                  <a:gd name="T40" fmla="*/ 553 w 758"/>
                  <a:gd name="T41" fmla="*/ 399 h 742"/>
                  <a:gd name="T42" fmla="*/ 524 w 758"/>
                  <a:gd name="T43" fmla="*/ 421 h 742"/>
                  <a:gd name="T44" fmla="*/ 494 w 758"/>
                  <a:gd name="T45" fmla="*/ 404 h 742"/>
                  <a:gd name="T46" fmla="*/ 477 w 758"/>
                  <a:gd name="T47" fmla="*/ 411 h 742"/>
                  <a:gd name="T48" fmla="*/ 463 w 758"/>
                  <a:gd name="T49" fmla="*/ 473 h 742"/>
                  <a:gd name="T50" fmla="*/ 418 w 758"/>
                  <a:gd name="T51" fmla="*/ 574 h 742"/>
                  <a:gd name="T52" fmla="*/ 413 w 758"/>
                  <a:gd name="T53" fmla="*/ 615 h 742"/>
                  <a:gd name="T54" fmla="*/ 409 w 758"/>
                  <a:gd name="T55" fmla="*/ 643 h 742"/>
                  <a:gd name="T56" fmla="*/ 383 w 758"/>
                  <a:gd name="T57" fmla="*/ 657 h 742"/>
                  <a:gd name="T58" fmla="*/ 338 w 758"/>
                  <a:gd name="T59" fmla="*/ 678 h 742"/>
                  <a:gd name="T60" fmla="*/ 321 w 758"/>
                  <a:gd name="T61" fmla="*/ 678 h 742"/>
                  <a:gd name="T62" fmla="*/ 316 w 758"/>
                  <a:gd name="T63" fmla="*/ 702 h 742"/>
                  <a:gd name="T64" fmla="*/ 274 w 758"/>
                  <a:gd name="T65" fmla="*/ 719 h 742"/>
                  <a:gd name="T66" fmla="*/ 234 w 758"/>
                  <a:gd name="T67" fmla="*/ 721 h 742"/>
                  <a:gd name="T68" fmla="*/ 208 w 758"/>
                  <a:gd name="T69" fmla="*/ 742 h 742"/>
                  <a:gd name="T70" fmla="*/ 165 w 758"/>
                  <a:gd name="T71" fmla="*/ 728 h 742"/>
                  <a:gd name="T72" fmla="*/ 144 w 758"/>
                  <a:gd name="T73" fmla="*/ 704 h 742"/>
                  <a:gd name="T74" fmla="*/ 134 w 758"/>
                  <a:gd name="T75" fmla="*/ 683 h 742"/>
                  <a:gd name="T76" fmla="*/ 56 w 758"/>
                  <a:gd name="T77" fmla="*/ 633 h 742"/>
                  <a:gd name="T78" fmla="*/ 35 w 758"/>
                  <a:gd name="T79" fmla="*/ 603 h 742"/>
                  <a:gd name="T80" fmla="*/ 7 w 758"/>
                  <a:gd name="T81" fmla="*/ 565 h 742"/>
                  <a:gd name="T82" fmla="*/ 4 w 758"/>
                  <a:gd name="T83" fmla="*/ 515 h 742"/>
                  <a:gd name="T84" fmla="*/ 38 w 758"/>
                  <a:gd name="T85" fmla="*/ 508 h 742"/>
                  <a:gd name="T86" fmla="*/ 54 w 758"/>
                  <a:gd name="T87" fmla="*/ 470 h 742"/>
                  <a:gd name="T88" fmla="*/ 61 w 758"/>
                  <a:gd name="T89" fmla="*/ 444 h 742"/>
                  <a:gd name="T90" fmla="*/ 73 w 758"/>
                  <a:gd name="T91" fmla="*/ 390 h 742"/>
                  <a:gd name="T92" fmla="*/ 97 w 758"/>
                  <a:gd name="T93" fmla="*/ 388 h 742"/>
                  <a:gd name="T94" fmla="*/ 106 w 758"/>
                  <a:gd name="T95" fmla="*/ 399 h 742"/>
                  <a:gd name="T96" fmla="*/ 118 w 758"/>
                  <a:gd name="T97" fmla="*/ 385 h 742"/>
                  <a:gd name="T98" fmla="*/ 113 w 758"/>
                  <a:gd name="T99" fmla="*/ 366 h 742"/>
                  <a:gd name="T100" fmla="*/ 120 w 758"/>
                  <a:gd name="T101" fmla="*/ 343 h 742"/>
                  <a:gd name="T102" fmla="*/ 137 w 758"/>
                  <a:gd name="T103" fmla="*/ 312 h 742"/>
                  <a:gd name="T104" fmla="*/ 160 w 758"/>
                  <a:gd name="T105" fmla="*/ 283 h 742"/>
                  <a:gd name="T106" fmla="*/ 189 w 758"/>
                  <a:gd name="T107" fmla="*/ 281 h 742"/>
                  <a:gd name="T108" fmla="*/ 241 w 758"/>
                  <a:gd name="T109" fmla="*/ 213 h 742"/>
                  <a:gd name="T110" fmla="*/ 257 w 758"/>
                  <a:gd name="T111" fmla="*/ 99 h 742"/>
                  <a:gd name="T112" fmla="*/ 253 w 758"/>
                  <a:gd name="T113" fmla="*/ 30 h 742"/>
                  <a:gd name="T114" fmla="*/ 264 w 758"/>
                  <a:gd name="T115" fmla="*/ 0 h 742"/>
                  <a:gd name="T116" fmla="*/ 276 w 758"/>
                  <a:gd name="T117" fmla="*/ 71 h 742"/>
                  <a:gd name="T118" fmla="*/ 288 w 758"/>
                  <a:gd name="T119" fmla="*/ 144 h 742"/>
                  <a:gd name="T120" fmla="*/ 316 w 758"/>
                  <a:gd name="T121" fmla="*/ 187 h 742"/>
                  <a:gd name="T122" fmla="*/ 380 w 758"/>
                  <a:gd name="T123" fmla="*/ 177 h 742"/>
                  <a:gd name="T124" fmla="*/ 442 w 758"/>
                  <a:gd name="T125" fmla="*/ 165 h 7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58" h="742">
                    <a:moveTo>
                      <a:pt x="463" y="161"/>
                    </a:moveTo>
                    <a:lnTo>
                      <a:pt x="468" y="187"/>
                    </a:lnTo>
                    <a:lnTo>
                      <a:pt x="472" y="215"/>
                    </a:lnTo>
                    <a:lnTo>
                      <a:pt x="477" y="241"/>
                    </a:lnTo>
                    <a:lnTo>
                      <a:pt x="480" y="267"/>
                    </a:lnTo>
                    <a:lnTo>
                      <a:pt x="498" y="248"/>
                    </a:lnTo>
                    <a:lnTo>
                      <a:pt x="508" y="241"/>
                    </a:lnTo>
                    <a:lnTo>
                      <a:pt x="536" y="201"/>
                    </a:lnTo>
                    <a:lnTo>
                      <a:pt x="541" y="198"/>
                    </a:lnTo>
                    <a:lnTo>
                      <a:pt x="555" y="201"/>
                    </a:lnTo>
                    <a:lnTo>
                      <a:pt x="574" y="172"/>
                    </a:lnTo>
                    <a:lnTo>
                      <a:pt x="576" y="163"/>
                    </a:lnTo>
                    <a:lnTo>
                      <a:pt x="579" y="161"/>
                    </a:lnTo>
                    <a:lnTo>
                      <a:pt x="581" y="161"/>
                    </a:lnTo>
                    <a:lnTo>
                      <a:pt x="584" y="163"/>
                    </a:lnTo>
                    <a:lnTo>
                      <a:pt x="584" y="168"/>
                    </a:lnTo>
                    <a:lnTo>
                      <a:pt x="586" y="170"/>
                    </a:lnTo>
                    <a:lnTo>
                      <a:pt x="598" y="172"/>
                    </a:lnTo>
                    <a:lnTo>
                      <a:pt x="612" y="172"/>
                    </a:lnTo>
                    <a:lnTo>
                      <a:pt x="614" y="172"/>
                    </a:lnTo>
                    <a:lnTo>
                      <a:pt x="626" y="170"/>
                    </a:lnTo>
                    <a:lnTo>
                      <a:pt x="631" y="165"/>
                    </a:lnTo>
                    <a:lnTo>
                      <a:pt x="633" y="156"/>
                    </a:lnTo>
                    <a:lnTo>
                      <a:pt x="638" y="149"/>
                    </a:lnTo>
                    <a:lnTo>
                      <a:pt x="650" y="144"/>
                    </a:lnTo>
                    <a:lnTo>
                      <a:pt x="671" y="130"/>
                    </a:lnTo>
                    <a:lnTo>
                      <a:pt x="685" y="127"/>
                    </a:lnTo>
                    <a:lnTo>
                      <a:pt x="697" y="135"/>
                    </a:lnTo>
                    <a:lnTo>
                      <a:pt x="711" y="137"/>
                    </a:lnTo>
                    <a:lnTo>
                      <a:pt x="721" y="135"/>
                    </a:lnTo>
                    <a:lnTo>
                      <a:pt x="725" y="137"/>
                    </a:lnTo>
                    <a:lnTo>
                      <a:pt x="725" y="142"/>
                    </a:lnTo>
                    <a:lnTo>
                      <a:pt x="730" y="146"/>
                    </a:lnTo>
                    <a:lnTo>
                      <a:pt x="740" y="151"/>
                    </a:lnTo>
                    <a:lnTo>
                      <a:pt x="744" y="158"/>
                    </a:lnTo>
                    <a:lnTo>
                      <a:pt x="742" y="163"/>
                    </a:lnTo>
                    <a:lnTo>
                      <a:pt x="744" y="168"/>
                    </a:lnTo>
                    <a:lnTo>
                      <a:pt x="749" y="168"/>
                    </a:lnTo>
                    <a:lnTo>
                      <a:pt x="751" y="175"/>
                    </a:lnTo>
                    <a:lnTo>
                      <a:pt x="756" y="184"/>
                    </a:lnTo>
                    <a:lnTo>
                      <a:pt x="758" y="184"/>
                    </a:lnTo>
                    <a:lnTo>
                      <a:pt x="751" y="213"/>
                    </a:lnTo>
                    <a:lnTo>
                      <a:pt x="749" y="229"/>
                    </a:lnTo>
                    <a:lnTo>
                      <a:pt x="728" y="220"/>
                    </a:lnTo>
                    <a:lnTo>
                      <a:pt x="697" y="203"/>
                    </a:lnTo>
                    <a:lnTo>
                      <a:pt x="683" y="194"/>
                    </a:lnTo>
                    <a:lnTo>
                      <a:pt x="659" y="182"/>
                    </a:lnTo>
                    <a:lnTo>
                      <a:pt x="654" y="191"/>
                    </a:lnTo>
                    <a:lnTo>
                      <a:pt x="657" y="208"/>
                    </a:lnTo>
                    <a:lnTo>
                      <a:pt x="652" y="224"/>
                    </a:lnTo>
                    <a:lnTo>
                      <a:pt x="652" y="246"/>
                    </a:lnTo>
                    <a:lnTo>
                      <a:pt x="636" y="283"/>
                    </a:lnTo>
                    <a:lnTo>
                      <a:pt x="619" y="302"/>
                    </a:lnTo>
                    <a:lnTo>
                      <a:pt x="614" y="302"/>
                    </a:lnTo>
                    <a:lnTo>
                      <a:pt x="610" y="307"/>
                    </a:lnTo>
                    <a:lnTo>
                      <a:pt x="605" y="319"/>
                    </a:lnTo>
                    <a:lnTo>
                      <a:pt x="595" y="331"/>
                    </a:lnTo>
                    <a:lnTo>
                      <a:pt x="576" y="333"/>
                    </a:lnTo>
                    <a:lnTo>
                      <a:pt x="569" y="340"/>
                    </a:lnTo>
                    <a:lnTo>
                      <a:pt x="565" y="352"/>
                    </a:lnTo>
                    <a:lnTo>
                      <a:pt x="562" y="366"/>
                    </a:lnTo>
                    <a:lnTo>
                      <a:pt x="558" y="380"/>
                    </a:lnTo>
                    <a:lnTo>
                      <a:pt x="553" y="399"/>
                    </a:lnTo>
                    <a:lnTo>
                      <a:pt x="548" y="411"/>
                    </a:lnTo>
                    <a:lnTo>
                      <a:pt x="539" y="418"/>
                    </a:lnTo>
                    <a:lnTo>
                      <a:pt x="524" y="421"/>
                    </a:lnTo>
                    <a:lnTo>
                      <a:pt x="506" y="416"/>
                    </a:lnTo>
                    <a:lnTo>
                      <a:pt x="501" y="409"/>
                    </a:lnTo>
                    <a:lnTo>
                      <a:pt x="494" y="404"/>
                    </a:lnTo>
                    <a:lnTo>
                      <a:pt x="487" y="402"/>
                    </a:lnTo>
                    <a:lnTo>
                      <a:pt x="480" y="404"/>
                    </a:lnTo>
                    <a:lnTo>
                      <a:pt x="477" y="411"/>
                    </a:lnTo>
                    <a:lnTo>
                      <a:pt x="475" y="442"/>
                    </a:lnTo>
                    <a:lnTo>
                      <a:pt x="465" y="456"/>
                    </a:lnTo>
                    <a:lnTo>
                      <a:pt x="463" y="473"/>
                    </a:lnTo>
                    <a:lnTo>
                      <a:pt x="451" y="492"/>
                    </a:lnTo>
                    <a:lnTo>
                      <a:pt x="446" y="522"/>
                    </a:lnTo>
                    <a:lnTo>
                      <a:pt x="418" y="574"/>
                    </a:lnTo>
                    <a:lnTo>
                      <a:pt x="411" y="591"/>
                    </a:lnTo>
                    <a:lnTo>
                      <a:pt x="409" y="607"/>
                    </a:lnTo>
                    <a:lnTo>
                      <a:pt x="413" y="615"/>
                    </a:lnTo>
                    <a:lnTo>
                      <a:pt x="416" y="619"/>
                    </a:lnTo>
                    <a:lnTo>
                      <a:pt x="411" y="631"/>
                    </a:lnTo>
                    <a:lnTo>
                      <a:pt x="409" y="643"/>
                    </a:lnTo>
                    <a:lnTo>
                      <a:pt x="402" y="652"/>
                    </a:lnTo>
                    <a:lnTo>
                      <a:pt x="387" y="664"/>
                    </a:lnTo>
                    <a:lnTo>
                      <a:pt x="383" y="657"/>
                    </a:lnTo>
                    <a:lnTo>
                      <a:pt x="378" y="657"/>
                    </a:lnTo>
                    <a:lnTo>
                      <a:pt x="347" y="678"/>
                    </a:lnTo>
                    <a:lnTo>
                      <a:pt x="338" y="678"/>
                    </a:lnTo>
                    <a:lnTo>
                      <a:pt x="328" y="676"/>
                    </a:lnTo>
                    <a:lnTo>
                      <a:pt x="326" y="676"/>
                    </a:lnTo>
                    <a:lnTo>
                      <a:pt x="321" y="678"/>
                    </a:lnTo>
                    <a:lnTo>
                      <a:pt x="321" y="683"/>
                    </a:lnTo>
                    <a:lnTo>
                      <a:pt x="324" y="695"/>
                    </a:lnTo>
                    <a:lnTo>
                      <a:pt x="316" y="702"/>
                    </a:lnTo>
                    <a:lnTo>
                      <a:pt x="312" y="704"/>
                    </a:lnTo>
                    <a:lnTo>
                      <a:pt x="293" y="709"/>
                    </a:lnTo>
                    <a:lnTo>
                      <a:pt x="274" y="719"/>
                    </a:lnTo>
                    <a:lnTo>
                      <a:pt x="267" y="721"/>
                    </a:lnTo>
                    <a:lnTo>
                      <a:pt x="243" y="709"/>
                    </a:lnTo>
                    <a:lnTo>
                      <a:pt x="234" y="721"/>
                    </a:lnTo>
                    <a:lnTo>
                      <a:pt x="224" y="728"/>
                    </a:lnTo>
                    <a:lnTo>
                      <a:pt x="212" y="740"/>
                    </a:lnTo>
                    <a:lnTo>
                      <a:pt x="208" y="742"/>
                    </a:lnTo>
                    <a:lnTo>
                      <a:pt x="196" y="740"/>
                    </a:lnTo>
                    <a:lnTo>
                      <a:pt x="179" y="733"/>
                    </a:lnTo>
                    <a:lnTo>
                      <a:pt x="165" y="728"/>
                    </a:lnTo>
                    <a:lnTo>
                      <a:pt x="158" y="723"/>
                    </a:lnTo>
                    <a:lnTo>
                      <a:pt x="149" y="716"/>
                    </a:lnTo>
                    <a:lnTo>
                      <a:pt x="144" y="704"/>
                    </a:lnTo>
                    <a:lnTo>
                      <a:pt x="137" y="697"/>
                    </a:lnTo>
                    <a:lnTo>
                      <a:pt x="137" y="688"/>
                    </a:lnTo>
                    <a:lnTo>
                      <a:pt x="134" y="683"/>
                    </a:lnTo>
                    <a:lnTo>
                      <a:pt x="111" y="678"/>
                    </a:lnTo>
                    <a:lnTo>
                      <a:pt x="78" y="659"/>
                    </a:lnTo>
                    <a:lnTo>
                      <a:pt x="56" y="633"/>
                    </a:lnTo>
                    <a:lnTo>
                      <a:pt x="47" y="619"/>
                    </a:lnTo>
                    <a:lnTo>
                      <a:pt x="40" y="612"/>
                    </a:lnTo>
                    <a:lnTo>
                      <a:pt x="35" y="603"/>
                    </a:lnTo>
                    <a:lnTo>
                      <a:pt x="14" y="581"/>
                    </a:lnTo>
                    <a:lnTo>
                      <a:pt x="9" y="572"/>
                    </a:lnTo>
                    <a:lnTo>
                      <a:pt x="7" y="565"/>
                    </a:lnTo>
                    <a:lnTo>
                      <a:pt x="12" y="551"/>
                    </a:lnTo>
                    <a:lnTo>
                      <a:pt x="12" y="546"/>
                    </a:lnTo>
                    <a:lnTo>
                      <a:pt x="4" y="515"/>
                    </a:lnTo>
                    <a:lnTo>
                      <a:pt x="0" y="510"/>
                    </a:lnTo>
                    <a:lnTo>
                      <a:pt x="21" y="513"/>
                    </a:lnTo>
                    <a:lnTo>
                      <a:pt x="38" y="508"/>
                    </a:lnTo>
                    <a:lnTo>
                      <a:pt x="47" y="496"/>
                    </a:lnTo>
                    <a:lnTo>
                      <a:pt x="49" y="480"/>
                    </a:lnTo>
                    <a:lnTo>
                      <a:pt x="54" y="470"/>
                    </a:lnTo>
                    <a:lnTo>
                      <a:pt x="61" y="466"/>
                    </a:lnTo>
                    <a:lnTo>
                      <a:pt x="66" y="458"/>
                    </a:lnTo>
                    <a:lnTo>
                      <a:pt x="61" y="444"/>
                    </a:lnTo>
                    <a:lnTo>
                      <a:pt x="56" y="432"/>
                    </a:lnTo>
                    <a:lnTo>
                      <a:pt x="61" y="416"/>
                    </a:lnTo>
                    <a:lnTo>
                      <a:pt x="73" y="390"/>
                    </a:lnTo>
                    <a:lnTo>
                      <a:pt x="82" y="378"/>
                    </a:lnTo>
                    <a:lnTo>
                      <a:pt x="92" y="380"/>
                    </a:lnTo>
                    <a:lnTo>
                      <a:pt x="97" y="388"/>
                    </a:lnTo>
                    <a:lnTo>
                      <a:pt x="101" y="397"/>
                    </a:lnTo>
                    <a:lnTo>
                      <a:pt x="104" y="399"/>
                    </a:lnTo>
                    <a:lnTo>
                      <a:pt x="106" y="399"/>
                    </a:lnTo>
                    <a:lnTo>
                      <a:pt x="111" y="390"/>
                    </a:lnTo>
                    <a:lnTo>
                      <a:pt x="116" y="385"/>
                    </a:lnTo>
                    <a:lnTo>
                      <a:pt x="118" y="385"/>
                    </a:lnTo>
                    <a:lnTo>
                      <a:pt x="120" y="385"/>
                    </a:lnTo>
                    <a:lnTo>
                      <a:pt x="120" y="380"/>
                    </a:lnTo>
                    <a:lnTo>
                      <a:pt x="113" y="366"/>
                    </a:lnTo>
                    <a:lnTo>
                      <a:pt x="111" y="357"/>
                    </a:lnTo>
                    <a:lnTo>
                      <a:pt x="116" y="354"/>
                    </a:lnTo>
                    <a:lnTo>
                      <a:pt x="120" y="343"/>
                    </a:lnTo>
                    <a:lnTo>
                      <a:pt x="123" y="324"/>
                    </a:lnTo>
                    <a:lnTo>
                      <a:pt x="130" y="314"/>
                    </a:lnTo>
                    <a:lnTo>
                      <a:pt x="137" y="312"/>
                    </a:lnTo>
                    <a:lnTo>
                      <a:pt x="144" y="305"/>
                    </a:lnTo>
                    <a:lnTo>
                      <a:pt x="153" y="288"/>
                    </a:lnTo>
                    <a:lnTo>
                      <a:pt x="160" y="283"/>
                    </a:lnTo>
                    <a:lnTo>
                      <a:pt x="168" y="288"/>
                    </a:lnTo>
                    <a:lnTo>
                      <a:pt x="179" y="288"/>
                    </a:lnTo>
                    <a:lnTo>
                      <a:pt x="189" y="281"/>
                    </a:lnTo>
                    <a:lnTo>
                      <a:pt x="205" y="262"/>
                    </a:lnTo>
                    <a:lnTo>
                      <a:pt x="231" y="234"/>
                    </a:lnTo>
                    <a:lnTo>
                      <a:pt x="241" y="213"/>
                    </a:lnTo>
                    <a:lnTo>
                      <a:pt x="238" y="198"/>
                    </a:lnTo>
                    <a:lnTo>
                      <a:pt x="246" y="161"/>
                    </a:lnTo>
                    <a:lnTo>
                      <a:pt x="257" y="99"/>
                    </a:lnTo>
                    <a:lnTo>
                      <a:pt x="260" y="61"/>
                    </a:lnTo>
                    <a:lnTo>
                      <a:pt x="257" y="42"/>
                    </a:lnTo>
                    <a:lnTo>
                      <a:pt x="253" y="30"/>
                    </a:lnTo>
                    <a:lnTo>
                      <a:pt x="246" y="21"/>
                    </a:lnTo>
                    <a:lnTo>
                      <a:pt x="246" y="12"/>
                    </a:lnTo>
                    <a:lnTo>
                      <a:pt x="264" y="0"/>
                    </a:lnTo>
                    <a:lnTo>
                      <a:pt x="267" y="23"/>
                    </a:lnTo>
                    <a:lnTo>
                      <a:pt x="272" y="47"/>
                    </a:lnTo>
                    <a:lnTo>
                      <a:pt x="276" y="71"/>
                    </a:lnTo>
                    <a:lnTo>
                      <a:pt x="281" y="94"/>
                    </a:lnTo>
                    <a:lnTo>
                      <a:pt x="283" y="118"/>
                    </a:lnTo>
                    <a:lnTo>
                      <a:pt x="288" y="144"/>
                    </a:lnTo>
                    <a:lnTo>
                      <a:pt x="293" y="168"/>
                    </a:lnTo>
                    <a:lnTo>
                      <a:pt x="298" y="191"/>
                    </a:lnTo>
                    <a:lnTo>
                      <a:pt x="316" y="187"/>
                    </a:lnTo>
                    <a:lnTo>
                      <a:pt x="338" y="184"/>
                    </a:lnTo>
                    <a:lnTo>
                      <a:pt x="359" y="179"/>
                    </a:lnTo>
                    <a:lnTo>
                      <a:pt x="380" y="177"/>
                    </a:lnTo>
                    <a:lnTo>
                      <a:pt x="402" y="172"/>
                    </a:lnTo>
                    <a:lnTo>
                      <a:pt x="420" y="168"/>
                    </a:lnTo>
                    <a:lnTo>
                      <a:pt x="442" y="165"/>
                    </a:lnTo>
                    <a:lnTo>
                      <a:pt x="463" y="16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035" name="Freeform 93">
                <a:extLst>
                  <a:ext uri="{FF2B5EF4-FFF2-40B4-BE49-F238E27FC236}">
                    <a16:creationId xmlns:a16="http://schemas.microsoft.com/office/drawing/2014/main" id="{228A21F4-1FE7-6AF3-38F5-045C79C5DC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1" y="-130"/>
                <a:ext cx="1182" cy="974"/>
              </a:xfrm>
              <a:custGeom>
                <a:avLst/>
                <a:gdLst>
                  <a:gd name="T0" fmla="*/ 1142 w 1182"/>
                  <a:gd name="T1" fmla="*/ 605 h 974"/>
                  <a:gd name="T2" fmla="*/ 1132 w 1182"/>
                  <a:gd name="T3" fmla="*/ 712 h 974"/>
                  <a:gd name="T4" fmla="*/ 1125 w 1182"/>
                  <a:gd name="T5" fmla="*/ 816 h 974"/>
                  <a:gd name="T6" fmla="*/ 1116 w 1182"/>
                  <a:gd name="T7" fmla="*/ 920 h 974"/>
                  <a:gd name="T8" fmla="*/ 1062 w 1182"/>
                  <a:gd name="T9" fmla="*/ 969 h 974"/>
                  <a:gd name="T10" fmla="*/ 962 w 1182"/>
                  <a:gd name="T11" fmla="*/ 960 h 974"/>
                  <a:gd name="T12" fmla="*/ 861 w 1182"/>
                  <a:gd name="T13" fmla="*/ 948 h 974"/>
                  <a:gd name="T14" fmla="*/ 761 w 1182"/>
                  <a:gd name="T15" fmla="*/ 939 h 974"/>
                  <a:gd name="T16" fmla="*/ 662 w 1182"/>
                  <a:gd name="T17" fmla="*/ 927 h 974"/>
                  <a:gd name="T18" fmla="*/ 563 w 1182"/>
                  <a:gd name="T19" fmla="*/ 915 h 974"/>
                  <a:gd name="T20" fmla="*/ 464 w 1182"/>
                  <a:gd name="T21" fmla="*/ 901 h 974"/>
                  <a:gd name="T22" fmla="*/ 364 w 1182"/>
                  <a:gd name="T23" fmla="*/ 887 h 974"/>
                  <a:gd name="T24" fmla="*/ 277 w 1182"/>
                  <a:gd name="T25" fmla="*/ 875 h 974"/>
                  <a:gd name="T26" fmla="*/ 196 w 1182"/>
                  <a:gd name="T27" fmla="*/ 863 h 974"/>
                  <a:gd name="T28" fmla="*/ 118 w 1182"/>
                  <a:gd name="T29" fmla="*/ 851 h 974"/>
                  <a:gd name="T30" fmla="*/ 40 w 1182"/>
                  <a:gd name="T31" fmla="*/ 837 h 974"/>
                  <a:gd name="T32" fmla="*/ 5 w 1182"/>
                  <a:gd name="T33" fmla="*/ 806 h 974"/>
                  <a:gd name="T34" fmla="*/ 14 w 1182"/>
                  <a:gd name="T35" fmla="*/ 754 h 974"/>
                  <a:gd name="T36" fmla="*/ 21 w 1182"/>
                  <a:gd name="T37" fmla="*/ 702 h 974"/>
                  <a:gd name="T38" fmla="*/ 31 w 1182"/>
                  <a:gd name="T39" fmla="*/ 650 h 974"/>
                  <a:gd name="T40" fmla="*/ 40 w 1182"/>
                  <a:gd name="T41" fmla="*/ 591 h 974"/>
                  <a:gd name="T42" fmla="*/ 52 w 1182"/>
                  <a:gd name="T43" fmla="*/ 527 h 974"/>
                  <a:gd name="T44" fmla="*/ 62 w 1182"/>
                  <a:gd name="T45" fmla="*/ 461 h 974"/>
                  <a:gd name="T46" fmla="*/ 73 w 1182"/>
                  <a:gd name="T47" fmla="*/ 397 h 974"/>
                  <a:gd name="T48" fmla="*/ 83 w 1182"/>
                  <a:gd name="T49" fmla="*/ 331 h 974"/>
                  <a:gd name="T50" fmla="*/ 95 w 1182"/>
                  <a:gd name="T51" fmla="*/ 267 h 974"/>
                  <a:gd name="T52" fmla="*/ 104 w 1182"/>
                  <a:gd name="T53" fmla="*/ 201 h 974"/>
                  <a:gd name="T54" fmla="*/ 116 w 1182"/>
                  <a:gd name="T55" fmla="*/ 137 h 974"/>
                  <a:gd name="T56" fmla="*/ 125 w 1182"/>
                  <a:gd name="T57" fmla="*/ 78 h 974"/>
                  <a:gd name="T58" fmla="*/ 135 w 1182"/>
                  <a:gd name="T59" fmla="*/ 26 h 974"/>
                  <a:gd name="T60" fmla="*/ 170 w 1182"/>
                  <a:gd name="T61" fmla="*/ 5 h 974"/>
                  <a:gd name="T62" fmla="*/ 237 w 1182"/>
                  <a:gd name="T63" fmla="*/ 14 h 974"/>
                  <a:gd name="T64" fmla="*/ 300 w 1182"/>
                  <a:gd name="T65" fmla="*/ 26 h 974"/>
                  <a:gd name="T66" fmla="*/ 367 w 1182"/>
                  <a:gd name="T67" fmla="*/ 35 h 974"/>
                  <a:gd name="T68" fmla="*/ 430 w 1182"/>
                  <a:gd name="T69" fmla="*/ 45 h 974"/>
                  <a:gd name="T70" fmla="*/ 497 w 1182"/>
                  <a:gd name="T71" fmla="*/ 54 h 974"/>
                  <a:gd name="T72" fmla="*/ 563 w 1182"/>
                  <a:gd name="T73" fmla="*/ 64 h 974"/>
                  <a:gd name="T74" fmla="*/ 627 w 1182"/>
                  <a:gd name="T75" fmla="*/ 71 h 974"/>
                  <a:gd name="T76" fmla="*/ 693 w 1182"/>
                  <a:gd name="T77" fmla="*/ 80 h 974"/>
                  <a:gd name="T78" fmla="*/ 757 w 1182"/>
                  <a:gd name="T79" fmla="*/ 87 h 974"/>
                  <a:gd name="T80" fmla="*/ 823 w 1182"/>
                  <a:gd name="T81" fmla="*/ 97 h 974"/>
                  <a:gd name="T82" fmla="*/ 889 w 1182"/>
                  <a:gd name="T83" fmla="*/ 104 h 974"/>
                  <a:gd name="T84" fmla="*/ 953 w 1182"/>
                  <a:gd name="T85" fmla="*/ 111 h 974"/>
                  <a:gd name="T86" fmla="*/ 1019 w 1182"/>
                  <a:gd name="T87" fmla="*/ 118 h 974"/>
                  <a:gd name="T88" fmla="*/ 1085 w 1182"/>
                  <a:gd name="T89" fmla="*/ 123 h 974"/>
                  <a:gd name="T90" fmla="*/ 1149 w 1182"/>
                  <a:gd name="T91" fmla="*/ 130 h 974"/>
                  <a:gd name="T92" fmla="*/ 1177 w 1182"/>
                  <a:gd name="T93" fmla="*/ 184 h 974"/>
                  <a:gd name="T94" fmla="*/ 1170 w 1182"/>
                  <a:gd name="T95" fmla="*/ 291 h 974"/>
                  <a:gd name="T96" fmla="*/ 1161 w 1182"/>
                  <a:gd name="T97" fmla="*/ 395 h 974"/>
                  <a:gd name="T98" fmla="*/ 1151 w 1182"/>
                  <a:gd name="T99" fmla="*/ 501 h 9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82" h="974">
                    <a:moveTo>
                      <a:pt x="1147" y="553"/>
                    </a:moveTo>
                    <a:lnTo>
                      <a:pt x="1142" y="605"/>
                    </a:lnTo>
                    <a:lnTo>
                      <a:pt x="1137" y="657"/>
                    </a:lnTo>
                    <a:lnTo>
                      <a:pt x="1132" y="712"/>
                    </a:lnTo>
                    <a:lnTo>
                      <a:pt x="1128" y="764"/>
                    </a:lnTo>
                    <a:lnTo>
                      <a:pt x="1125" y="816"/>
                    </a:lnTo>
                    <a:lnTo>
                      <a:pt x="1121" y="868"/>
                    </a:lnTo>
                    <a:lnTo>
                      <a:pt x="1116" y="920"/>
                    </a:lnTo>
                    <a:lnTo>
                      <a:pt x="1111" y="974"/>
                    </a:lnTo>
                    <a:lnTo>
                      <a:pt x="1062" y="969"/>
                    </a:lnTo>
                    <a:lnTo>
                      <a:pt x="1012" y="965"/>
                    </a:lnTo>
                    <a:lnTo>
                      <a:pt x="962" y="960"/>
                    </a:lnTo>
                    <a:lnTo>
                      <a:pt x="913" y="955"/>
                    </a:lnTo>
                    <a:lnTo>
                      <a:pt x="861" y="948"/>
                    </a:lnTo>
                    <a:lnTo>
                      <a:pt x="811" y="943"/>
                    </a:lnTo>
                    <a:lnTo>
                      <a:pt x="761" y="939"/>
                    </a:lnTo>
                    <a:lnTo>
                      <a:pt x="712" y="932"/>
                    </a:lnTo>
                    <a:lnTo>
                      <a:pt x="662" y="927"/>
                    </a:lnTo>
                    <a:lnTo>
                      <a:pt x="612" y="920"/>
                    </a:lnTo>
                    <a:lnTo>
                      <a:pt x="563" y="915"/>
                    </a:lnTo>
                    <a:lnTo>
                      <a:pt x="513" y="908"/>
                    </a:lnTo>
                    <a:lnTo>
                      <a:pt x="464" y="901"/>
                    </a:lnTo>
                    <a:lnTo>
                      <a:pt x="414" y="894"/>
                    </a:lnTo>
                    <a:lnTo>
                      <a:pt x="364" y="887"/>
                    </a:lnTo>
                    <a:lnTo>
                      <a:pt x="315" y="880"/>
                    </a:lnTo>
                    <a:lnTo>
                      <a:pt x="277" y="875"/>
                    </a:lnTo>
                    <a:lnTo>
                      <a:pt x="237" y="868"/>
                    </a:lnTo>
                    <a:lnTo>
                      <a:pt x="196" y="863"/>
                    </a:lnTo>
                    <a:lnTo>
                      <a:pt x="159" y="856"/>
                    </a:lnTo>
                    <a:lnTo>
                      <a:pt x="118" y="851"/>
                    </a:lnTo>
                    <a:lnTo>
                      <a:pt x="78" y="844"/>
                    </a:lnTo>
                    <a:lnTo>
                      <a:pt x="40" y="837"/>
                    </a:lnTo>
                    <a:lnTo>
                      <a:pt x="0" y="832"/>
                    </a:lnTo>
                    <a:lnTo>
                      <a:pt x="5" y="806"/>
                    </a:lnTo>
                    <a:lnTo>
                      <a:pt x="10" y="780"/>
                    </a:lnTo>
                    <a:lnTo>
                      <a:pt x="14" y="754"/>
                    </a:lnTo>
                    <a:lnTo>
                      <a:pt x="17" y="728"/>
                    </a:lnTo>
                    <a:lnTo>
                      <a:pt x="21" y="702"/>
                    </a:lnTo>
                    <a:lnTo>
                      <a:pt x="26" y="676"/>
                    </a:lnTo>
                    <a:lnTo>
                      <a:pt x="31" y="650"/>
                    </a:lnTo>
                    <a:lnTo>
                      <a:pt x="36" y="624"/>
                    </a:lnTo>
                    <a:lnTo>
                      <a:pt x="40" y="591"/>
                    </a:lnTo>
                    <a:lnTo>
                      <a:pt x="45" y="558"/>
                    </a:lnTo>
                    <a:lnTo>
                      <a:pt x="52" y="527"/>
                    </a:lnTo>
                    <a:lnTo>
                      <a:pt x="57" y="494"/>
                    </a:lnTo>
                    <a:lnTo>
                      <a:pt x="62" y="461"/>
                    </a:lnTo>
                    <a:lnTo>
                      <a:pt x="66" y="428"/>
                    </a:lnTo>
                    <a:lnTo>
                      <a:pt x="73" y="397"/>
                    </a:lnTo>
                    <a:lnTo>
                      <a:pt x="78" y="364"/>
                    </a:lnTo>
                    <a:lnTo>
                      <a:pt x="83" y="331"/>
                    </a:lnTo>
                    <a:lnTo>
                      <a:pt x="90" y="300"/>
                    </a:lnTo>
                    <a:lnTo>
                      <a:pt x="95" y="267"/>
                    </a:lnTo>
                    <a:lnTo>
                      <a:pt x="99" y="234"/>
                    </a:lnTo>
                    <a:lnTo>
                      <a:pt x="104" y="201"/>
                    </a:lnTo>
                    <a:lnTo>
                      <a:pt x="111" y="170"/>
                    </a:lnTo>
                    <a:lnTo>
                      <a:pt x="116" y="137"/>
                    </a:lnTo>
                    <a:lnTo>
                      <a:pt x="121" y="104"/>
                    </a:lnTo>
                    <a:lnTo>
                      <a:pt x="125" y="78"/>
                    </a:lnTo>
                    <a:lnTo>
                      <a:pt x="130" y="52"/>
                    </a:lnTo>
                    <a:lnTo>
                      <a:pt x="135" y="26"/>
                    </a:lnTo>
                    <a:lnTo>
                      <a:pt x="140" y="0"/>
                    </a:lnTo>
                    <a:lnTo>
                      <a:pt x="170" y="5"/>
                    </a:lnTo>
                    <a:lnTo>
                      <a:pt x="203" y="9"/>
                    </a:lnTo>
                    <a:lnTo>
                      <a:pt x="237" y="14"/>
                    </a:lnTo>
                    <a:lnTo>
                      <a:pt x="270" y="21"/>
                    </a:lnTo>
                    <a:lnTo>
                      <a:pt x="300" y="26"/>
                    </a:lnTo>
                    <a:lnTo>
                      <a:pt x="333" y="31"/>
                    </a:lnTo>
                    <a:lnTo>
                      <a:pt x="367" y="35"/>
                    </a:lnTo>
                    <a:lnTo>
                      <a:pt x="400" y="40"/>
                    </a:lnTo>
                    <a:lnTo>
                      <a:pt x="430" y="45"/>
                    </a:lnTo>
                    <a:lnTo>
                      <a:pt x="464" y="50"/>
                    </a:lnTo>
                    <a:lnTo>
                      <a:pt x="497" y="54"/>
                    </a:lnTo>
                    <a:lnTo>
                      <a:pt x="530" y="59"/>
                    </a:lnTo>
                    <a:lnTo>
                      <a:pt x="563" y="64"/>
                    </a:lnTo>
                    <a:lnTo>
                      <a:pt x="594" y="69"/>
                    </a:lnTo>
                    <a:lnTo>
                      <a:pt x="627" y="71"/>
                    </a:lnTo>
                    <a:lnTo>
                      <a:pt x="660" y="76"/>
                    </a:lnTo>
                    <a:lnTo>
                      <a:pt x="693" y="80"/>
                    </a:lnTo>
                    <a:lnTo>
                      <a:pt x="726" y="85"/>
                    </a:lnTo>
                    <a:lnTo>
                      <a:pt x="757" y="87"/>
                    </a:lnTo>
                    <a:lnTo>
                      <a:pt x="790" y="92"/>
                    </a:lnTo>
                    <a:lnTo>
                      <a:pt x="823" y="97"/>
                    </a:lnTo>
                    <a:lnTo>
                      <a:pt x="856" y="99"/>
                    </a:lnTo>
                    <a:lnTo>
                      <a:pt x="889" y="104"/>
                    </a:lnTo>
                    <a:lnTo>
                      <a:pt x="922" y="106"/>
                    </a:lnTo>
                    <a:lnTo>
                      <a:pt x="953" y="111"/>
                    </a:lnTo>
                    <a:lnTo>
                      <a:pt x="986" y="113"/>
                    </a:lnTo>
                    <a:lnTo>
                      <a:pt x="1019" y="118"/>
                    </a:lnTo>
                    <a:lnTo>
                      <a:pt x="1052" y="121"/>
                    </a:lnTo>
                    <a:lnTo>
                      <a:pt x="1085" y="123"/>
                    </a:lnTo>
                    <a:lnTo>
                      <a:pt x="1118" y="128"/>
                    </a:lnTo>
                    <a:lnTo>
                      <a:pt x="1149" y="130"/>
                    </a:lnTo>
                    <a:lnTo>
                      <a:pt x="1182" y="132"/>
                    </a:lnTo>
                    <a:lnTo>
                      <a:pt x="1177" y="184"/>
                    </a:lnTo>
                    <a:lnTo>
                      <a:pt x="1173" y="239"/>
                    </a:lnTo>
                    <a:lnTo>
                      <a:pt x="1170" y="291"/>
                    </a:lnTo>
                    <a:lnTo>
                      <a:pt x="1166" y="343"/>
                    </a:lnTo>
                    <a:lnTo>
                      <a:pt x="1161" y="395"/>
                    </a:lnTo>
                    <a:lnTo>
                      <a:pt x="1156" y="449"/>
                    </a:lnTo>
                    <a:lnTo>
                      <a:pt x="1151" y="501"/>
                    </a:lnTo>
                    <a:lnTo>
                      <a:pt x="1147" y="5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/>
              </a:p>
            </p:txBody>
          </p:sp>
        </p:grpSp>
        <p:grpSp>
          <p:nvGrpSpPr>
            <p:cNvPr id="591" name="Group 590">
              <a:extLst>
                <a:ext uri="{FF2B5EF4-FFF2-40B4-BE49-F238E27FC236}">
                  <a16:creationId xmlns:a16="http://schemas.microsoft.com/office/drawing/2014/main" id="{7E5C7230-58B4-1D59-5456-4FF35BB6D11C}"/>
                </a:ext>
              </a:extLst>
            </p:cNvPr>
            <p:cNvGrpSpPr/>
            <p:nvPr/>
          </p:nvGrpSpPr>
          <p:grpSpPr>
            <a:xfrm>
              <a:off x="12968537" y="5712801"/>
              <a:ext cx="1151176" cy="405809"/>
              <a:chOff x="3547970" y="6482040"/>
              <a:chExt cx="1282438" cy="452081"/>
            </a:xfrm>
            <a:solidFill>
              <a:schemeClr val="accent2"/>
            </a:solidFill>
          </p:grpSpPr>
          <p:sp>
            <p:nvSpPr>
              <p:cNvPr id="610" name="Rectangular Callout 109">
                <a:extLst>
                  <a:ext uri="{FF2B5EF4-FFF2-40B4-BE49-F238E27FC236}">
                    <a16:creationId xmlns:a16="http://schemas.microsoft.com/office/drawing/2014/main" id="{64F9436E-3C85-A6C0-3B7B-A516CFAB2F14}"/>
                  </a:ext>
                </a:extLst>
              </p:cNvPr>
              <p:cNvSpPr/>
              <p:nvPr/>
            </p:nvSpPr>
            <p:spPr bwMode="auto">
              <a:xfrm>
                <a:off x="3547970" y="6482040"/>
                <a:ext cx="1282438" cy="452081"/>
              </a:xfrm>
              <a:prstGeom prst="wedgeRectCallout">
                <a:avLst>
                  <a:gd name="adj1" fmla="val -7262"/>
                  <a:gd name="adj2" fmla="val -207214"/>
                </a:avLst>
              </a:pr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1" name="Rectangle 610">
                <a:extLst>
                  <a:ext uri="{FF2B5EF4-FFF2-40B4-BE49-F238E27FC236}">
                    <a16:creationId xmlns:a16="http://schemas.microsoft.com/office/drawing/2014/main" id="{5D636715-BB2A-B037-B7CD-E4E4E27CD4CB}"/>
                  </a:ext>
                </a:extLst>
              </p:cNvPr>
              <p:cNvSpPr/>
              <p:nvPr/>
            </p:nvSpPr>
            <p:spPr>
              <a:xfrm>
                <a:off x="3988288" y="6622380"/>
                <a:ext cx="401802" cy="171435"/>
              </a:xfrm>
              <a:prstGeom prst="rect">
                <a:avLst/>
              </a:prstGeom>
              <a:grpFill/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1714414"/>
                <a:r>
                  <a:rPr lang="en-US" sz="1000" b="1" dirty="0">
                    <a:solidFill>
                      <a:schemeClr val="bg1"/>
                    </a:solidFill>
                  </a:rPr>
                  <a:t>Texas</a:t>
                </a:r>
              </a:p>
            </p:txBody>
          </p:sp>
        </p:grpSp>
        <p:grpSp>
          <p:nvGrpSpPr>
            <p:cNvPr id="593" name="Group 592">
              <a:extLst>
                <a:ext uri="{FF2B5EF4-FFF2-40B4-BE49-F238E27FC236}">
                  <a16:creationId xmlns:a16="http://schemas.microsoft.com/office/drawing/2014/main" id="{3B598F3F-643F-64E0-983C-256D1D2C4F29}"/>
                </a:ext>
              </a:extLst>
            </p:cNvPr>
            <p:cNvGrpSpPr/>
            <p:nvPr/>
          </p:nvGrpSpPr>
          <p:grpSpPr>
            <a:xfrm>
              <a:off x="16391966" y="3794808"/>
              <a:ext cx="1151176" cy="405809"/>
              <a:chOff x="7338744" y="4169044"/>
              <a:chExt cx="1282438" cy="452081"/>
            </a:xfrm>
            <a:solidFill>
              <a:schemeClr val="accent2"/>
            </a:solidFill>
          </p:grpSpPr>
          <p:sp>
            <p:nvSpPr>
              <p:cNvPr id="606" name="Rectangular Callout 115">
                <a:extLst>
                  <a:ext uri="{FF2B5EF4-FFF2-40B4-BE49-F238E27FC236}">
                    <a16:creationId xmlns:a16="http://schemas.microsoft.com/office/drawing/2014/main" id="{AA618690-84E6-270B-3752-63B67495AE0C}"/>
                  </a:ext>
                </a:extLst>
              </p:cNvPr>
              <p:cNvSpPr/>
              <p:nvPr/>
            </p:nvSpPr>
            <p:spPr bwMode="auto">
              <a:xfrm>
                <a:off x="7338744" y="4169044"/>
                <a:ext cx="1282438" cy="452081"/>
              </a:xfrm>
              <a:prstGeom prst="wedgeRectCallout">
                <a:avLst>
                  <a:gd name="adj1" fmla="val -73426"/>
                  <a:gd name="adj2" fmla="val -88526"/>
                </a:avLst>
              </a:pr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7" name="Rectangle 606">
                <a:extLst>
                  <a:ext uri="{FF2B5EF4-FFF2-40B4-BE49-F238E27FC236}">
                    <a16:creationId xmlns:a16="http://schemas.microsoft.com/office/drawing/2014/main" id="{6859AC48-3A07-9317-9246-8399B009923E}"/>
                  </a:ext>
                </a:extLst>
              </p:cNvPr>
              <p:cNvSpPr/>
              <p:nvPr/>
            </p:nvSpPr>
            <p:spPr>
              <a:xfrm>
                <a:off x="7655842" y="4309384"/>
                <a:ext cx="648240" cy="171435"/>
              </a:xfrm>
              <a:prstGeom prst="rect">
                <a:avLst/>
              </a:prstGeom>
              <a:grpFill/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1714414"/>
                <a:r>
                  <a:rPr lang="en-US" sz="1000" b="1" dirty="0">
                    <a:solidFill>
                      <a:schemeClr val="bg1"/>
                    </a:solidFill>
                  </a:rPr>
                  <a:t>New York</a:t>
                </a:r>
              </a:p>
            </p:txBody>
          </p:sp>
        </p:grpSp>
        <p:grpSp>
          <p:nvGrpSpPr>
            <p:cNvPr id="594" name="Group 593">
              <a:extLst>
                <a:ext uri="{FF2B5EF4-FFF2-40B4-BE49-F238E27FC236}">
                  <a16:creationId xmlns:a16="http://schemas.microsoft.com/office/drawing/2014/main" id="{B5713EC6-7E30-87AA-3739-AC0EB21529CC}"/>
                </a:ext>
              </a:extLst>
            </p:cNvPr>
            <p:cNvGrpSpPr/>
            <p:nvPr/>
          </p:nvGrpSpPr>
          <p:grpSpPr>
            <a:xfrm>
              <a:off x="15996041" y="4326548"/>
              <a:ext cx="1151176" cy="405809"/>
              <a:chOff x="7125561" y="4878409"/>
              <a:chExt cx="1282438" cy="452081"/>
            </a:xfrm>
            <a:solidFill>
              <a:schemeClr val="accent2"/>
            </a:solidFill>
          </p:grpSpPr>
          <p:sp>
            <p:nvSpPr>
              <p:cNvPr id="604" name="Rectangular Callout 118">
                <a:extLst>
                  <a:ext uri="{FF2B5EF4-FFF2-40B4-BE49-F238E27FC236}">
                    <a16:creationId xmlns:a16="http://schemas.microsoft.com/office/drawing/2014/main" id="{F12559DE-0738-121A-F34E-7BAFCBC3D353}"/>
                  </a:ext>
                </a:extLst>
              </p:cNvPr>
              <p:cNvSpPr/>
              <p:nvPr/>
            </p:nvSpPr>
            <p:spPr bwMode="auto">
              <a:xfrm>
                <a:off x="7125561" y="4878409"/>
                <a:ext cx="1282438" cy="452081"/>
              </a:xfrm>
              <a:prstGeom prst="wedgeRectCallout">
                <a:avLst>
                  <a:gd name="adj1" fmla="val -73426"/>
                  <a:gd name="adj2" fmla="val -88526"/>
                </a:avLst>
              </a:pr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5" name="Rectangle 604">
                <a:extLst>
                  <a:ext uri="{FF2B5EF4-FFF2-40B4-BE49-F238E27FC236}">
                    <a16:creationId xmlns:a16="http://schemas.microsoft.com/office/drawing/2014/main" id="{5374B662-8BA0-D959-ECD1-9373110BC52C}"/>
                  </a:ext>
                </a:extLst>
              </p:cNvPr>
              <p:cNvSpPr/>
              <p:nvPr/>
            </p:nvSpPr>
            <p:spPr>
              <a:xfrm>
                <a:off x="7506054" y="5018749"/>
                <a:ext cx="521449" cy="171435"/>
              </a:xfrm>
              <a:prstGeom prst="rect">
                <a:avLst/>
              </a:prstGeom>
              <a:grpFill/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1714414"/>
                <a:r>
                  <a:rPr lang="en-US" sz="1000" b="1" dirty="0">
                    <a:solidFill>
                      <a:schemeClr val="bg1"/>
                    </a:solidFill>
                  </a:rPr>
                  <a:t>Virginia</a:t>
                </a:r>
              </a:p>
            </p:txBody>
          </p:sp>
        </p:grpSp>
        <p:grpSp>
          <p:nvGrpSpPr>
            <p:cNvPr id="595" name="Group 594">
              <a:extLst>
                <a:ext uri="{FF2B5EF4-FFF2-40B4-BE49-F238E27FC236}">
                  <a16:creationId xmlns:a16="http://schemas.microsoft.com/office/drawing/2014/main" id="{14AE1C65-8E40-E091-DC83-D85DBA51DEFE}"/>
                </a:ext>
              </a:extLst>
            </p:cNvPr>
            <p:cNvGrpSpPr/>
            <p:nvPr/>
          </p:nvGrpSpPr>
          <p:grpSpPr>
            <a:xfrm>
              <a:off x="16088491" y="5529545"/>
              <a:ext cx="1151176" cy="405809"/>
              <a:chOff x="7041268" y="6284446"/>
              <a:chExt cx="1282438" cy="452081"/>
            </a:xfrm>
            <a:solidFill>
              <a:schemeClr val="accent2"/>
            </a:solidFill>
          </p:grpSpPr>
          <p:sp>
            <p:nvSpPr>
              <p:cNvPr id="602" name="Rectangular Callout 121">
                <a:extLst>
                  <a:ext uri="{FF2B5EF4-FFF2-40B4-BE49-F238E27FC236}">
                    <a16:creationId xmlns:a16="http://schemas.microsoft.com/office/drawing/2014/main" id="{502936FC-71EB-B7B3-357B-230D62EC951A}"/>
                  </a:ext>
                </a:extLst>
              </p:cNvPr>
              <p:cNvSpPr/>
              <p:nvPr/>
            </p:nvSpPr>
            <p:spPr bwMode="auto">
              <a:xfrm>
                <a:off x="7041268" y="6284446"/>
                <a:ext cx="1282438" cy="452081"/>
              </a:xfrm>
              <a:prstGeom prst="wedgeRectCallout">
                <a:avLst>
                  <a:gd name="adj1" fmla="val -73426"/>
                  <a:gd name="adj2" fmla="val -88526"/>
                </a:avLst>
              </a:pr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3" name="Rectangle 602">
                <a:extLst>
                  <a:ext uri="{FF2B5EF4-FFF2-40B4-BE49-F238E27FC236}">
                    <a16:creationId xmlns:a16="http://schemas.microsoft.com/office/drawing/2014/main" id="{DC23C8D2-52AA-5163-2664-73B961F03091}"/>
                  </a:ext>
                </a:extLst>
              </p:cNvPr>
              <p:cNvSpPr/>
              <p:nvPr/>
            </p:nvSpPr>
            <p:spPr>
              <a:xfrm>
                <a:off x="7444978" y="6424786"/>
                <a:ext cx="475019" cy="171435"/>
              </a:xfrm>
              <a:prstGeom prst="rect">
                <a:avLst/>
              </a:prstGeom>
              <a:grpFill/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1714414"/>
                <a:r>
                  <a:rPr lang="en-US" sz="1000" b="1" dirty="0">
                    <a:solidFill>
                      <a:schemeClr val="bg1"/>
                    </a:solidFill>
                  </a:rPr>
                  <a:t>Florida</a:t>
                </a:r>
              </a:p>
            </p:txBody>
          </p:sp>
        </p:grpSp>
        <p:grpSp>
          <p:nvGrpSpPr>
            <p:cNvPr id="597" name="Group 596">
              <a:extLst>
                <a:ext uri="{FF2B5EF4-FFF2-40B4-BE49-F238E27FC236}">
                  <a16:creationId xmlns:a16="http://schemas.microsoft.com/office/drawing/2014/main" id="{DEF7FCE9-08CE-13A2-1DF0-D460A0E62D1F}"/>
                </a:ext>
              </a:extLst>
            </p:cNvPr>
            <p:cNvGrpSpPr/>
            <p:nvPr/>
          </p:nvGrpSpPr>
          <p:grpSpPr>
            <a:xfrm>
              <a:off x="14427645" y="5432945"/>
              <a:ext cx="1151176" cy="405809"/>
              <a:chOff x="5202294" y="6164368"/>
              <a:chExt cx="1282438" cy="452081"/>
            </a:xfrm>
            <a:solidFill>
              <a:schemeClr val="accent2"/>
            </a:solidFill>
          </p:grpSpPr>
          <p:sp>
            <p:nvSpPr>
              <p:cNvPr id="598" name="Rectangular Callout 127">
                <a:extLst>
                  <a:ext uri="{FF2B5EF4-FFF2-40B4-BE49-F238E27FC236}">
                    <a16:creationId xmlns:a16="http://schemas.microsoft.com/office/drawing/2014/main" id="{C526AAE6-7E2E-9838-A99B-A6572AAE08FD}"/>
                  </a:ext>
                </a:extLst>
              </p:cNvPr>
              <p:cNvSpPr/>
              <p:nvPr/>
            </p:nvSpPr>
            <p:spPr bwMode="auto">
              <a:xfrm>
                <a:off x="5202294" y="6164368"/>
                <a:ext cx="1282438" cy="452081"/>
              </a:xfrm>
              <a:prstGeom prst="wedgeRectCallout">
                <a:avLst>
                  <a:gd name="adj1" fmla="val -75740"/>
                  <a:gd name="adj2" fmla="val -426525"/>
                </a:avLst>
              </a:pr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9" name="Rectangle 598">
                <a:extLst>
                  <a:ext uri="{FF2B5EF4-FFF2-40B4-BE49-F238E27FC236}">
                    <a16:creationId xmlns:a16="http://schemas.microsoft.com/office/drawing/2014/main" id="{D118F4C6-77CE-6E2F-33E2-021555D896F7}"/>
                  </a:ext>
                </a:extLst>
              </p:cNvPr>
              <p:cNvSpPr/>
              <p:nvPr/>
            </p:nvSpPr>
            <p:spPr>
              <a:xfrm>
                <a:off x="5523857" y="6304708"/>
                <a:ext cx="639311" cy="171435"/>
              </a:xfrm>
              <a:prstGeom prst="rect">
                <a:avLst/>
              </a:prstGeom>
              <a:grpFill/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1714414"/>
                <a:r>
                  <a:rPr lang="en-US" sz="1000" b="1" dirty="0">
                    <a:solidFill>
                      <a:schemeClr val="bg1"/>
                    </a:solidFill>
                  </a:rPr>
                  <a:t>Nebraska</a:t>
                </a:r>
              </a:p>
            </p:txBody>
          </p:sp>
        </p:grpSp>
      </p:grpSp>
      <p:sp>
        <p:nvSpPr>
          <p:cNvPr id="1040" name="Rectangle 1039">
            <a:extLst>
              <a:ext uri="{FF2B5EF4-FFF2-40B4-BE49-F238E27FC236}">
                <a16:creationId xmlns:a16="http://schemas.microsoft.com/office/drawing/2014/main" id="{644D0882-B3F1-2879-E2FA-6F3083DCD8D4}"/>
              </a:ext>
            </a:extLst>
          </p:cNvPr>
          <p:cNvSpPr/>
          <p:nvPr/>
        </p:nvSpPr>
        <p:spPr>
          <a:xfrm>
            <a:off x="714375" y="7604760"/>
            <a:ext cx="8292465" cy="16313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SzPct val="100000"/>
              <a:buFont typeface="Symbol" panose="05050102010706020507" pitchFamily="18" charset="2"/>
              <a:buChar char="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SzPct val="100000"/>
              <a:buFont typeface="Symbol" panose="05050102010706020507" pitchFamily="18" charset="2"/>
              <a:buChar char="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</p:txBody>
      </p:sp>
      <p:sp>
        <p:nvSpPr>
          <p:cNvPr id="1043" name="Rectangle 1042">
            <a:extLst>
              <a:ext uri="{FF2B5EF4-FFF2-40B4-BE49-F238E27FC236}">
                <a16:creationId xmlns:a16="http://schemas.microsoft.com/office/drawing/2014/main" id="{8361F161-8EED-FA89-C9C6-77C053C2FEEA}"/>
              </a:ext>
            </a:extLst>
          </p:cNvPr>
          <p:cNvSpPr/>
          <p:nvPr/>
        </p:nvSpPr>
        <p:spPr>
          <a:xfrm>
            <a:off x="714376" y="1889125"/>
            <a:ext cx="8292464" cy="734694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44" name="Rectangle 1043">
            <a:extLst>
              <a:ext uri="{FF2B5EF4-FFF2-40B4-BE49-F238E27FC236}">
                <a16:creationId xmlns:a16="http://schemas.microsoft.com/office/drawing/2014/main" id="{F16631BC-A786-AA10-3182-973EB0661B2E}"/>
              </a:ext>
            </a:extLst>
          </p:cNvPr>
          <p:cNvSpPr/>
          <p:nvPr/>
        </p:nvSpPr>
        <p:spPr>
          <a:xfrm>
            <a:off x="9281160" y="1889125"/>
            <a:ext cx="8292464" cy="734694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45" name="Rectangle 1044">
            <a:extLst>
              <a:ext uri="{FF2B5EF4-FFF2-40B4-BE49-F238E27FC236}">
                <a16:creationId xmlns:a16="http://schemas.microsoft.com/office/drawing/2014/main" id="{DD5DB352-6DDF-7467-6CF1-211A479F7515}"/>
              </a:ext>
            </a:extLst>
          </p:cNvPr>
          <p:cNvSpPr/>
          <p:nvPr/>
        </p:nvSpPr>
        <p:spPr>
          <a:xfrm>
            <a:off x="9281160" y="7604760"/>
            <a:ext cx="8292465" cy="16313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SzPct val="100000"/>
              <a:buFont typeface="Symbol" panose="05050102010706020507" pitchFamily="18" charset="2"/>
              <a:buChar char="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SzPct val="100000"/>
              <a:buFont typeface="Symbol" panose="05050102010706020507" pitchFamily="18" charset="2"/>
              <a:buChar char="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</p:txBody>
      </p:sp>
      <p:sp>
        <p:nvSpPr>
          <p:cNvPr id="58" name="Slide Number Placeholder 57">
            <a:extLst>
              <a:ext uri="{FF2B5EF4-FFF2-40B4-BE49-F238E27FC236}">
                <a16:creationId xmlns:a16="http://schemas.microsoft.com/office/drawing/2014/main" id="{611770D7-8C20-0588-57F3-4AE5FE42E9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5325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23</TotalTime>
  <Words>110</Words>
  <Application>Microsoft Office PowerPoint</Application>
  <PresentationFormat>Custom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Map Comparis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35</cp:revision>
  <dcterms:created xsi:type="dcterms:W3CDTF">2006-08-16T00:00:00Z</dcterms:created>
  <dcterms:modified xsi:type="dcterms:W3CDTF">2025-10-06T09:28:10Z</dcterms:modified>
  <cp:category/>
  <dc:identifier>DAGkDf5R9EM</dc:identifier>
</cp:coreProperties>
</file>